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13.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14.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notesSlides/notesSlide52.xml" ContentType="application/vnd.openxmlformats-officedocument.presentationml.notesSlide+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notesSlides/notesSlide53.xml" ContentType="application/vnd.openxmlformats-officedocument.presentationml.notesSlide+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notesSlides/notesSlide54.xml" ContentType="application/vnd.openxmlformats-officedocument.presentationml.notesSlide+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notesSlides/notesSlide55.xml" ContentType="application/vnd.openxmlformats-officedocument.presentationml.notesSlide+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notesSlides/notesSlide56.xml" ContentType="application/vnd.openxmlformats-officedocument.presentationml.notesSlide+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59.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notesSlides/notesSlide60.xml" ContentType="application/vnd.openxmlformats-officedocument.presentationml.notesSlide+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notesSlides/notesSlide64.xml" ContentType="application/vnd.openxmlformats-officedocument.presentationml.notesSlide+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notesSlides/notesSlide67.xml" ContentType="application/vnd.openxmlformats-officedocument.presentationml.notesSlide+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notesSlides/notesSlide68.xml" ContentType="application/vnd.openxmlformats-officedocument.presentationml.notesSlide+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notesSlides/notesSlide72.xml" ContentType="application/vnd.openxmlformats-officedocument.presentationml.notesSlide+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notesSlides/notesSlide73.xml" ContentType="application/vnd.openxmlformats-officedocument.presentationml.notesSlide+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notesSlides/notesSlide74.xml" ContentType="application/vnd.openxmlformats-officedocument.presentationml.notesSlide+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notesSlides/notesSlide77.xml" ContentType="application/vnd.openxmlformats-officedocument.presentationml.notesSlide+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notesSlides/notesSlide78.xml" ContentType="application/vnd.openxmlformats-officedocument.presentationml.notesSlide+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notesSlides/notesSlide81.xml" ContentType="application/vnd.openxmlformats-officedocument.presentationml.notesSlide+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notesSlides/notesSlide8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89"/>
  </p:notesMasterIdLst>
  <p:sldIdLst>
    <p:sldId id="379" r:id="rId5"/>
    <p:sldId id="380" r:id="rId6"/>
    <p:sldId id="382" r:id="rId7"/>
    <p:sldId id="381" r:id="rId8"/>
    <p:sldId id="383" r:id="rId9"/>
    <p:sldId id="384" r:id="rId10"/>
    <p:sldId id="385" r:id="rId11"/>
    <p:sldId id="386" r:id="rId12"/>
    <p:sldId id="387" r:id="rId13"/>
    <p:sldId id="388" r:id="rId14"/>
    <p:sldId id="389" r:id="rId15"/>
    <p:sldId id="390" r:id="rId16"/>
    <p:sldId id="391" r:id="rId17"/>
    <p:sldId id="396" r:id="rId18"/>
    <p:sldId id="392" r:id="rId19"/>
    <p:sldId id="393" r:id="rId20"/>
    <p:sldId id="394" r:id="rId21"/>
    <p:sldId id="397" r:id="rId22"/>
    <p:sldId id="402" r:id="rId23"/>
    <p:sldId id="403" r:id="rId24"/>
    <p:sldId id="404" r:id="rId25"/>
    <p:sldId id="398" r:id="rId26"/>
    <p:sldId id="256" r:id="rId27"/>
    <p:sldId id="309" r:id="rId28"/>
    <p:sldId id="356" r:id="rId29"/>
    <p:sldId id="310" r:id="rId30"/>
    <p:sldId id="312" r:id="rId31"/>
    <p:sldId id="313" r:id="rId32"/>
    <p:sldId id="314" r:id="rId33"/>
    <p:sldId id="320" r:id="rId34"/>
    <p:sldId id="333" r:id="rId35"/>
    <p:sldId id="315" r:id="rId36"/>
    <p:sldId id="321" r:id="rId37"/>
    <p:sldId id="370" r:id="rId38"/>
    <p:sldId id="372" r:id="rId39"/>
    <p:sldId id="369" r:id="rId40"/>
    <p:sldId id="374" r:id="rId41"/>
    <p:sldId id="371" r:id="rId42"/>
    <p:sldId id="373" r:id="rId43"/>
    <p:sldId id="375" r:id="rId44"/>
    <p:sldId id="376" r:id="rId45"/>
    <p:sldId id="377" r:id="rId46"/>
    <p:sldId id="378" r:id="rId47"/>
    <p:sldId id="322" r:id="rId48"/>
    <p:sldId id="323" r:id="rId49"/>
    <p:sldId id="316" r:id="rId50"/>
    <p:sldId id="317" r:id="rId51"/>
    <p:sldId id="318" r:id="rId52"/>
    <p:sldId id="319" r:id="rId53"/>
    <p:sldId id="324" r:id="rId54"/>
    <p:sldId id="332" r:id="rId55"/>
    <p:sldId id="326" r:id="rId56"/>
    <p:sldId id="327" r:id="rId57"/>
    <p:sldId id="328" r:id="rId58"/>
    <p:sldId id="329" r:id="rId59"/>
    <p:sldId id="330" r:id="rId60"/>
    <p:sldId id="334" r:id="rId61"/>
    <p:sldId id="335" r:id="rId62"/>
    <p:sldId id="336" r:id="rId63"/>
    <p:sldId id="337" r:id="rId64"/>
    <p:sldId id="339" r:id="rId65"/>
    <p:sldId id="338" r:id="rId66"/>
    <p:sldId id="340" r:id="rId67"/>
    <p:sldId id="341" r:id="rId68"/>
    <p:sldId id="342" r:id="rId69"/>
    <p:sldId id="343" r:id="rId70"/>
    <p:sldId id="345" r:id="rId71"/>
    <p:sldId id="347" r:id="rId72"/>
    <p:sldId id="349" r:id="rId73"/>
    <p:sldId id="351" r:id="rId74"/>
    <p:sldId id="350" r:id="rId75"/>
    <p:sldId id="353" r:id="rId76"/>
    <p:sldId id="354" r:id="rId77"/>
    <p:sldId id="357" r:id="rId78"/>
    <p:sldId id="355" r:id="rId79"/>
    <p:sldId id="358" r:id="rId80"/>
    <p:sldId id="359" r:id="rId81"/>
    <p:sldId id="360" r:id="rId82"/>
    <p:sldId id="368" r:id="rId83"/>
    <p:sldId id="364" r:id="rId84"/>
    <p:sldId id="365" r:id="rId85"/>
    <p:sldId id="366" r:id="rId86"/>
    <p:sldId id="363" r:id="rId87"/>
    <p:sldId id="367" r:id="rId88"/>
  </p:sldIdLst>
  <p:sldSz cx="12192000" cy="6858000"/>
  <p:notesSz cx="6858000" cy="9144000"/>
  <p:defaultTextStyle>
    <a:defPPr>
      <a:defRPr lang="en-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eyneb Zühal Nalçakar" initials="ZZN" lastIdx="11" clrIdx="0">
    <p:extLst>
      <p:ext uri="{19B8F6BF-5375-455C-9EA6-DF929625EA0E}">
        <p15:presenceInfo xmlns:p15="http://schemas.microsoft.com/office/powerpoint/2012/main" userId="S-1-5-21-238884432-885254070-191615964-19961" providerId="AD"/>
      </p:ext>
    </p:extLst>
  </p:cmAuthor>
  <p:cmAuthor id="2" name="Una Vidović" initials="UV" lastIdx="6" clrIdx="1">
    <p:extLst>
      <p:ext uri="{19B8F6BF-5375-455C-9EA6-DF929625EA0E}">
        <p15:presenceInfo xmlns:p15="http://schemas.microsoft.com/office/powerpoint/2012/main" userId="S::una.vidovic@mobilita-evolva.hr::8e9bc825-d9a8-49f5-822b-bf08dbc75b2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1F27"/>
    <a:srgbClr val="333F50"/>
    <a:srgbClr val="FFC000"/>
    <a:srgbClr val="45C0E9"/>
    <a:srgbClr val="D9E078"/>
    <a:srgbClr val="70AD47"/>
    <a:srgbClr val="A5A5A5"/>
    <a:srgbClr val="2FAF7C"/>
    <a:srgbClr val="C00000"/>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838" autoAdjust="0"/>
    <p:restoredTop sz="94674"/>
  </p:normalViewPr>
  <p:slideViewPr>
    <p:cSldViewPr snapToGrid="0" snapToObjects="1">
      <p:cViewPr varScale="1">
        <p:scale>
          <a:sx n="62" d="100"/>
          <a:sy n="62" d="100"/>
        </p:scale>
        <p:origin x="836" y="5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notesMaster" Target="notesMasters/notesMaster1.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commentAuthors" Target="commentAuthor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viewProps" Target="viewProps.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s>
</file>

<file path=ppt/diagrams/_rels/data1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svg"/><Relationship Id="rId1" Type="http://schemas.openxmlformats.org/officeDocument/2006/relationships/image" Target="../media/image96.png"/><Relationship Id="rId6" Type="http://schemas.openxmlformats.org/officeDocument/2006/relationships/image" Target="../media/image101.svg"/><Relationship Id="rId5" Type="http://schemas.openxmlformats.org/officeDocument/2006/relationships/image" Target="../media/image100.png"/><Relationship Id="rId4" Type="http://schemas.openxmlformats.org/officeDocument/2006/relationships/image" Target="../media/image99.svg"/></Relationships>
</file>

<file path=ppt/diagrams/_rels/data19.xml.rels><?xml version="1.0" encoding="UTF-8" standalone="yes"?>
<Relationships xmlns="http://schemas.openxmlformats.org/package/2006/relationships"><Relationship Id="rId1" Type="http://schemas.openxmlformats.org/officeDocument/2006/relationships/image" Target="../media/image104.jpeg"/></Relationships>
</file>

<file path=ppt/diagrams/_rels/data37.xml.rels><?xml version="1.0" encoding="UTF-8" standalone="yes"?>
<Relationships xmlns="http://schemas.openxmlformats.org/package/2006/relationships"><Relationship Id="rId2" Type="http://schemas.openxmlformats.org/officeDocument/2006/relationships/image" Target="../media/image139.jpeg"/><Relationship Id="rId1" Type="http://schemas.openxmlformats.org/officeDocument/2006/relationships/image" Target="../media/image138.jpg"/></Relationships>
</file>

<file path=ppt/diagrams/_rels/data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image" Target="../media/image22.jpg"/></Relationships>
</file>

<file path=ppt/diagrams/_rels/data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svg"/><Relationship Id="rId1" Type="http://schemas.openxmlformats.org/officeDocument/2006/relationships/image" Target="../media/image34.png"/><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s>
</file>

<file path=ppt/diagrams/_rels/drawing16.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svg"/><Relationship Id="rId1" Type="http://schemas.openxmlformats.org/officeDocument/2006/relationships/image" Target="../media/image96.png"/><Relationship Id="rId6" Type="http://schemas.openxmlformats.org/officeDocument/2006/relationships/image" Target="../media/image101.svg"/><Relationship Id="rId5" Type="http://schemas.openxmlformats.org/officeDocument/2006/relationships/image" Target="../media/image100.png"/><Relationship Id="rId4" Type="http://schemas.openxmlformats.org/officeDocument/2006/relationships/image" Target="../media/image99.svg"/></Relationships>
</file>

<file path=ppt/diagrams/_rels/drawing19.xml.rels><?xml version="1.0" encoding="UTF-8" standalone="yes"?>
<Relationships xmlns="http://schemas.openxmlformats.org/package/2006/relationships"><Relationship Id="rId1" Type="http://schemas.openxmlformats.org/officeDocument/2006/relationships/image" Target="../media/image104.jpeg"/></Relationships>
</file>

<file path=ppt/diagrams/_rels/drawing37.xml.rels><?xml version="1.0" encoding="UTF-8" standalone="yes"?>
<Relationships xmlns="http://schemas.openxmlformats.org/package/2006/relationships"><Relationship Id="rId2" Type="http://schemas.openxmlformats.org/officeDocument/2006/relationships/image" Target="../media/image139.jpeg"/><Relationship Id="rId1" Type="http://schemas.openxmlformats.org/officeDocument/2006/relationships/image" Target="../media/image138.jpg"/></Relationships>
</file>

<file path=ppt/diagrams/_rels/drawing8.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image" Target="../media/image22.jpg"/></Relationships>
</file>

<file path=ppt/diagrams/_rels/drawing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svg"/><Relationship Id="rId1" Type="http://schemas.openxmlformats.org/officeDocument/2006/relationships/image" Target="../media/image34.png"/><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sv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18/5/colors/Iconchunking_neutralicon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data1.xml><?xml version="1.0" encoding="utf-8"?>
<dgm:dataModel xmlns:dgm="http://schemas.openxmlformats.org/drawingml/2006/diagram" xmlns:a="http://schemas.openxmlformats.org/drawingml/2006/main">
  <dgm:ptLst>
    <dgm:pt modelId="{CD60BB0A-3326-4F10-8206-43304B62A4D6}" type="doc">
      <dgm:prSet loTypeId="urn:microsoft.com/office/officeart/2008/layout/VerticalAccentList" loCatId="list" qsTypeId="urn:microsoft.com/office/officeart/2005/8/quickstyle/simple1" qsCatId="simple" csTypeId="urn:microsoft.com/office/officeart/2005/8/colors/accent1_2" csCatId="accent1"/>
      <dgm:spPr/>
      <dgm:t>
        <a:bodyPr/>
        <a:lstStyle/>
        <a:p>
          <a:endParaRPr lang="en-US"/>
        </a:p>
      </dgm:t>
    </dgm:pt>
    <dgm:pt modelId="{04B98BF9-CCD2-457C-9C3C-D03B086A4C11}">
      <dgm:prSet custT="1"/>
      <dgm:spPr/>
      <dgm:t>
        <a:bodyPr/>
        <a:lstStyle/>
        <a:p>
          <a:pPr>
            <a:defRPr sz="1100"/>
          </a:pPr>
          <a:r>
            <a:rPr sz="1200" dirty="0"/>
            <a:t>Problem 5: </a:t>
          </a:r>
          <a:r>
            <a:rPr sz="1200" dirty="0" err="1"/>
            <a:t>Değişime</a:t>
          </a:r>
          <a:r>
            <a:rPr sz="1200" dirty="0"/>
            <a:t> </a:t>
          </a:r>
          <a:r>
            <a:rPr sz="1200" dirty="0" err="1"/>
            <a:t>Gösterilen</a:t>
          </a:r>
          <a:r>
            <a:rPr sz="1200" dirty="0"/>
            <a:t> </a:t>
          </a:r>
          <a:r>
            <a:rPr sz="1200" dirty="0" err="1"/>
            <a:t>Direnç</a:t>
          </a:r>
          <a:endParaRPr sz="1200" dirty="0"/>
        </a:p>
      </dgm:t>
    </dgm:pt>
    <dgm:pt modelId="{71C4C9DC-ADA3-4687-B90F-BFB40676CCBD}" type="parTrans" cxnId="{B1B820F2-BCB2-4504-9F65-33C3FB5C12EE}">
      <dgm:prSet/>
      <dgm:spPr/>
      <dgm:t>
        <a:bodyPr/>
        <a:lstStyle/>
        <a:p>
          <a:endParaRPr lang="en-US"/>
        </a:p>
      </dgm:t>
    </dgm:pt>
    <dgm:pt modelId="{CB8142A2-36BF-4FDD-A36F-699B3828637C}" type="sibTrans" cxnId="{B1B820F2-BCB2-4504-9F65-33C3FB5C12EE}">
      <dgm:prSet/>
      <dgm:spPr/>
      <dgm:t>
        <a:bodyPr/>
        <a:lstStyle/>
        <a:p>
          <a:endParaRPr lang="en-US"/>
        </a:p>
      </dgm:t>
    </dgm:pt>
    <dgm:pt modelId="{EF1119F7-E390-4403-A0E8-E67C0B0F01A6}">
      <dgm:prSet custT="1"/>
      <dgm:spPr/>
      <dgm:t>
        <a:bodyPr/>
        <a:lstStyle/>
        <a:p>
          <a:pPr algn="just">
            <a:defRPr sz="1000"/>
          </a:pPr>
          <a:r>
            <a:rPr sz="1000" dirty="0" err="1"/>
            <a:t>Çözüm</a:t>
          </a:r>
          <a:r>
            <a:rPr sz="1000" dirty="0"/>
            <a:t>: </a:t>
          </a:r>
          <a:r>
            <a:rPr sz="1000" dirty="0" err="1"/>
            <a:t>Paydaşları</a:t>
          </a:r>
          <a:r>
            <a:rPr sz="1000" dirty="0"/>
            <a:t> </a:t>
          </a:r>
          <a:r>
            <a:rPr sz="1000" dirty="0" err="1"/>
            <a:t>dahil</a:t>
          </a:r>
          <a:r>
            <a:rPr sz="1000" dirty="0"/>
            <a:t> </a:t>
          </a:r>
          <a:r>
            <a:rPr sz="1000" dirty="0" err="1"/>
            <a:t>edin</a:t>
          </a:r>
          <a:r>
            <a:rPr sz="1000" dirty="0"/>
            <a:t>, </a:t>
          </a:r>
          <a:r>
            <a:rPr sz="1000" dirty="0" err="1"/>
            <a:t>kamuoyuyla</a:t>
          </a:r>
          <a:r>
            <a:rPr sz="1000" dirty="0"/>
            <a:t> </a:t>
          </a:r>
          <a:r>
            <a:rPr sz="1000" dirty="0" err="1"/>
            <a:t>istişarede</a:t>
          </a:r>
          <a:r>
            <a:rPr sz="1000" dirty="0"/>
            <a:t> </a:t>
          </a:r>
          <a:r>
            <a:rPr sz="1000" dirty="0" err="1"/>
            <a:t>bulunun</a:t>
          </a:r>
          <a:r>
            <a:rPr sz="1000" dirty="0"/>
            <a:t> </a:t>
          </a:r>
          <a:r>
            <a:rPr sz="1000" dirty="0" err="1"/>
            <a:t>ve</a:t>
          </a:r>
          <a:r>
            <a:rPr sz="1000" dirty="0"/>
            <a:t> </a:t>
          </a:r>
          <a:r>
            <a:rPr sz="1000" dirty="0" err="1"/>
            <a:t>iletişim</a:t>
          </a:r>
          <a:r>
            <a:rPr sz="1000" dirty="0"/>
            <a:t> </a:t>
          </a:r>
          <a:r>
            <a:rPr sz="1000" dirty="0" err="1"/>
            <a:t>kurun</a:t>
          </a:r>
          <a:endParaRPr sz="1000" dirty="0"/>
        </a:p>
      </dgm:t>
    </dgm:pt>
    <dgm:pt modelId="{BC801CA1-F7FD-4BC1-ADA6-8FB19139EC5D}" type="parTrans" cxnId="{9B36DC12-65EC-413E-AA5D-23B242065E70}">
      <dgm:prSet/>
      <dgm:spPr/>
      <dgm:t>
        <a:bodyPr/>
        <a:lstStyle/>
        <a:p>
          <a:endParaRPr lang="en-US"/>
        </a:p>
      </dgm:t>
    </dgm:pt>
    <dgm:pt modelId="{749B382A-6476-4718-8D29-E5D3F2313CB2}" type="sibTrans" cxnId="{9B36DC12-65EC-413E-AA5D-23B242065E70}">
      <dgm:prSet/>
      <dgm:spPr/>
      <dgm:t>
        <a:bodyPr/>
        <a:lstStyle/>
        <a:p>
          <a:endParaRPr lang="en-US"/>
        </a:p>
      </dgm:t>
    </dgm:pt>
    <dgm:pt modelId="{9000187C-DD86-4C3E-BD67-F898350A9A5F}" type="pres">
      <dgm:prSet presAssocID="{CD60BB0A-3326-4F10-8206-43304B62A4D6}" presName="Name0" presStyleCnt="0">
        <dgm:presLayoutVars>
          <dgm:chMax/>
          <dgm:chPref/>
          <dgm:dir/>
        </dgm:presLayoutVars>
      </dgm:prSet>
      <dgm:spPr/>
    </dgm:pt>
    <dgm:pt modelId="{AD9BF450-93D1-4C3F-AD0D-03483B00D286}" type="pres">
      <dgm:prSet presAssocID="{04B98BF9-CCD2-457C-9C3C-D03B086A4C11}" presName="parenttextcomposite" presStyleCnt="0"/>
      <dgm:spPr/>
    </dgm:pt>
    <dgm:pt modelId="{EAB3CA1C-AA0E-467B-B21E-55D874AF8655}" type="pres">
      <dgm:prSet presAssocID="{04B98BF9-CCD2-457C-9C3C-D03B086A4C11}" presName="parenttext" presStyleLbl="revTx" presStyleIdx="0" presStyleCnt="1">
        <dgm:presLayoutVars>
          <dgm:chMax/>
          <dgm:chPref val="2"/>
          <dgm:bulletEnabled val="1"/>
        </dgm:presLayoutVars>
      </dgm:prSet>
      <dgm:spPr/>
    </dgm:pt>
    <dgm:pt modelId="{AB70CCD9-BAB2-42AF-8977-1B17AA05E02A}" type="pres">
      <dgm:prSet presAssocID="{04B98BF9-CCD2-457C-9C3C-D03B086A4C11}" presName="composite" presStyleCnt="0"/>
      <dgm:spPr/>
    </dgm:pt>
    <dgm:pt modelId="{49A7C758-7A15-4391-B658-292A2C7F2F05}" type="pres">
      <dgm:prSet presAssocID="{04B98BF9-CCD2-457C-9C3C-D03B086A4C11}" presName="chevron1" presStyleLbl="alignNode1" presStyleIdx="0" presStyleCnt="7"/>
      <dgm:spPr/>
    </dgm:pt>
    <dgm:pt modelId="{A8C45647-B0A9-4232-B7F0-E59EF3BBA109}" type="pres">
      <dgm:prSet presAssocID="{04B98BF9-CCD2-457C-9C3C-D03B086A4C11}" presName="chevron2" presStyleLbl="alignNode1" presStyleIdx="1" presStyleCnt="7"/>
      <dgm:spPr/>
    </dgm:pt>
    <dgm:pt modelId="{AF0222C5-4EED-4BC3-83DB-4E9BD129B1C9}" type="pres">
      <dgm:prSet presAssocID="{04B98BF9-CCD2-457C-9C3C-D03B086A4C11}" presName="chevron3" presStyleLbl="alignNode1" presStyleIdx="2" presStyleCnt="7"/>
      <dgm:spPr/>
    </dgm:pt>
    <dgm:pt modelId="{B1F360F9-C5A2-45BF-ABF5-3DA34979DFB3}" type="pres">
      <dgm:prSet presAssocID="{04B98BF9-CCD2-457C-9C3C-D03B086A4C11}" presName="chevron4" presStyleLbl="alignNode1" presStyleIdx="3" presStyleCnt="7"/>
      <dgm:spPr/>
    </dgm:pt>
    <dgm:pt modelId="{F607E5CF-693C-478B-A41B-1C5D69AB0BA2}" type="pres">
      <dgm:prSet presAssocID="{04B98BF9-CCD2-457C-9C3C-D03B086A4C11}" presName="chevron5" presStyleLbl="alignNode1" presStyleIdx="4" presStyleCnt="7"/>
      <dgm:spPr/>
    </dgm:pt>
    <dgm:pt modelId="{3654315B-04F6-402C-8998-A2ED89486EBE}" type="pres">
      <dgm:prSet presAssocID="{04B98BF9-CCD2-457C-9C3C-D03B086A4C11}" presName="chevron6" presStyleLbl="alignNode1" presStyleIdx="5" presStyleCnt="7"/>
      <dgm:spPr/>
    </dgm:pt>
    <dgm:pt modelId="{B76F87C5-32D3-46E5-A8DD-8A2829963E76}" type="pres">
      <dgm:prSet presAssocID="{04B98BF9-CCD2-457C-9C3C-D03B086A4C11}" presName="chevron7" presStyleLbl="alignNode1" presStyleIdx="6" presStyleCnt="7"/>
      <dgm:spPr/>
    </dgm:pt>
    <dgm:pt modelId="{26C802FE-D5D2-4E44-A910-B2BE9AFFCECC}" type="pres">
      <dgm:prSet presAssocID="{04B98BF9-CCD2-457C-9C3C-D03B086A4C11}" presName="childtext" presStyleLbl="solidFgAcc1" presStyleIdx="0" presStyleCnt="1">
        <dgm:presLayoutVars>
          <dgm:chMax/>
          <dgm:chPref val="0"/>
          <dgm:bulletEnabled val="1"/>
        </dgm:presLayoutVars>
      </dgm:prSet>
      <dgm:spPr/>
    </dgm:pt>
  </dgm:ptLst>
  <dgm:cxnLst>
    <dgm:cxn modelId="{9B36DC12-65EC-413E-AA5D-23B242065E70}" srcId="{04B98BF9-CCD2-457C-9C3C-D03B086A4C11}" destId="{EF1119F7-E390-4403-A0E8-E67C0B0F01A6}" srcOrd="0" destOrd="0" parTransId="{BC801CA1-F7FD-4BC1-ADA6-8FB19139EC5D}" sibTransId="{749B382A-6476-4718-8D29-E5D3F2313CB2}"/>
    <dgm:cxn modelId="{69412C14-C368-4364-AA0F-234165FD6A5C}" type="presOf" srcId="{04B98BF9-CCD2-457C-9C3C-D03B086A4C11}" destId="{EAB3CA1C-AA0E-467B-B21E-55D874AF8655}" srcOrd="0" destOrd="0" presId="urn:microsoft.com/office/officeart/2008/layout/VerticalAccentList"/>
    <dgm:cxn modelId="{2815B795-4705-4A6C-8A17-3A9B67961426}" type="presOf" srcId="{CD60BB0A-3326-4F10-8206-43304B62A4D6}" destId="{9000187C-DD86-4C3E-BD67-F898350A9A5F}" srcOrd="0" destOrd="0" presId="urn:microsoft.com/office/officeart/2008/layout/VerticalAccentList"/>
    <dgm:cxn modelId="{F93924D2-5923-4851-8BD0-2B0C5183D071}" type="presOf" srcId="{EF1119F7-E390-4403-A0E8-E67C0B0F01A6}" destId="{26C802FE-D5D2-4E44-A910-B2BE9AFFCECC}" srcOrd="0" destOrd="0" presId="urn:microsoft.com/office/officeart/2008/layout/VerticalAccentList"/>
    <dgm:cxn modelId="{B1B820F2-BCB2-4504-9F65-33C3FB5C12EE}" srcId="{CD60BB0A-3326-4F10-8206-43304B62A4D6}" destId="{04B98BF9-CCD2-457C-9C3C-D03B086A4C11}" srcOrd="0" destOrd="0" parTransId="{71C4C9DC-ADA3-4687-B90F-BFB40676CCBD}" sibTransId="{CB8142A2-36BF-4FDD-A36F-699B3828637C}"/>
    <dgm:cxn modelId="{182374F0-502F-4CE8-84F9-12B5FF386B9F}" type="presParOf" srcId="{9000187C-DD86-4C3E-BD67-F898350A9A5F}" destId="{AD9BF450-93D1-4C3F-AD0D-03483B00D286}" srcOrd="0" destOrd="0" presId="urn:microsoft.com/office/officeart/2008/layout/VerticalAccentList"/>
    <dgm:cxn modelId="{C71D2E73-348A-4195-8A9D-7D88E620C649}" type="presParOf" srcId="{AD9BF450-93D1-4C3F-AD0D-03483B00D286}" destId="{EAB3CA1C-AA0E-467B-B21E-55D874AF8655}" srcOrd="0" destOrd="0" presId="urn:microsoft.com/office/officeart/2008/layout/VerticalAccentList"/>
    <dgm:cxn modelId="{0DF3A140-715F-4AA4-8ABD-4921E543E53D}" type="presParOf" srcId="{9000187C-DD86-4C3E-BD67-F898350A9A5F}" destId="{AB70CCD9-BAB2-42AF-8977-1B17AA05E02A}" srcOrd="1" destOrd="0" presId="urn:microsoft.com/office/officeart/2008/layout/VerticalAccentList"/>
    <dgm:cxn modelId="{5A376BEB-B9CE-4BC4-8A11-63A125323501}" type="presParOf" srcId="{AB70CCD9-BAB2-42AF-8977-1B17AA05E02A}" destId="{49A7C758-7A15-4391-B658-292A2C7F2F05}" srcOrd="0" destOrd="0" presId="urn:microsoft.com/office/officeart/2008/layout/VerticalAccentList"/>
    <dgm:cxn modelId="{14AEA2B2-531E-4E90-8CDB-071D103F0C5C}" type="presParOf" srcId="{AB70CCD9-BAB2-42AF-8977-1B17AA05E02A}" destId="{A8C45647-B0A9-4232-B7F0-E59EF3BBA109}" srcOrd="1" destOrd="0" presId="urn:microsoft.com/office/officeart/2008/layout/VerticalAccentList"/>
    <dgm:cxn modelId="{0E8C91DF-A3D2-413B-9555-E0F26C328801}" type="presParOf" srcId="{AB70CCD9-BAB2-42AF-8977-1B17AA05E02A}" destId="{AF0222C5-4EED-4BC3-83DB-4E9BD129B1C9}" srcOrd="2" destOrd="0" presId="urn:microsoft.com/office/officeart/2008/layout/VerticalAccentList"/>
    <dgm:cxn modelId="{7CB87A69-CD74-453B-8008-191EC31FD311}" type="presParOf" srcId="{AB70CCD9-BAB2-42AF-8977-1B17AA05E02A}" destId="{B1F360F9-C5A2-45BF-ABF5-3DA34979DFB3}" srcOrd="3" destOrd="0" presId="urn:microsoft.com/office/officeart/2008/layout/VerticalAccentList"/>
    <dgm:cxn modelId="{459E1D82-0AD0-4A29-9CC8-3CF8C660EEED}" type="presParOf" srcId="{AB70CCD9-BAB2-42AF-8977-1B17AA05E02A}" destId="{F607E5CF-693C-478B-A41B-1C5D69AB0BA2}" srcOrd="4" destOrd="0" presId="urn:microsoft.com/office/officeart/2008/layout/VerticalAccentList"/>
    <dgm:cxn modelId="{1EB6D647-4266-4B55-AAB7-C9B65A20C565}" type="presParOf" srcId="{AB70CCD9-BAB2-42AF-8977-1B17AA05E02A}" destId="{3654315B-04F6-402C-8998-A2ED89486EBE}" srcOrd="5" destOrd="0" presId="urn:microsoft.com/office/officeart/2008/layout/VerticalAccentList"/>
    <dgm:cxn modelId="{E0DB072D-6645-4B25-81B7-37A73CF0E9B4}" type="presParOf" srcId="{AB70CCD9-BAB2-42AF-8977-1B17AA05E02A}" destId="{B76F87C5-32D3-46E5-A8DD-8A2829963E76}" srcOrd="6" destOrd="0" presId="urn:microsoft.com/office/officeart/2008/layout/VerticalAccentList"/>
    <dgm:cxn modelId="{E42AF353-C24B-47BC-BA29-EA9FA1D20A66}" type="presParOf" srcId="{AB70CCD9-BAB2-42AF-8977-1B17AA05E02A}" destId="{26C802FE-D5D2-4E44-A910-B2BE9AFFCECC}" srcOrd="7" destOrd="0" presId="urn:microsoft.com/office/officeart/2008/layout/VerticalAccent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17EDCC51-2698-4CFB-9F7F-2EEE6292768F}" type="doc">
      <dgm:prSet loTypeId="urn:microsoft.com/office/officeart/2005/8/layout/hProcess11" loCatId="process" qsTypeId="urn:microsoft.com/office/officeart/2005/8/quickstyle/simple1" qsCatId="simple" csTypeId="urn:microsoft.com/office/officeart/2005/8/colors/colorful1" csCatId="colorful" phldr="1"/>
      <dgm:spPr/>
      <dgm:t>
        <a:bodyPr/>
        <a:lstStyle/>
        <a:p>
          <a:endParaRPr lang="en-US"/>
        </a:p>
      </dgm:t>
    </dgm:pt>
    <dgm:pt modelId="{07F847EC-D4D5-4D0E-92C0-B7BA89BF941B}">
      <dgm:prSet/>
      <dgm:spPr/>
      <dgm:t>
        <a:bodyPr/>
        <a:lstStyle/>
        <a:p>
          <a:r>
            <a:rPr lang="en-US" b="0" i="0" dirty="0"/>
            <a:t>Ulaşım </a:t>
          </a:r>
          <a:r>
            <a:rPr lang="en-US" b="0" i="0" dirty="0" err="1"/>
            <a:t>planlaması</a:t>
          </a:r>
          <a:r>
            <a:rPr lang="en-US" b="0" i="0" dirty="0"/>
            <a:t>, </a:t>
          </a:r>
          <a:r>
            <a:rPr lang="en-US" b="0" i="0" dirty="0" err="1"/>
            <a:t>ulaşım</a:t>
          </a:r>
          <a:r>
            <a:rPr lang="en-US" b="0" i="0" dirty="0"/>
            <a:t> </a:t>
          </a:r>
          <a:r>
            <a:rPr lang="en-US" b="0" i="0" dirty="0" err="1"/>
            <a:t>ihtiyaçlarının</a:t>
          </a:r>
          <a:r>
            <a:rPr lang="en-US" b="0" i="0" dirty="0"/>
            <a:t>, </a:t>
          </a:r>
          <a:r>
            <a:rPr lang="en-US" b="0" i="0" dirty="0" err="1"/>
            <a:t>hedeflerin</a:t>
          </a:r>
          <a:r>
            <a:rPr lang="en-US" b="0" i="0" dirty="0"/>
            <a:t> </a:t>
          </a:r>
          <a:r>
            <a:rPr lang="en-US" b="0" i="0" dirty="0" err="1"/>
            <a:t>ve</a:t>
          </a:r>
          <a:r>
            <a:rPr lang="en-US" b="0" i="0" dirty="0"/>
            <a:t> </a:t>
          </a:r>
          <a:r>
            <a:rPr lang="en-US" b="0" i="0" dirty="0" err="1"/>
            <a:t>amaçların</a:t>
          </a:r>
          <a:r>
            <a:rPr lang="en-US" b="0" i="0" dirty="0"/>
            <a:t> </a:t>
          </a:r>
          <a:r>
            <a:rPr lang="en-US" b="0" i="0" dirty="0" err="1"/>
            <a:t>belirlenmesi</a:t>
          </a:r>
          <a:r>
            <a:rPr lang="en-US" b="0" i="0" dirty="0"/>
            <a:t> </a:t>
          </a:r>
          <a:r>
            <a:rPr lang="en-US" b="0" i="0" dirty="0" err="1"/>
            <a:t>ve</a:t>
          </a:r>
          <a:r>
            <a:rPr lang="en-US" b="0" i="0" dirty="0"/>
            <a:t> </a:t>
          </a:r>
          <a:r>
            <a:rPr lang="en-US" b="0" i="0" dirty="0" err="1"/>
            <a:t>bu</a:t>
          </a:r>
          <a:r>
            <a:rPr lang="en-US" b="0" i="0" dirty="0"/>
            <a:t> </a:t>
          </a:r>
          <a:r>
            <a:rPr lang="en-US" b="0" i="0" dirty="0" err="1"/>
            <a:t>ihtiyaçları</a:t>
          </a:r>
          <a:r>
            <a:rPr lang="en-US" b="0" i="0" dirty="0"/>
            <a:t> </a:t>
          </a:r>
          <a:r>
            <a:rPr lang="en-US" b="0" i="0" dirty="0" err="1"/>
            <a:t>güvenli</a:t>
          </a:r>
          <a:r>
            <a:rPr lang="en-US" b="0" i="0" dirty="0"/>
            <a:t>, </a:t>
          </a:r>
          <a:r>
            <a:rPr lang="en-US" b="0" i="0" dirty="0" err="1"/>
            <a:t>verimli</a:t>
          </a:r>
          <a:r>
            <a:rPr lang="en-US" b="0" i="0" dirty="0"/>
            <a:t> </a:t>
          </a:r>
          <a:r>
            <a:rPr lang="en-US" b="0" i="0" dirty="0" err="1"/>
            <a:t>ve</a:t>
          </a:r>
          <a:r>
            <a:rPr lang="en-US" b="0" i="0" dirty="0"/>
            <a:t> </a:t>
          </a:r>
          <a:r>
            <a:rPr lang="en-US" b="0" i="0" dirty="0" err="1"/>
            <a:t>sürdürülebilir</a:t>
          </a:r>
          <a:r>
            <a:rPr lang="en-US" b="0" i="0" dirty="0"/>
            <a:t> </a:t>
          </a:r>
          <a:r>
            <a:rPr lang="en-US" b="0" i="0" dirty="0" err="1"/>
            <a:t>bir</a:t>
          </a:r>
          <a:r>
            <a:rPr lang="en-US" b="0" i="0" dirty="0"/>
            <a:t> </a:t>
          </a:r>
          <a:r>
            <a:rPr lang="en-US" b="0" i="0" dirty="0" err="1"/>
            <a:t>şekilde</a:t>
          </a:r>
          <a:r>
            <a:rPr lang="en-US" b="0" i="0" dirty="0"/>
            <a:t> </a:t>
          </a:r>
          <a:r>
            <a:rPr lang="en-US" b="0" i="0" dirty="0" err="1"/>
            <a:t>karşılamak</a:t>
          </a:r>
          <a:r>
            <a:rPr lang="en-US" b="0" i="0" dirty="0"/>
            <a:t> </a:t>
          </a:r>
          <a:r>
            <a:rPr lang="en-US" b="0" i="0" dirty="0" err="1"/>
            <a:t>için</a:t>
          </a:r>
          <a:r>
            <a:rPr lang="en-US" b="0" i="0" dirty="0"/>
            <a:t> </a:t>
          </a:r>
          <a:r>
            <a:rPr lang="en-US" b="0" i="0" dirty="0" err="1"/>
            <a:t>stratejilerin</a:t>
          </a:r>
          <a:r>
            <a:rPr lang="en-US" b="0" i="0" dirty="0"/>
            <a:t> </a:t>
          </a:r>
          <a:r>
            <a:rPr lang="en-US" b="0" i="0" dirty="0" err="1"/>
            <a:t>geliştirilmesi</a:t>
          </a:r>
          <a:r>
            <a:rPr lang="en-US" b="0" i="0" dirty="0"/>
            <a:t> </a:t>
          </a:r>
          <a:r>
            <a:rPr lang="en-US" b="0" i="0" dirty="0" err="1"/>
            <a:t>sürecidir</a:t>
          </a:r>
          <a:r>
            <a:rPr lang="en-US" b="0" i="0" dirty="0"/>
            <a:t>. Ulaşım </a:t>
          </a:r>
          <a:r>
            <a:rPr lang="en-US" b="0" i="0" dirty="0" err="1"/>
            <a:t>planlamasının</a:t>
          </a:r>
          <a:r>
            <a:rPr lang="en-US" b="0" i="0" dirty="0"/>
            <a:t> </a:t>
          </a:r>
          <a:r>
            <a:rPr lang="en-US" b="0" i="0" dirty="0" err="1"/>
            <a:t>temel</a:t>
          </a:r>
          <a:r>
            <a:rPr lang="en-US" b="0" i="0" dirty="0"/>
            <a:t> </a:t>
          </a:r>
          <a:r>
            <a:rPr lang="en-US" b="0" i="0" dirty="0" err="1"/>
            <a:t>ilkeleri</a:t>
          </a:r>
          <a:r>
            <a:rPr lang="en-US" b="0" i="0" dirty="0"/>
            <a:t> </a:t>
          </a:r>
          <a:r>
            <a:rPr lang="en-US" b="0" i="0" dirty="0" err="1"/>
            <a:t>şöyle</a:t>
          </a:r>
          <a:r>
            <a:rPr lang="en-US" b="0" i="0" dirty="0"/>
            <a:t> </a:t>
          </a:r>
          <a:r>
            <a:rPr lang="en-US" b="0" i="0" dirty="0" err="1"/>
            <a:t>sıralanabilir</a:t>
          </a:r>
          <a:endParaRPr lang="en-US" b="0" i="0" dirty="0"/>
        </a:p>
      </dgm:t>
    </dgm:pt>
    <dgm:pt modelId="{784621AD-3155-4A17-BEEB-7B7442761A1C}" type="parTrans" cxnId="{AF540BE5-CE54-4675-98B6-A8A63136CDF2}">
      <dgm:prSet/>
      <dgm:spPr/>
      <dgm:t>
        <a:bodyPr/>
        <a:lstStyle/>
        <a:p>
          <a:endParaRPr lang="en-US"/>
        </a:p>
      </dgm:t>
    </dgm:pt>
    <dgm:pt modelId="{D7496442-6A24-4C81-AF10-D4C232DAAD7B}" type="sibTrans" cxnId="{AF540BE5-CE54-4675-98B6-A8A63136CDF2}">
      <dgm:prSet/>
      <dgm:spPr/>
      <dgm:t>
        <a:bodyPr/>
        <a:lstStyle/>
        <a:p>
          <a:endParaRPr lang="en-US"/>
        </a:p>
      </dgm:t>
    </dgm:pt>
    <dgm:pt modelId="{F965C586-D336-4D06-9E87-D9184CAC3DC9}">
      <dgm:prSet/>
      <dgm:spPr/>
      <dgm:t>
        <a:bodyPr/>
        <a:lstStyle/>
        <a:p>
          <a:r>
            <a:rPr lang="en-US" b="0" i="0" dirty="0" err="1"/>
            <a:t>Çok</a:t>
          </a:r>
          <a:r>
            <a:rPr lang="en-US" b="0" i="0" dirty="0"/>
            <a:t> </a:t>
          </a:r>
          <a:r>
            <a:rPr lang="en-US" b="0" i="0" dirty="0" err="1"/>
            <a:t>Modlu</a:t>
          </a:r>
          <a:r>
            <a:rPr lang="en-US" b="0" i="0" dirty="0"/>
            <a:t> </a:t>
          </a:r>
          <a:r>
            <a:rPr lang="en-US" b="0" i="0" dirty="0" err="1"/>
            <a:t>Yaklaşım</a:t>
          </a:r>
          <a:r>
            <a:rPr lang="en-US" b="0" i="0" dirty="0"/>
            <a:t>: Ulaşım </a:t>
          </a:r>
          <a:r>
            <a:rPr lang="en-US" b="0" i="0" dirty="0" err="1"/>
            <a:t>planlamasının</a:t>
          </a:r>
          <a:r>
            <a:rPr lang="en-US" b="0" i="0" dirty="0"/>
            <a:t> </a:t>
          </a:r>
          <a:r>
            <a:rPr lang="en-US" b="0" i="0" dirty="0" err="1"/>
            <a:t>tüm</a:t>
          </a:r>
          <a:r>
            <a:rPr lang="en-US" b="0" i="0" dirty="0"/>
            <a:t> </a:t>
          </a:r>
          <a:r>
            <a:rPr lang="en-US" b="0" i="0" dirty="0" err="1"/>
            <a:t>ulaşım</a:t>
          </a:r>
          <a:r>
            <a:rPr lang="en-US" b="0" i="0" dirty="0"/>
            <a:t> </a:t>
          </a:r>
          <a:r>
            <a:rPr lang="en-US" b="0" i="0" dirty="0" err="1"/>
            <a:t>türlerini</a:t>
          </a:r>
          <a:r>
            <a:rPr lang="en-US" b="0" i="0" dirty="0"/>
            <a:t> - </a:t>
          </a:r>
          <a:r>
            <a:rPr lang="en-US" b="0" i="0" dirty="0" err="1"/>
            <a:t>yürüme</a:t>
          </a:r>
          <a:r>
            <a:rPr lang="en-US" b="0" i="0" dirty="0"/>
            <a:t>, </a:t>
          </a:r>
          <a:r>
            <a:rPr lang="en-US" b="0" i="0" dirty="0" err="1"/>
            <a:t>bisiklet</a:t>
          </a:r>
          <a:r>
            <a:rPr lang="en-US" b="0" i="0" dirty="0"/>
            <a:t> </a:t>
          </a:r>
          <a:r>
            <a:rPr lang="en-US" b="0" i="0" dirty="0" err="1"/>
            <a:t>sürme</a:t>
          </a:r>
          <a:r>
            <a:rPr lang="en-US" b="0" i="0" dirty="0"/>
            <a:t>, </a:t>
          </a:r>
          <a:r>
            <a:rPr lang="en-US" b="0" i="0" dirty="0" err="1"/>
            <a:t>toplu</a:t>
          </a:r>
          <a:r>
            <a:rPr lang="en-US" b="0" i="0" dirty="0"/>
            <a:t> </a:t>
          </a:r>
          <a:r>
            <a:rPr lang="en-US" b="0" i="0" dirty="0" err="1"/>
            <a:t>taşıma</a:t>
          </a:r>
          <a:r>
            <a:rPr lang="en-US" b="0" i="0" dirty="0"/>
            <a:t> </a:t>
          </a:r>
          <a:r>
            <a:rPr lang="en-US" b="0" i="0" dirty="0" err="1"/>
            <a:t>ve</a:t>
          </a:r>
          <a:r>
            <a:rPr lang="en-US" b="0" i="0" dirty="0"/>
            <a:t> </a:t>
          </a:r>
          <a:r>
            <a:rPr lang="en-US" b="0" i="0" dirty="0" err="1"/>
            <a:t>kişisel</a:t>
          </a:r>
          <a:r>
            <a:rPr lang="en-US" b="0" i="0" dirty="0"/>
            <a:t> </a:t>
          </a:r>
          <a:r>
            <a:rPr lang="en-US" b="0" i="0" dirty="0" err="1"/>
            <a:t>araç</a:t>
          </a:r>
          <a:r>
            <a:rPr lang="en-US" b="0" i="0" dirty="0"/>
            <a:t> </a:t>
          </a:r>
          <a:r>
            <a:rPr lang="en-US" b="0" i="0" dirty="0" err="1"/>
            <a:t>kullanımı</a:t>
          </a:r>
          <a:r>
            <a:rPr lang="en-US" b="0" i="0" dirty="0"/>
            <a:t> </a:t>
          </a:r>
          <a:r>
            <a:rPr lang="en-US" b="0" i="0" dirty="0" err="1"/>
            <a:t>dahil</a:t>
          </a:r>
          <a:r>
            <a:rPr lang="en-US" b="0" i="0" dirty="0"/>
            <a:t> - </a:t>
          </a:r>
          <a:r>
            <a:rPr lang="en-US" b="0" i="0" dirty="0" err="1"/>
            <a:t>göz</a:t>
          </a:r>
          <a:r>
            <a:rPr lang="en-US" b="0" i="0" dirty="0"/>
            <a:t> </a:t>
          </a:r>
          <a:r>
            <a:rPr lang="en-US" b="0" i="0" dirty="0" err="1"/>
            <a:t>önünde</a:t>
          </a:r>
          <a:r>
            <a:rPr lang="en-US" b="0" i="0" dirty="0"/>
            <a:t> </a:t>
          </a:r>
          <a:r>
            <a:rPr lang="en-US" b="0" i="0" dirty="0" err="1"/>
            <a:t>bulundurması</a:t>
          </a:r>
          <a:r>
            <a:rPr lang="en-US" b="0" i="0" dirty="0"/>
            <a:t> </a:t>
          </a:r>
          <a:r>
            <a:rPr lang="en-US" b="0" i="0" dirty="0" err="1"/>
            <a:t>ve</a:t>
          </a:r>
          <a:r>
            <a:rPr lang="en-US" b="0" i="0" dirty="0"/>
            <a:t> </a:t>
          </a:r>
          <a:r>
            <a:rPr lang="en-US" b="0" i="0" dirty="0" err="1"/>
            <a:t>tüm</a:t>
          </a:r>
          <a:r>
            <a:rPr lang="en-US" b="0" i="0" dirty="0"/>
            <a:t> </a:t>
          </a:r>
          <a:r>
            <a:rPr lang="en-US" b="0" i="0" dirty="0" err="1"/>
            <a:t>kullanıcıların</a:t>
          </a:r>
          <a:r>
            <a:rPr lang="en-US" b="0" i="0" dirty="0"/>
            <a:t> </a:t>
          </a:r>
          <a:r>
            <a:rPr lang="en-US" b="0" i="0" dirty="0" err="1"/>
            <a:t>ihtiyaçlarını</a:t>
          </a:r>
          <a:r>
            <a:rPr lang="en-US" b="0" i="0" dirty="0"/>
            <a:t> </a:t>
          </a:r>
          <a:r>
            <a:rPr lang="en-US" b="0" i="0" dirty="0" err="1"/>
            <a:t>karşılayan</a:t>
          </a:r>
          <a:r>
            <a:rPr lang="en-US" b="0" i="0" dirty="0"/>
            <a:t> </a:t>
          </a:r>
          <a:r>
            <a:rPr lang="en-US" b="0" i="0" dirty="0" err="1"/>
            <a:t>dengeli</a:t>
          </a:r>
          <a:r>
            <a:rPr lang="en-US" b="0" i="0" dirty="0"/>
            <a:t>, </a:t>
          </a:r>
          <a:r>
            <a:rPr lang="en-US" b="0" i="0" dirty="0" err="1"/>
            <a:t>çok</a:t>
          </a:r>
          <a:r>
            <a:rPr lang="en-US" b="0" i="0" dirty="0"/>
            <a:t> </a:t>
          </a:r>
          <a:r>
            <a:rPr lang="en-US" b="0" i="0" dirty="0" err="1"/>
            <a:t>modlu</a:t>
          </a:r>
          <a:r>
            <a:rPr lang="en-US" b="0" i="0" dirty="0"/>
            <a:t> </a:t>
          </a:r>
          <a:r>
            <a:rPr lang="en-US" b="0" i="0" dirty="0" err="1"/>
            <a:t>bir</a:t>
          </a:r>
          <a:r>
            <a:rPr lang="en-US" b="0" i="0" dirty="0"/>
            <a:t> </a:t>
          </a:r>
          <a:r>
            <a:rPr lang="en-US" b="0" i="0" dirty="0" err="1"/>
            <a:t>ulaşım</a:t>
          </a:r>
          <a:r>
            <a:rPr lang="en-US" b="0" i="0" dirty="0"/>
            <a:t> </a:t>
          </a:r>
          <a:r>
            <a:rPr lang="en-US" b="0" i="0" dirty="0" err="1"/>
            <a:t>sistemi</a:t>
          </a:r>
          <a:r>
            <a:rPr lang="en-US" b="0" i="0" dirty="0"/>
            <a:t> </a:t>
          </a:r>
          <a:r>
            <a:rPr lang="en-US" b="0" i="0" dirty="0" err="1"/>
            <a:t>oluşturma</a:t>
          </a:r>
          <a:r>
            <a:rPr lang="en-US" b="0" i="0" dirty="0"/>
            <a:t> </a:t>
          </a:r>
          <a:r>
            <a:rPr lang="en-US" b="0" i="0" dirty="0" err="1"/>
            <a:t>çabası</a:t>
          </a:r>
          <a:r>
            <a:rPr lang="en-US" b="0" i="0" dirty="0"/>
            <a:t> </a:t>
          </a:r>
          <a:r>
            <a:rPr lang="en-US" b="0" i="0" dirty="0" err="1"/>
            <a:t>önemlidir</a:t>
          </a:r>
          <a:r>
            <a:rPr lang="en-US" b="0" i="0" dirty="0"/>
            <a:t>.</a:t>
          </a:r>
        </a:p>
      </dgm:t>
    </dgm:pt>
    <dgm:pt modelId="{7F9F7C3B-FC96-4A11-B689-B6BB6339A231}" type="parTrans" cxnId="{B8FD2949-33B8-4315-A0BB-E9C71E757EBC}">
      <dgm:prSet/>
      <dgm:spPr/>
      <dgm:t>
        <a:bodyPr/>
        <a:lstStyle/>
        <a:p>
          <a:endParaRPr lang="en-US"/>
        </a:p>
      </dgm:t>
    </dgm:pt>
    <dgm:pt modelId="{9A534602-B70B-460D-A65C-88DAFBDCEF5A}" type="sibTrans" cxnId="{B8FD2949-33B8-4315-A0BB-E9C71E757EBC}">
      <dgm:prSet/>
      <dgm:spPr/>
      <dgm:t>
        <a:bodyPr/>
        <a:lstStyle/>
        <a:p>
          <a:endParaRPr lang="en-US"/>
        </a:p>
      </dgm:t>
    </dgm:pt>
    <dgm:pt modelId="{03591852-68A5-44EA-8266-A0CEC0E5B7F3}">
      <dgm:prSet/>
      <dgm:spPr/>
      <dgm:t>
        <a:bodyPr/>
        <a:lstStyle/>
        <a:p>
          <a:r>
            <a:rPr lang="en-US" b="0" i="0" dirty="0" err="1"/>
            <a:t>Güvenlik</a:t>
          </a:r>
          <a:r>
            <a:rPr lang="en-US" b="0" i="0" dirty="0"/>
            <a:t>, </a:t>
          </a:r>
          <a:r>
            <a:rPr lang="en-US" b="0" i="0" dirty="0" err="1"/>
            <a:t>ulaşım</a:t>
          </a:r>
          <a:r>
            <a:rPr lang="en-US" b="0" i="0" dirty="0"/>
            <a:t> </a:t>
          </a:r>
          <a:r>
            <a:rPr lang="en-US" b="0" i="0" dirty="0" err="1"/>
            <a:t>planlamasının</a:t>
          </a:r>
          <a:r>
            <a:rPr lang="en-US" b="0" i="0" dirty="0"/>
            <a:t> </a:t>
          </a:r>
          <a:r>
            <a:rPr lang="en-US" b="0" i="0" dirty="0" err="1"/>
            <a:t>kilit</a:t>
          </a:r>
          <a:r>
            <a:rPr lang="en-US" b="0" i="0" dirty="0"/>
            <a:t> </a:t>
          </a:r>
          <a:r>
            <a:rPr lang="en-US" b="0" i="0" dirty="0" err="1"/>
            <a:t>bir</a:t>
          </a:r>
          <a:r>
            <a:rPr lang="en-US" b="0" i="0" dirty="0"/>
            <a:t> </a:t>
          </a:r>
          <a:r>
            <a:rPr lang="en-US" b="0" i="0" dirty="0" err="1"/>
            <a:t>unsuru</a:t>
          </a:r>
          <a:r>
            <a:rPr lang="en-US" b="0" i="0" dirty="0"/>
            <a:t> </a:t>
          </a:r>
          <a:r>
            <a:rPr lang="en-US" b="0" i="0" dirty="0" err="1"/>
            <a:t>olmalıdır</a:t>
          </a:r>
          <a:r>
            <a:rPr lang="en-US" b="0" i="0" dirty="0"/>
            <a:t>. Bu </a:t>
          </a:r>
          <a:r>
            <a:rPr lang="en-US" b="0" i="0" dirty="0" err="1"/>
            <a:t>süreçte</a:t>
          </a:r>
          <a:r>
            <a:rPr lang="en-US" b="0" i="0" dirty="0"/>
            <a:t>, </a:t>
          </a:r>
          <a:r>
            <a:rPr lang="en-US" b="0" i="0" dirty="0" err="1"/>
            <a:t>yayaların</a:t>
          </a:r>
          <a:r>
            <a:rPr lang="en-US" b="0" i="0" dirty="0"/>
            <a:t>, </a:t>
          </a:r>
          <a:r>
            <a:rPr lang="en-US" b="0" i="0" dirty="0" err="1"/>
            <a:t>bisiklet</a:t>
          </a:r>
          <a:r>
            <a:rPr lang="en-US" b="0" i="0" dirty="0"/>
            <a:t> </a:t>
          </a:r>
          <a:r>
            <a:rPr lang="en-US" b="0" i="0" dirty="0" err="1"/>
            <a:t>sürücülerinin</a:t>
          </a:r>
          <a:r>
            <a:rPr lang="en-US" b="0" i="0" dirty="0"/>
            <a:t> </a:t>
          </a:r>
          <a:r>
            <a:rPr lang="en-US" b="0" i="0" dirty="0" err="1"/>
            <a:t>ve</a:t>
          </a:r>
          <a:r>
            <a:rPr lang="en-US" b="0" i="0" dirty="0"/>
            <a:t> </a:t>
          </a:r>
          <a:r>
            <a:rPr lang="en-US" b="0" i="0" dirty="0" err="1"/>
            <a:t>motorlu</a:t>
          </a:r>
          <a:r>
            <a:rPr lang="en-US" b="0" i="0" dirty="0"/>
            <a:t> </a:t>
          </a:r>
          <a:r>
            <a:rPr lang="en-US" b="0" i="0" dirty="0" err="1"/>
            <a:t>araç</a:t>
          </a:r>
          <a:r>
            <a:rPr lang="en-US" b="0" i="0" dirty="0"/>
            <a:t> </a:t>
          </a:r>
          <a:r>
            <a:rPr lang="en-US" b="0" i="0" dirty="0" err="1"/>
            <a:t>sürücülerinin</a:t>
          </a:r>
          <a:r>
            <a:rPr lang="en-US" b="0" i="0" dirty="0"/>
            <a:t> </a:t>
          </a:r>
          <a:r>
            <a:rPr lang="en-US" b="0" i="0" dirty="0" err="1"/>
            <a:t>güvenliği</a:t>
          </a:r>
          <a:r>
            <a:rPr lang="en-US" b="0" i="0" dirty="0"/>
            <a:t> </a:t>
          </a:r>
          <a:r>
            <a:rPr lang="en-US" b="0" i="0" dirty="0" err="1"/>
            <a:t>öncelikli</a:t>
          </a:r>
          <a:r>
            <a:rPr lang="en-US" b="0" i="0" dirty="0"/>
            <a:t> </a:t>
          </a:r>
          <a:r>
            <a:rPr lang="en-US" b="0" i="0" dirty="0" err="1"/>
            <a:t>olmalıdır</a:t>
          </a:r>
          <a:r>
            <a:rPr lang="en-US" b="0" i="0" dirty="0"/>
            <a:t>.</a:t>
          </a:r>
        </a:p>
        <a:p>
          <a:endParaRPr dirty="0"/>
        </a:p>
      </dgm:t>
    </dgm:pt>
    <dgm:pt modelId="{92626F86-9D7E-4F80-ADA7-52BAEB76800B}" type="parTrans" cxnId="{AAFD9FE0-6BF5-4999-AF9C-8DA87234559E}">
      <dgm:prSet/>
      <dgm:spPr/>
      <dgm:t>
        <a:bodyPr/>
        <a:lstStyle/>
        <a:p>
          <a:endParaRPr lang="en-US"/>
        </a:p>
      </dgm:t>
    </dgm:pt>
    <dgm:pt modelId="{0C52E1CD-ECFF-4647-B114-7C437716584C}" type="sibTrans" cxnId="{AAFD9FE0-6BF5-4999-AF9C-8DA87234559E}">
      <dgm:prSet/>
      <dgm:spPr/>
      <dgm:t>
        <a:bodyPr/>
        <a:lstStyle/>
        <a:p>
          <a:endParaRPr lang="en-US"/>
        </a:p>
      </dgm:t>
    </dgm:pt>
    <dgm:pt modelId="{E6578D47-7971-4A9A-BF46-3C0B43AF307A}">
      <dgm:prSet/>
      <dgm:spPr/>
      <dgm:t>
        <a:bodyPr/>
        <a:lstStyle/>
        <a:p>
          <a:r>
            <a:rPr lang="tr-TR" b="0" i="0" dirty="0"/>
            <a:t>Erişim kolaylığı: </a:t>
          </a:r>
          <a:r>
            <a:rPr lang="en-US" b="0" i="0" dirty="0"/>
            <a:t>Ulaşım </a:t>
          </a:r>
          <a:r>
            <a:rPr lang="en-US" b="0" i="0" dirty="0" err="1"/>
            <a:t>planlaması</a:t>
          </a:r>
          <a:r>
            <a:rPr lang="en-US" b="0" i="0" dirty="0"/>
            <a:t> </a:t>
          </a:r>
          <a:r>
            <a:rPr lang="en-US" b="0" i="0" dirty="0" err="1"/>
            <a:t>süreci</a:t>
          </a:r>
          <a:r>
            <a:rPr lang="en-US" b="0" i="0" dirty="0"/>
            <a:t>, </a:t>
          </a:r>
          <a:r>
            <a:rPr lang="en-US" b="0" i="0" dirty="0" err="1"/>
            <a:t>engelli</a:t>
          </a:r>
          <a:r>
            <a:rPr lang="en-US" b="0" i="0" dirty="0"/>
            <a:t> </a:t>
          </a:r>
          <a:r>
            <a:rPr lang="en-US" b="0" i="0" dirty="0" err="1"/>
            <a:t>bireyler</a:t>
          </a:r>
          <a:r>
            <a:rPr lang="en-US" b="0" i="0" dirty="0"/>
            <a:t>, </a:t>
          </a:r>
          <a:r>
            <a:rPr lang="en-US" b="0" i="0" dirty="0" err="1"/>
            <a:t>yaşlı</a:t>
          </a:r>
          <a:r>
            <a:rPr lang="en-US" b="0" i="0" dirty="0"/>
            <a:t> </a:t>
          </a:r>
          <a:r>
            <a:rPr lang="en-US" b="0" i="0" dirty="0" err="1"/>
            <a:t>yetişkinler</a:t>
          </a:r>
          <a:r>
            <a:rPr lang="en-US" b="0" i="0" dirty="0"/>
            <a:t> </a:t>
          </a:r>
          <a:r>
            <a:rPr lang="en-US" b="0" i="0" dirty="0" err="1"/>
            <a:t>ve</a:t>
          </a:r>
          <a:r>
            <a:rPr lang="en-US" b="0" i="0" dirty="0"/>
            <a:t> </a:t>
          </a:r>
          <a:r>
            <a:rPr lang="en-US" b="0" i="0" dirty="0" err="1"/>
            <a:t>düşük</a:t>
          </a:r>
          <a:r>
            <a:rPr lang="en-US" b="0" i="0" dirty="0"/>
            <a:t> </a:t>
          </a:r>
          <a:r>
            <a:rPr lang="en-US" b="0" i="0" dirty="0" err="1"/>
            <a:t>gelirli</a:t>
          </a:r>
          <a:r>
            <a:rPr lang="en-US" b="0" i="0" dirty="0"/>
            <a:t> </a:t>
          </a:r>
          <a:r>
            <a:rPr lang="en-US" b="0" i="0" dirty="0" err="1"/>
            <a:t>kişiler</a:t>
          </a:r>
          <a:r>
            <a:rPr lang="en-US" b="0" i="0" dirty="0"/>
            <a:t> de </a:t>
          </a:r>
          <a:r>
            <a:rPr lang="en-US" b="0" i="0" dirty="0" err="1"/>
            <a:t>dahil</a:t>
          </a:r>
          <a:r>
            <a:rPr lang="en-US" b="0" i="0" dirty="0"/>
            <a:t> </a:t>
          </a:r>
          <a:r>
            <a:rPr lang="en-US" b="0" i="0" dirty="0" err="1"/>
            <a:t>olmak</a:t>
          </a:r>
          <a:r>
            <a:rPr lang="en-US" b="0" i="0" dirty="0"/>
            <a:t> </a:t>
          </a:r>
          <a:r>
            <a:rPr lang="en-US" b="0" i="0" dirty="0" err="1"/>
            <a:t>üzere</a:t>
          </a:r>
          <a:r>
            <a:rPr lang="en-US" b="0" i="0" dirty="0"/>
            <a:t> </a:t>
          </a:r>
          <a:r>
            <a:rPr lang="en-US" b="0" i="0" dirty="0" err="1"/>
            <a:t>tüm</a:t>
          </a:r>
          <a:r>
            <a:rPr lang="en-US" b="0" i="0" dirty="0"/>
            <a:t> </a:t>
          </a:r>
          <a:r>
            <a:rPr lang="en-US" b="0" i="0" dirty="0" err="1"/>
            <a:t>kullanıcıların</a:t>
          </a:r>
          <a:r>
            <a:rPr lang="en-US" b="0" i="0" dirty="0"/>
            <a:t> </a:t>
          </a:r>
          <a:r>
            <a:rPr lang="en-US" b="0" i="0" dirty="0" err="1"/>
            <a:t>temel</a:t>
          </a:r>
          <a:r>
            <a:rPr lang="en-US" b="0" i="0" dirty="0"/>
            <a:t> </a:t>
          </a:r>
          <a:r>
            <a:rPr lang="en-US" b="0" i="0" dirty="0" err="1"/>
            <a:t>hizmetlere</a:t>
          </a:r>
          <a:r>
            <a:rPr lang="en-US" b="0" i="0" dirty="0"/>
            <a:t> </a:t>
          </a:r>
          <a:r>
            <a:rPr lang="en-US" b="0" i="0" dirty="0" err="1"/>
            <a:t>ve</a:t>
          </a:r>
          <a:r>
            <a:rPr lang="en-US" b="0" i="0" dirty="0"/>
            <a:t> </a:t>
          </a:r>
          <a:r>
            <a:rPr lang="en-US" b="0" i="0" dirty="0" err="1"/>
            <a:t>hedef</a:t>
          </a:r>
          <a:r>
            <a:rPr lang="en-US" b="0" i="0" dirty="0"/>
            <a:t> </a:t>
          </a:r>
          <a:r>
            <a:rPr lang="en-US" b="0" i="0" dirty="0" err="1"/>
            <a:t>noktalara</a:t>
          </a:r>
          <a:r>
            <a:rPr lang="en-US" b="0" i="0" dirty="0"/>
            <a:t> </a:t>
          </a:r>
          <a:r>
            <a:rPr lang="en-US" b="0" i="0" dirty="0" err="1"/>
            <a:t>erişimini</a:t>
          </a:r>
          <a:r>
            <a:rPr lang="en-US" b="0" i="0" dirty="0"/>
            <a:t> </a:t>
          </a:r>
          <a:r>
            <a:rPr lang="en-US" b="0" i="0" dirty="0" err="1"/>
            <a:t>iyileştirmeyi</a:t>
          </a:r>
          <a:r>
            <a:rPr lang="en-US" b="0" i="0" dirty="0"/>
            <a:t> </a:t>
          </a:r>
          <a:r>
            <a:rPr lang="en-US" b="0" i="0" dirty="0" err="1"/>
            <a:t>hedeflemelidir</a:t>
          </a:r>
          <a:r>
            <a:rPr lang="tr-TR" b="0" i="0" dirty="0"/>
            <a:t>.</a:t>
          </a:r>
          <a:endParaRPr dirty="0"/>
        </a:p>
      </dgm:t>
    </dgm:pt>
    <dgm:pt modelId="{5211BE37-81D1-428E-BD75-F0FCB6F458B5}" type="parTrans" cxnId="{EE65931D-BD68-4F54-8F53-5091C3469851}">
      <dgm:prSet/>
      <dgm:spPr/>
      <dgm:t>
        <a:bodyPr/>
        <a:lstStyle/>
        <a:p>
          <a:endParaRPr lang="en-US"/>
        </a:p>
      </dgm:t>
    </dgm:pt>
    <dgm:pt modelId="{27302F11-73FC-4B13-AACC-09ADA2949B3D}" type="sibTrans" cxnId="{EE65931D-BD68-4F54-8F53-5091C3469851}">
      <dgm:prSet/>
      <dgm:spPr/>
      <dgm:t>
        <a:bodyPr/>
        <a:lstStyle/>
        <a:p>
          <a:endParaRPr lang="en-US"/>
        </a:p>
      </dgm:t>
    </dgm:pt>
    <dgm:pt modelId="{3FAC011A-EBCA-4D53-8A99-E85645948FC8}">
      <dgm:prSet/>
      <dgm:spPr/>
      <dgm:t>
        <a:bodyPr/>
        <a:lstStyle/>
        <a:p>
          <a:r>
            <a:rPr dirty="0" err="1"/>
            <a:t>Sürdürülebilirlik</a:t>
          </a:r>
          <a:r>
            <a:rPr dirty="0"/>
            <a:t>: Ulaşım </a:t>
          </a:r>
          <a:r>
            <a:rPr dirty="0" err="1"/>
            <a:t>planlaması</a:t>
          </a:r>
          <a:r>
            <a:rPr dirty="0"/>
            <a:t>, </a:t>
          </a:r>
          <a:r>
            <a:rPr dirty="0" err="1"/>
            <a:t>karbon</a:t>
          </a:r>
          <a:r>
            <a:rPr dirty="0"/>
            <a:t> </a:t>
          </a:r>
          <a:r>
            <a:rPr dirty="0" err="1"/>
            <a:t>emisyonlarını</a:t>
          </a:r>
          <a:r>
            <a:rPr dirty="0"/>
            <a:t> </a:t>
          </a:r>
          <a:r>
            <a:rPr dirty="0" err="1"/>
            <a:t>azaltmak</a:t>
          </a:r>
          <a:r>
            <a:rPr dirty="0"/>
            <a:t> </a:t>
          </a:r>
          <a:r>
            <a:rPr dirty="0" err="1"/>
            <a:t>ve</a:t>
          </a:r>
          <a:r>
            <a:rPr dirty="0"/>
            <a:t> </a:t>
          </a:r>
          <a:r>
            <a:rPr dirty="0" err="1"/>
            <a:t>hava</a:t>
          </a:r>
          <a:r>
            <a:rPr dirty="0"/>
            <a:t> </a:t>
          </a:r>
          <a:r>
            <a:rPr dirty="0" err="1"/>
            <a:t>kalitesini</a:t>
          </a:r>
          <a:r>
            <a:rPr dirty="0"/>
            <a:t> </a:t>
          </a:r>
          <a:r>
            <a:rPr dirty="0" err="1"/>
            <a:t>iyileştirmek</a:t>
          </a:r>
          <a:r>
            <a:rPr dirty="0"/>
            <a:t> </a:t>
          </a:r>
          <a:r>
            <a:rPr dirty="0" err="1"/>
            <a:t>için</a:t>
          </a:r>
          <a:r>
            <a:rPr dirty="0"/>
            <a:t> </a:t>
          </a:r>
          <a:r>
            <a:rPr dirty="0" err="1"/>
            <a:t>toplu</a:t>
          </a:r>
          <a:r>
            <a:rPr dirty="0"/>
            <a:t> </a:t>
          </a:r>
          <a:r>
            <a:rPr dirty="0" err="1"/>
            <a:t>taşıma</a:t>
          </a:r>
          <a:r>
            <a:rPr dirty="0"/>
            <a:t>, </a:t>
          </a:r>
          <a:r>
            <a:rPr dirty="0" err="1"/>
            <a:t>bisiklet</a:t>
          </a:r>
          <a:r>
            <a:rPr dirty="0"/>
            <a:t> </a:t>
          </a:r>
          <a:r>
            <a:rPr dirty="0" err="1"/>
            <a:t>ve</a:t>
          </a:r>
          <a:r>
            <a:rPr dirty="0"/>
            <a:t> </a:t>
          </a:r>
          <a:r>
            <a:rPr dirty="0" err="1"/>
            <a:t>yürüyüş</a:t>
          </a:r>
          <a:r>
            <a:rPr dirty="0"/>
            <a:t> </a:t>
          </a:r>
          <a:r>
            <a:rPr dirty="0" err="1"/>
            <a:t>gibi</a:t>
          </a:r>
          <a:r>
            <a:rPr dirty="0"/>
            <a:t> </a:t>
          </a:r>
          <a:r>
            <a:rPr dirty="0" err="1"/>
            <a:t>sürdürülebilir</a:t>
          </a:r>
          <a:r>
            <a:rPr dirty="0"/>
            <a:t> </a:t>
          </a:r>
          <a:r>
            <a:rPr dirty="0" err="1"/>
            <a:t>ulaşım</a:t>
          </a:r>
          <a:r>
            <a:rPr dirty="0"/>
            <a:t> </a:t>
          </a:r>
          <a:r>
            <a:rPr dirty="0" err="1"/>
            <a:t>seçeneklerini</a:t>
          </a:r>
          <a:r>
            <a:rPr dirty="0"/>
            <a:t> </a:t>
          </a:r>
          <a:r>
            <a:rPr dirty="0" err="1"/>
            <a:t>teşvik</a:t>
          </a:r>
          <a:r>
            <a:rPr dirty="0"/>
            <a:t> </a:t>
          </a:r>
          <a:r>
            <a:rPr dirty="0" err="1"/>
            <a:t>etmelidir</a:t>
          </a:r>
          <a:r>
            <a:rPr dirty="0"/>
            <a:t>.</a:t>
          </a:r>
        </a:p>
      </dgm:t>
    </dgm:pt>
    <dgm:pt modelId="{AC24D919-D6AF-4D96-8982-A5F57F8637C7}" type="parTrans" cxnId="{5FDF1A02-95C8-4A06-A8BC-796A35B1A362}">
      <dgm:prSet/>
      <dgm:spPr/>
      <dgm:t>
        <a:bodyPr/>
        <a:lstStyle/>
        <a:p>
          <a:endParaRPr lang="en-US"/>
        </a:p>
      </dgm:t>
    </dgm:pt>
    <dgm:pt modelId="{024432B0-F335-44D5-91A0-E795B4C98968}" type="sibTrans" cxnId="{5FDF1A02-95C8-4A06-A8BC-796A35B1A362}">
      <dgm:prSet/>
      <dgm:spPr/>
      <dgm:t>
        <a:bodyPr/>
        <a:lstStyle/>
        <a:p>
          <a:endParaRPr lang="en-US"/>
        </a:p>
      </dgm:t>
    </dgm:pt>
    <dgm:pt modelId="{4EC0584B-1DE7-4951-8B90-695E730A75FC}">
      <dgm:prSet/>
      <dgm:spPr/>
      <dgm:t>
        <a:bodyPr/>
        <a:lstStyle/>
        <a:p>
          <a:r>
            <a:rPr lang="tr-TR" b="0" i="0" dirty="0"/>
            <a:t>Eşitlik: </a:t>
          </a:r>
          <a:r>
            <a:rPr lang="en-US" b="0" i="0" dirty="0"/>
            <a:t>Ulaşım </a:t>
          </a:r>
          <a:r>
            <a:rPr lang="en-US" b="0" i="0" dirty="0" err="1"/>
            <a:t>planlaması</a:t>
          </a:r>
          <a:r>
            <a:rPr lang="en-US" b="0" i="0" dirty="0"/>
            <a:t> </a:t>
          </a:r>
          <a:r>
            <a:rPr lang="en-US" b="0" i="0" dirty="0" err="1"/>
            <a:t>adil</a:t>
          </a:r>
          <a:r>
            <a:rPr lang="en-US" b="0" i="0" dirty="0"/>
            <a:t> </a:t>
          </a:r>
          <a:r>
            <a:rPr lang="en-US" b="0" i="0" dirty="0" err="1"/>
            <a:t>olmalıdır</a:t>
          </a:r>
          <a:r>
            <a:rPr lang="en-US" b="0" i="0" dirty="0"/>
            <a:t>. </a:t>
          </a:r>
          <a:r>
            <a:rPr lang="en-US" b="0" i="0" dirty="0" err="1"/>
            <a:t>Kullanıcıların</a:t>
          </a:r>
          <a:r>
            <a:rPr lang="en-US" b="0" i="0" dirty="0"/>
            <a:t> </a:t>
          </a:r>
          <a:r>
            <a:rPr lang="en-US" b="0" i="0" dirty="0" err="1"/>
            <a:t>gelir</a:t>
          </a:r>
          <a:r>
            <a:rPr lang="en-US" b="0" i="0" dirty="0"/>
            <a:t> </a:t>
          </a:r>
          <a:r>
            <a:rPr lang="en-US" b="0" i="0" dirty="0" err="1"/>
            <a:t>düzeyleri</a:t>
          </a:r>
          <a:r>
            <a:rPr lang="en-US" b="0" i="0" dirty="0"/>
            <a:t>, </a:t>
          </a:r>
          <a:r>
            <a:rPr lang="en-US" b="0" i="0" dirty="0" err="1"/>
            <a:t>etnik</a:t>
          </a:r>
          <a:r>
            <a:rPr lang="en-US" b="0" i="0" dirty="0"/>
            <a:t> </a:t>
          </a:r>
          <a:r>
            <a:rPr lang="tr-TR" b="0" i="0" dirty="0"/>
            <a:t>veya ırksal </a:t>
          </a:r>
          <a:r>
            <a:rPr lang="en-US" b="0" i="0" dirty="0" err="1"/>
            <a:t>kökenleri</a:t>
          </a:r>
          <a:r>
            <a:rPr lang="en-US" b="0" i="0" dirty="0"/>
            <a:t> ne </a:t>
          </a:r>
          <a:r>
            <a:rPr lang="en-US" b="0" i="0" dirty="0" err="1"/>
            <a:t>olursa</a:t>
          </a:r>
          <a:r>
            <a:rPr lang="en-US" b="0" i="0" dirty="0"/>
            <a:t> </a:t>
          </a:r>
          <a:r>
            <a:rPr lang="en-US" b="0" i="0" dirty="0" err="1"/>
            <a:t>olsun</a:t>
          </a:r>
          <a:r>
            <a:rPr lang="en-US" b="0" i="0" dirty="0"/>
            <a:t>, </a:t>
          </a:r>
          <a:r>
            <a:rPr lang="en-US" b="0" i="0" dirty="0" err="1"/>
            <a:t>herkesin</a:t>
          </a:r>
          <a:r>
            <a:rPr lang="en-US" b="0" i="0" dirty="0"/>
            <a:t> </a:t>
          </a:r>
          <a:r>
            <a:rPr lang="en-US" b="0" i="0" dirty="0" err="1"/>
            <a:t>güvenli</a:t>
          </a:r>
          <a:r>
            <a:rPr lang="en-US" b="0" i="0" dirty="0"/>
            <a:t>, </a:t>
          </a:r>
          <a:r>
            <a:rPr lang="en-US" b="0" i="0" dirty="0" err="1"/>
            <a:t>uygun</a:t>
          </a:r>
          <a:r>
            <a:rPr lang="en-US" b="0" i="0" dirty="0"/>
            <a:t> </a:t>
          </a:r>
          <a:r>
            <a:rPr lang="en-US" b="0" i="0" dirty="0" err="1"/>
            <a:t>fiyatlı</a:t>
          </a:r>
          <a:r>
            <a:rPr lang="en-US" b="0" i="0" dirty="0"/>
            <a:t> </a:t>
          </a:r>
          <a:r>
            <a:rPr lang="en-US" b="0" i="0" dirty="0" err="1"/>
            <a:t>ve</a:t>
          </a:r>
          <a:r>
            <a:rPr lang="en-US" b="0" i="0" dirty="0"/>
            <a:t> </a:t>
          </a:r>
          <a:r>
            <a:rPr lang="en-US" b="0" i="0" dirty="0" err="1"/>
            <a:t>rahat</a:t>
          </a:r>
          <a:r>
            <a:rPr lang="en-US" b="0" i="0" dirty="0"/>
            <a:t> </a:t>
          </a:r>
          <a:r>
            <a:rPr lang="en-US" b="0" i="0" dirty="0" err="1"/>
            <a:t>ulaşım</a:t>
          </a:r>
          <a:r>
            <a:rPr lang="en-US" b="0" i="0" dirty="0"/>
            <a:t> </a:t>
          </a:r>
          <a:r>
            <a:rPr lang="en-US" b="0" i="0" dirty="0" err="1"/>
            <a:t>seçeneklerine</a:t>
          </a:r>
          <a:r>
            <a:rPr lang="en-US" b="0" i="0" dirty="0"/>
            <a:t> </a:t>
          </a:r>
          <a:r>
            <a:rPr lang="en-US" b="0" i="0" dirty="0" err="1"/>
            <a:t>erişimini</a:t>
          </a:r>
          <a:r>
            <a:rPr lang="en-US" b="0" i="0" dirty="0"/>
            <a:t> </a:t>
          </a:r>
          <a:r>
            <a:rPr lang="en-US" b="0" i="0" dirty="0" err="1"/>
            <a:t>garanti</a:t>
          </a:r>
          <a:r>
            <a:rPr lang="en-US" b="0" i="0" dirty="0"/>
            <a:t> </a:t>
          </a:r>
          <a:r>
            <a:rPr lang="en-US" b="0" i="0" dirty="0" err="1"/>
            <a:t>etmeli</a:t>
          </a:r>
          <a:r>
            <a:rPr lang="tr-TR" b="0" i="0" dirty="0"/>
            <a:t>dir.</a:t>
          </a:r>
          <a:endParaRPr dirty="0"/>
        </a:p>
      </dgm:t>
    </dgm:pt>
    <dgm:pt modelId="{EE9752DC-C0E7-46A6-85C2-74DAAFFFD496}" type="parTrans" cxnId="{B4A1BF95-CD0B-4E9C-8ABB-4F6A8B2AC765}">
      <dgm:prSet/>
      <dgm:spPr/>
      <dgm:t>
        <a:bodyPr/>
        <a:lstStyle/>
        <a:p>
          <a:endParaRPr lang="en-US"/>
        </a:p>
      </dgm:t>
    </dgm:pt>
    <dgm:pt modelId="{D3F850D4-13B5-45DE-8BD6-028351D0145B}" type="sibTrans" cxnId="{B4A1BF95-CD0B-4E9C-8ABB-4F6A8B2AC765}">
      <dgm:prSet/>
      <dgm:spPr/>
      <dgm:t>
        <a:bodyPr/>
        <a:lstStyle/>
        <a:p>
          <a:endParaRPr lang="en-US"/>
        </a:p>
      </dgm:t>
    </dgm:pt>
    <dgm:pt modelId="{F66454EC-E019-4D92-9D9B-96E69A177D7B}">
      <dgm:prSet/>
      <dgm:spPr/>
      <dgm:t>
        <a:bodyPr/>
        <a:lstStyle/>
        <a:p>
          <a:r>
            <a:rPr lang="en-US" b="0" i="0" dirty="0" err="1"/>
            <a:t>İşbirliği</a:t>
          </a:r>
          <a:r>
            <a:rPr lang="en-US" b="0" i="0" dirty="0"/>
            <a:t>: Ulaşım </a:t>
          </a:r>
          <a:r>
            <a:rPr lang="en-US" b="0" i="0" dirty="0" err="1"/>
            <a:t>planlamasının</a:t>
          </a:r>
          <a:r>
            <a:rPr lang="en-US" b="0" i="0" dirty="0"/>
            <a:t>, </a:t>
          </a:r>
          <a:r>
            <a:rPr lang="en-US" b="0" i="0" dirty="0" err="1"/>
            <a:t>devlet</a:t>
          </a:r>
          <a:r>
            <a:rPr lang="en-US" b="0" i="0" dirty="0"/>
            <a:t> </a:t>
          </a:r>
          <a:r>
            <a:rPr lang="en-US" b="0" i="0" dirty="0" err="1"/>
            <a:t>kurumları</a:t>
          </a:r>
          <a:r>
            <a:rPr lang="en-US" b="0" i="0" dirty="0"/>
            <a:t>, </a:t>
          </a:r>
          <a:r>
            <a:rPr lang="en-US" b="0" i="0" dirty="0" err="1"/>
            <a:t>ulaşım</a:t>
          </a:r>
          <a:r>
            <a:rPr lang="en-US" b="0" i="0" dirty="0"/>
            <a:t> </a:t>
          </a:r>
          <a:r>
            <a:rPr lang="en-US" b="0" i="0" dirty="0" err="1"/>
            <a:t>sağlayıcıları</a:t>
          </a:r>
          <a:r>
            <a:rPr lang="en-US" b="0" i="0" dirty="0"/>
            <a:t>, </a:t>
          </a:r>
          <a:r>
            <a:rPr lang="en-US" b="0" i="0" dirty="0" err="1"/>
            <a:t>topluluk</a:t>
          </a:r>
          <a:r>
            <a:rPr lang="en-US" b="0" i="0" dirty="0"/>
            <a:t> </a:t>
          </a:r>
          <a:r>
            <a:rPr lang="en-US" b="0" i="0" dirty="0" err="1"/>
            <a:t>grupları</a:t>
          </a:r>
          <a:r>
            <a:rPr lang="en-US" b="0" i="0" dirty="0"/>
            <a:t> </a:t>
          </a:r>
          <a:r>
            <a:rPr lang="en-US" b="0" i="0" dirty="0" err="1"/>
            <a:t>ve</a:t>
          </a:r>
          <a:r>
            <a:rPr lang="en-US" b="0" i="0" dirty="0"/>
            <a:t> </a:t>
          </a:r>
          <a:r>
            <a:rPr lang="en-US" b="0" i="0" dirty="0" err="1"/>
            <a:t>bireysel</a:t>
          </a:r>
          <a:r>
            <a:rPr lang="en-US" b="0" i="0" dirty="0"/>
            <a:t> </a:t>
          </a:r>
          <a:r>
            <a:rPr lang="en-US" b="0" i="0" dirty="0" err="1"/>
            <a:t>kullanıcılar</a:t>
          </a:r>
          <a:r>
            <a:rPr lang="en-US" b="0" i="0" dirty="0"/>
            <a:t> </a:t>
          </a:r>
          <a:r>
            <a:rPr lang="en-US" b="0" i="0" dirty="0" err="1"/>
            <a:t>gibi</a:t>
          </a:r>
          <a:r>
            <a:rPr lang="en-US" b="0" i="0" dirty="0"/>
            <a:t> </a:t>
          </a:r>
          <a:r>
            <a:rPr lang="en-US" b="0" i="0" dirty="0" err="1"/>
            <a:t>çeşitli</a:t>
          </a:r>
          <a:r>
            <a:rPr lang="en-US" b="0" i="0" dirty="0"/>
            <a:t> </a:t>
          </a:r>
          <a:r>
            <a:rPr lang="en-US" b="0" i="0" dirty="0" err="1"/>
            <a:t>paydaşların</a:t>
          </a:r>
          <a:r>
            <a:rPr lang="en-US" b="0" i="0" dirty="0"/>
            <a:t> </a:t>
          </a:r>
          <a:r>
            <a:rPr lang="en-US" b="0" i="0" dirty="0" err="1"/>
            <a:t>katılımını</a:t>
          </a:r>
          <a:r>
            <a:rPr lang="en-US" b="0" i="0" dirty="0"/>
            <a:t> </a:t>
          </a:r>
          <a:r>
            <a:rPr lang="en-US" b="0" i="0" dirty="0" err="1"/>
            <a:t>ve</a:t>
          </a:r>
          <a:r>
            <a:rPr lang="en-US" b="0" i="0" dirty="0"/>
            <a:t> </a:t>
          </a:r>
          <a:r>
            <a:rPr lang="en-US" b="0" i="0" dirty="0" err="1"/>
            <a:t>görüşlerini</a:t>
          </a:r>
          <a:r>
            <a:rPr lang="en-US" b="0" i="0" dirty="0"/>
            <a:t> </a:t>
          </a:r>
          <a:r>
            <a:rPr lang="en-US" b="0" i="0" dirty="0" err="1"/>
            <a:t>içeren</a:t>
          </a:r>
          <a:r>
            <a:rPr lang="en-US" b="0" i="0" dirty="0"/>
            <a:t> </a:t>
          </a:r>
          <a:r>
            <a:rPr lang="en-US" b="0" i="0" dirty="0" err="1"/>
            <a:t>bir</a:t>
          </a:r>
          <a:r>
            <a:rPr lang="en-US" b="0" i="0" dirty="0"/>
            <a:t> </a:t>
          </a:r>
          <a:r>
            <a:rPr lang="en-US" b="0" i="0" dirty="0" err="1"/>
            <a:t>işbirliği</a:t>
          </a:r>
          <a:r>
            <a:rPr lang="en-US" b="0" i="0" dirty="0"/>
            <a:t> </a:t>
          </a:r>
          <a:r>
            <a:rPr lang="en-US" b="0" i="0" dirty="0" err="1"/>
            <a:t>süreci</a:t>
          </a:r>
          <a:r>
            <a:rPr lang="en-US" b="0" i="0" dirty="0"/>
            <a:t> </a:t>
          </a:r>
          <a:r>
            <a:rPr lang="en-US" b="0" i="0" dirty="0" err="1"/>
            <a:t>olması</a:t>
          </a:r>
          <a:r>
            <a:rPr lang="en-US" b="0" i="0" dirty="0"/>
            <a:t> </a:t>
          </a:r>
          <a:r>
            <a:rPr lang="en-US" b="0" i="0" dirty="0" err="1"/>
            <a:t>gerekmektedir</a:t>
          </a:r>
          <a:r>
            <a:rPr lang="en-US" b="0" i="0" dirty="0"/>
            <a:t>.</a:t>
          </a:r>
          <a:endParaRPr dirty="0"/>
        </a:p>
      </dgm:t>
    </dgm:pt>
    <dgm:pt modelId="{4CF0C190-A606-4241-B830-DCDF9D2E3724}" type="parTrans" cxnId="{D4A541CA-FD33-46C6-8CF1-021ADC51C34A}">
      <dgm:prSet/>
      <dgm:spPr/>
      <dgm:t>
        <a:bodyPr/>
        <a:lstStyle/>
        <a:p>
          <a:endParaRPr lang="en-US"/>
        </a:p>
      </dgm:t>
    </dgm:pt>
    <dgm:pt modelId="{DD8BC811-5847-4BDD-81E6-B94FEEADEFF8}" type="sibTrans" cxnId="{D4A541CA-FD33-46C6-8CF1-021ADC51C34A}">
      <dgm:prSet/>
      <dgm:spPr/>
      <dgm:t>
        <a:bodyPr/>
        <a:lstStyle/>
        <a:p>
          <a:endParaRPr lang="en-US"/>
        </a:p>
      </dgm:t>
    </dgm:pt>
    <dgm:pt modelId="{6693AF86-A2F5-4B38-8D52-C0EE7ED2278A}" type="pres">
      <dgm:prSet presAssocID="{17EDCC51-2698-4CFB-9F7F-2EEE6292768F}" presName="Name0" presStyleCnt="0">
        <dgm:presLayoutVars>
          <dgm:dir/>
          <dgm:resizeHandles val="exact"/>
        </dgm:presLayoutVars>
      </dgm:prSet>
      <dgm:spPr/>
    </dgm:pt>
    <dgm:pt modelId="{5C46FF1D-EC40-46C1-B457-EC20E7144C1D}" type="pres">
      <dgm:prSet presAssocID="{17EDCC51-2698-4CFB-9F7F-2EEE6292768F}" presName="arrow" presStyleLbl="bgShp" presStyleIdx="0" presStyleCnt="1"/>
      <dgm:spPr/>
    </dgm:pt>
    <dgm:pt modelId="{CFA0BCAE-02F6-404B-A698-D68262CF4C4B}" type="pres">
      <dgm:prSet presAssocID="{17EDCC51-2698-4CFB-9F7F-2EEE6292768F}" presName="points" presStyleCnt="0"/>
      <dgm:spPr/>
    </dgm:pt>
    <dgm:pt modelId="{1799BF59-EF08-4768-830C-340A7D7387D9}" type="pres">
      <dgm:prSet presAssocID="{07F847EC-D4D5-4D0E-92C0-B7BA89BF941B}" presName="compositeA" presStyleCnt="0"/>
      <dgm:spPr/>
    </dgm:pt>
    <dgm:pt modelId="{F114AD08-3786-4D7C-9097-3D3C06803E3F}" type="pres">
      <dgm:prSet presAssocID="{07F847EC-D4D5-4D0E-92C0-B7BA89BF941B}" presName="textA" presStyleLbl="revTx" presStyleIdx="0" presStyleCnt="7">
        <dgm:presLayoutVars>
          <dgm:bulletEnabled val="1"/>
        </dgm:presLayoutVars>
      </dgm:prSet>
      <dgm:spPr/>
    </dgm:pt>
    <dgm:pt modelId="{F891E241-B84F-435C-A2F6-450B0E0DEA61}" type="pres">
      <dgm:prSet presAssocID="{07F847EC-D4D5-4D0E-92C0-B7BA89BF941B}" presName="circleA" presStyleLbl="node1" presStyleIdx="0" presStyleCnt="7"/>
      <dgm:spPr/>
    </dgm:pt>
    <dgm:pt modelId="{B1B52033-5BB9-4165-8B73-35DF0E51213F}" type="pres">
      <dgm:prSet presAssocID="{07F847EC-D4D5-4D0E-92C0-B7BA89BF941B}" presName="spaceA" presStyleCnt="0"/>
      <dgm:spPr/>
    </dgm:pt>
    <dgm:pt modelId="{DC6097B0-B64D-4EB7-A054-E858B72410ED}" type="pres">
      <dgm:prSet presAssocID="{D7496442-6A24-4C81-AF10-D4C232DAAD7B}" presName="space" presStyleCnt="0"/>
      <dgm:spPr/>
    </dgm:pt>
    <dgm:pt modelId="{5496F2B7-E268-4B16-A906-613A186E5367}" type="pres">
      <dgm:prSet presAssocID="{F965C586-D336-4D06-9E87-D9184CAC3DC9}" presName="compositeB" presStyleCnt="0"/>
      <dgm:spPr/>
    </dgm:pt>
    <dgm:pt modelId="{14C6CCFF-A2CE-4847-969D-AB7F6E6F104B}" type="pres">
      <dgm:prSet presAssocID="{F965C586-D336-4D06-9E87-D9184CAC3DC9}" presName="textB" presStyleLbl="revTx" presStyleIdx="1" presStyleCnt="7" custScaleX="123991">
        <dgm:presLayoutVars>
          <dgm:bulletEnabled val="1"/>
        </dgm:presLayoutVars>
      </dgm:prSet>
      <dgm:spPr/>
    </dgm:pt>
    <dgm:pt modelId="{43F1D2FE-359E-48AA-9334-A2DB2AD8E5FB}" type="pres">
      <dgm:prSet presAssocID="{F965C586-D336-4D06-9E87-D9184CAC3DC9}" presName="circleB" presStyleLbl="node1" presStyleIdx="1" presStyleCnt="7"/>
      <dgm:spPr/>
    </dgm:pt>
    <dgm:pt modelId="{459BA19B-75C9-4DDB-879B-7B061C9A2EE0}" type="pres">
      <dgm:prSet presAssocID="{F965C586-D336-4D06-9E87-D9184CAC3DC9}" presName="spaceB" presStyleCnt="0"/>
      <dgm:spPr/>
    </dgm:pt>
    <dgm:pt modelId="{6CD97AD2-8685-4EEB-A871-89776A23C16C}" type="pres">
      <dgm:prSet presAssocID="{9A534602-B70B-460D-A65C-88DAFBDCEF5A}" presName="space" presStyleCnt="0"/>
      <dgm:spPr/>
    </dgm:pt>
    <dgm:pt modelId="{077514C8-3348-471F-92EA-9A5A852412D7}" type="pres">
      <dgm:prSet presAssocID="{03591852-68A5-44EA-8266-A0CEC0E5B7F3}" presName="compositeA" presStyleCnt="0"/>
      <dgm:spPr/>
    </dgm:pt>
    <dgm:pt modelId="{04968850-1990-4BCD-843A-57C063554EB2}" type="pres">
      <dgm:prSet presAssocID="{03591852-68A5-44EA-8266-A0CEC0E5B7F3}" presName="textA" presStyleLbl="revTx" presStyleIdx="2" presStyleCnt="7">
        <dgm:presLayoutVars>
          <dgm:bulletEnabled val="1"/>
        </dgm:presLayoutVars>
      </dgm:prSet>
      <dgm:spPr/>
    </dgm:pt>
    <dgm:pt modelId="{CCFCBD29-6CB0-4D80-8588-0D1A0ABBACB7}" type="pres">
      <dgm:prSet presAssocID="{03591852-68A5-44EA-8266-A0CEC0E5B7F3}" presName="circleA" presStyleLbl="node1" presStyleIdx="2" presStyleCnt="7"/>
      <dgm:spPr/>
    </dgm:pt>
    <dgm:pt modelId="{2BE51A24-6AC8-4694-BEC6-80507045E4B1}" type="pres">
      <dgm:prSet presAssocID="{03591852-68A5-44EA-8266-A0CEC0E5B7F3}" presName="spaceA" presStyleCnt="0"/>
      <dgm:spPr/>
    </dgm:pt>
    <dgm:pt modelId="{6379A385-4AE5-476F-AA5D-2D2A847D7553}" type="pres">
      <dgm:prSet presAssocID="{0C52E1CD-ECFF-4647-B114-7C437716584C}" presName="space" presStyleCnt="0"/>
      <dgm:spPr/>
    </dgm:pt>
    <dgm:pt modelId="{335D1032-F2DB-409A-AEB1-C872826EAE62}" type="pres">
      <dgm:prSet presAssocID="{E6578D47-7971-4A9A-BF46-3C0B43AF307A}" presName="compositeB" presStyleCnt="0"/>
      <dgm:spPr/>
    </dgm:pt>
    <dgm:pt modelId="{DAF1B57A-527E-4D0E-AA59-B8161F029E7F}" type="pres">
      <dgm:prSet presAssocID="{E6578D47-7971-4A9A-BF46-3C0B43AF307A}" presName="textB" presStyleLbl="revTx" presStyleIdx="3" presStyleCnt="7">
        <dgm:presLayoutVars>
          <dgm:bulletEnabled val="1"/>
        </dgm:presLayoutVars>
      </dgm:prSet>
      <dgm:spPr/>
    </dgm:pt>
    <dgm:pt modelId="{1D7F8AD3-858B-41BA-A39B-CD72D3D6E3C3}" type="pres">
      <dgm:prSet presAssocID="{E6578D47-7971-4A9A-BF46-3C0B43AF307A}" presName="circleB" presStyleLbl="node1" presStyleIdx="3" presStyleCnt="7"/>
      <dgm:spPr/>
    </dgm:pt>
    <dgm:pt modelId="{606B1628-9E5B-4838-A022-0B4F8C34864D}" type="pres">
      <dgm:prSet presAssocID="{E6578D47-7971-4A9A-BF46-3C0B43AF307A}" presName="spaceB" presStyleCnt="0"/>
      <dgm:spPr/>
    </dgm:pt>
    <dgm:pt modelId="{761CBA5C-0BF0-48DD-B929-B4EA134C250B}" type="pres">
      <dgm:prSet presAssocID="{27302F11-73FC-4B13-AACC-09ADA2949B3D}" presName="space" presStyleCnt="0"/>
      <dgm:spPr/>
    </dgm:pt>
    <dgm:pt modelId="{78D2BC26-A628-4BBB-8C05-AA197A07919C}" type="pres">
      <dgm:prSet presAssocID="{3FAC011A-EBCA-4D53-8A99-E85645948FC8}" presName="compositeA" presStyleCnt="0"/>
      <dgm:spPr/>
    </dgm:pt>
    <dgm:pt modelId="{F475755C-E3E3-4F0B-89E0-9996AE162C46}" type="pres">
      <dgm:prSet presAssocID="{3FAC011A-EBCA-4D53-8A99-E85645948FC8}" presName="textA" presStyleLbl="revTx" presStyleIdx="4" presStyleCnt="7">
        <dgm:presLayoutVars>
          <dgm:bulletEnabled val="1"/>
        </dgm:presLayoutVars>
      </dgm:prSet>
      <dgm:spPr/>
    </dgm:pt>
    <dgm:pt modelId="{2BC62BA7-567A-484B-B8E6-21FA97F9414B}" type="pres">
      <dgm:prSet presAssocID="{3FAC011A-EBCA-4D53-8A99-E85645948FC8}" presName="circleA" presStyleLbl="node1" presStyleIdx="4" presStyleCnt="7"/>
      <dgm:spPr/>
    </dgm:pt>
    <dgm:pt modelId="{7012E558-51D7-4925-A02E-31C3DE6C0B2C}" type="pres">
      <dgm:prSet presAssocID="{3FAC011A-EBCA-4D53-8A99-E85645948FC8}" presName="spaceA" presStyleCnt="0"/>
      <dgm:spPr/>
    </dgm:pt>
    <dgm:pt modelId="{35555C83-8A99-4615-BB4D-1BD266127C41}" type="pres">
      <dgm:prSet presAssocID="{024432B0-F335-44D5-91A0-E795B4C98968}" presName="space" presStyleCnt="0"/>
      <dgm:spPr/>
    </dgm:pt>
    <dgm:pt modelId="{9BAFCE61-DE4D-458B-B622-CCB00B1D5E66}" type="pres">
      <dgm:prSet presAssocID="{4EC0584B-1DE7-4951-8B90-695E730A75FC}" presName="compositeB" presStyleCnt="0"/>
      <dgm:spPr/>
    </dgm:pt>
    <dgm:pt modelId="{B4865FF7-FF34-40E1-A3F3-EBC15EF84694}" type="pres">
      <dgm:prSet presAssocID="{4EC0584B-1DE7-4951-8B90-695E730A75FC}" presName="textB" presStyleLbl="revTx" presStyleIdx="5" presStyleCnt="7">
        <dgm:presLayoutVars>
          <dgm:bulletEnabled val="1"/>
        </dgm:presLayoutVars>
      </dgm:prSet>
      <dgm:spPr/>
    </dgm:pt>
    <dgm:pt modelId="{8FBEE752-7C08-4616-A3EF-614FA1520EFD}" type="pres">
      <dgm:prSet presAssocID="{4EC0584B-1DE7-4951-8B90-695E730A75FC}" presName="circleB" presStyleLbl="node1" presStyleIdx="5" presStyleCnt="7"/>
      <dgm:spPr/>
    </dgm:pt>
    <dgm:pt modelId="{5FD9E268-AEF8-4EB7-AB8B-DC14DD58AFFB}" type="pres">
      <dgm:prSet presAssocID="{4EC0584B-1DE7-4951-8B90-695E730A75FC}" presName="spaceB" presStyleCnt="0"/>
      <dgm:spPr/>
    </dgm:pt>
    <dgm:pt modelId="{63BFAA6C-E20F-4B86-A305-B5A65DC26942}" type="pres">
      <dgm:prSet presAssocID="{D3F850D4-13B5-45DE-8BD6-028351D0145B}" presName="space" presStyleCnt="0"/>
      <dgm:spPr/>
    </dgm:pt>
    <dgm:pt modelId="{9588F90B-AD2D-400C-96CD-C4667B423A2C}" type="pres">
      <dgm:prSet presAssocID="{F66454EC-E019-4D92-9D9B-96E69A177D7B}" presName="compositeA" presStyleCnt="0"/>
      <dgm:spPr/>
    </dgm:pt>
    <dgm:pt modelId="{278A6F56-3EE4-4732-BDC6-352C95E69607}" type="pres">
      <dgm:prSet presAssocID="{F66454EC-E019-4D92-9D9B-96E69A177D7B}" presName="textA" presStyleLbl="revTx" presStyleIdx="6" presStyleCnt="7">
        <dgm:presLayoutVars>
          <dgm:bulletEnabled val="1"/>
        </dgm:presLayoutVars>
      </dgm:prSet>
      <dgm:spPr/>
    </dgm:pt>
    <dgm:pt modelId="{3504F73E-CA46-427D-BFA0-C01552FCF09B}" type="pres">
      <dgm:prSet presAssocID="{F66454EC-E019-4D92-9D9B-96E69A177D7B}" presName="circleA" presStyleLbl="node1" presStyleIdx="6" presStyleCnt="7"/>
      <dgm:spPr/>
    </dgm:pt>
    <dgm:pt modelId="{AEEBCBC8-AF47-46AA-86E1-9C542BB8562F}" type="pres">
      <dgm:prSet presAssocID="{F66454EC-E019-4D92-9D9B-96E69A177D7B}" presName="spaceA" presStyleCnt="0"/>
      <dgm:spPr/>
    </dgm:pt>
  </dgm:ptLst>
  <dgm:cxnLst>
    <dgm:cxn modelId="{5FDF1A02-95C8-4A06-A8BC-796A35B1A362}" srcId="{17EDCC51-2698-4CFB-9F7F-2EEE6292768F}" destId="{3FAC011A-EBCA-4D53-8A99-E85645948FC8}" srcOrd="4" destOrd="0" parTransId="{AC24D919-D6AF-4D96-8982-A5F57F8637C7}" sibTransId="{024432B0-F335-44D5-91A0-E795B4C98968}"/>
    <dgm:cxn modelId="{EE65931D-BD68-4F54-8F53-5091C3469851}" srcId="{17EDCC51-2698-4CFB-9F7F-2EEE6292768F}" destId="{E6578D47-7971-4A9A-BF46-3C0B43AF307A}" srcOrd="3" destOrd="0" parTransId="{5211BE37-81D1-428E-BD75-F0FCB6F458B5}" sibTransId="{27302F11-73FC-4B13-AACC-09ADA2949B3D}"/>
    <dgm:cxn modelId="{E2129E29-FAB5-4635-8990-1A9D499E6B87}" type="presOf" srcId="{3FAC011A-EBCA-4D53-8A99-E85645948FC8}" destId="{F475755C-E3E3-4F0B-89E0-9996AE162C46}" srcOrd="0" destOrd="0" presId="urn:microsoft.com/office/officeart/2005/8/layout/hProcess11"/>
    <dgm:cxn modelId="{DACF1642-B9AC-4C25-97FF-28DACBF67558}" type="presOf" srcId="{F66454EC-E019-4D92-9D9B-96E69A177D7B}" destId="{278A6F56-3EE4-4732-BDC6-352C95E69607}" srcOrd="0" destOrd="0" presId="urn:microsoft.com/office/officeart/2005/8/layout/hProcess11"/>
    <dgm:cxn modelId="{B8FD2949-33B8-4315-A0BB-E9C71E757EBC}" srcId="{17EDCC51-2698-4CFB-9F7F-2EEE6292768F}" destId="{F965C586-D336-4D06-9E87-D9184CAC3DC9}" srcOrd="1" destOrd="0" parTransId="{7F9F7C3B-FC96-4A11-B689-B6BB6339A231}" sibTransId="{9A534602-B70B-460D-A65C-88DAFBDCEF5A}"/>
    <dgm:cxn modelId="{A5B6D66E-2BD3-4440-BB0D-2BAF5B641823}" type="presOf" srcId="{07F847EC-D4D5-4D0E-92C0-B7BA89BF941B}" destId="{F114AD08-3786-4D7C-9097-3D3C06803E3F}" srcOrd="0" destOrd="0" presId="urn:microsoft.com/office/officeart/2005/8/layout/hProcess11"/>
    <dgm:cxn modelId="{8D646D82-39D9-49FC-B8E1-98004718B69E}" type="presOf" srcId="{4EC0584B-1DE7-4951-8B90-695E730A75FC}" destId="{B4865FF7-FF34-40E1-A3F3-EBC15EF84694}" srcOrd="0" destOrd="0" presId="urn:microsoft.com/office/officeart/2005/8/layout/hProcess11"/>
    <dgm:cxn modelId="{015FE488-FBBA-47A4-8718-60693D28E1A7}" type="presOf" srcId="{E6578D47-7971-4A9A-BF46-3C0B43AF307A}" destId="{DAF1B57A-527E-4D0E-AA59-B8161F029E7F}" srcOrd="0" destOrd="0" presId="urn:microsoft.com/office/officeart/2005/8/layout/hProcess11"/>
    <dgm:cxn modelId="{F7AC4F94-B895-4484-B2C1-8E0DB6AEE967}" type="presOf" srcId="{17EDCC51-2698-4CFB-9F7F-2EEE6292768F}" destId="{6693AF86-A2F5-4B38-8D52-C0EE7ED2278A}" srcOrd="0" destOrd="0" presId="urn:microsoft.com/office/officeart/2005/8/layout/hProcess11"/>
    <dgm:cxn modelId="{B4A1BF95-CD0B-4E9C-8ABB-4F6A8B2AC765}" srcId="{17EDCC51-2698-4CFB-9F7F-2EEE6292768F}" destId="{4EC0584B-1DE7-4951-8B90-695E730A75FC}" srcOrd="5" destOrd="0" parTransId="{EE9752DC-C0E7-46A6-85C2-74DAAFFFD496}" sibTransId="{D3F850D4-13B5-45DE-8BD6-028351D0145B}"/>
    <dgm:cxn modelId="{D426D09B-10FC-45B3-A5AA-78643E1ABDD2}" type="presOf" srcId="{F965C586-D336-4D06-9E87-D9184CAC3DC9}" destId="{14C6CCFF-A2CE-4847-969D-AB7F6E6F104B}" srcOrd="0" destOrd="0" presId="urn:microsoft.com/office/officeart/2005/8/layout/hProcess11"/>
    <dgm:cxn modelId="{D4A541CA-FD33-46C6-8CF1-021ADC51C34A}" srcId="{17EDCC51-2698-4CFB-9F7F-2EEE6292768F}" destId="{F66454EC-E019-4D92-9D9B-96E69A177D7B}" srcOrd="6" destOrd="0" parTransId="{4CF0C190-A606-4241-B830-DCDF9D2E3724}" sibTransId="{DD8BC811-5847-4BDD-81E6-B94FEEADEFF8}"/>
    <dgm:cxn modelId="{AAFD9FE0-6BF5-4999-AF9C-8DA87234559E}" srcId="{17EDCC51-2698-4CFB-9F7F-2EEE6292768F}" destId="{03591852-68A5-44EA-8266-A0CEC0E5B7F3}" srcOrd="2" destOrd="0" parTransId="{92626F86-9D7E-4F80-ADA7-52BAEB76800B}" sibTransId="{0C52E1CD-ECFF-4647-B114-7C437716584C}"/>
    <dgm:cxn modelId="{AF540BE5-CE54-4675-98B6-A8A63136CDF2}" srcId="{17EDCC51-2698-4CFB-9F7F-2EEE6292768F}" destId="{07F847EC-D4D5-4D0E-92C0-B7BA89BF941B}" srcOrd="0" destOrd="0" parTransId="{784621AD-3155-4A17-BEEB-7B7442761A1C}" sibTransId="{D7496442-6A24-4C81-AF10-D4C232DAAD7B}"/>
    <dgm:cxn modelId="{185A02F4-87C8-4826-BE18-FB2EAAD6F8F6}" type="presOf" srcId="{03591852-68A5-44EA-8266-A0CEC0E5B7F3}" destId="{04968850-1990-4BCD-843A-57C063554EB2}" srcOrd="0" destOrd="0" presId="urn:microsoft.com/office/officeart/2005/8/layout/hProcess11"/>
    <dgm:cxn modelId="{429B0737-74A6-498A-8E53-C7D619CB79EC}" type="presParOf" srcId="{6693AF86-A2F5-4B38-8D52-C0EE7ED2278A}" destId="{5C46FF1D-EC40-46C1-B457-EC20E7144C1D}" srcOrd="0" destOrd="0" presId="urn:microsoft.com/office/officeart/2005/8/layout/hProcess11"/>
    <dgm:cxn modelId="{B40AD1A9-B8A2-43CC-AECA-4C5061668D08}" type="presParOf" srcId="{6693AF86-A2F5-4B38-8D52-C0EE7ED2278A}" destId="{CFA0BCAE-02F6-404B-A698-D68262CF4C4B}" srcOrd="1" destOrd="0" presId="urn:microsoft.com/office/officeart/2005/8/layout/hProcess11"/>
    <dgm:cxn modelId="{ACC54FF7-D813-445F-AE13-56135D462E52}" type="presParOf" srcId="{CFA0BCAE-02F6-404B-A698-D68262CF4C4B}" destId="{1799BF59-EF08-4768-830C-340A7D7387D9}" srcOrd="0" destOrd="0" presId="urn:microsoft.com/office/officeart/2005/8/layout/hProcess11"/>
    <dgm:cxn modelId="{AF0CF43D-C436-4104-8229-0A4F6A9F1C41}" type="presParOf" srcId="{1799BF59-EF08-4768-830C-340A7D7387D9}" destId="{F114AD08-3786-4D7C-9097-3D3C06803E3F}" srcOrd="0" destOrd="0" presId="urn:microsoft.com/office/officeart/2005/8/layout/hProcess11"/>
    <dgm:cxn modelId="{5EC3BBC1-BAA6-4335-B7B3-3B43BE291FD8}" type="presParOf" srcId="{1799BF59-EF08-4768-830C-340A7D7387D9}" destId="{F891E241-B84F-435C-A2F6-450B0E0DEA61}" srcOrd="1" destOrd="0" presId="urn:microsoft.com/office/officeart/2005/8/layout/hProcess11"/>
    <dgm:cxn modelId="{9FA1D166-9FF0-4174-9B26-C0CC28952201}" type="presParOf" srcId="{1799BF59-EF08-4768-830C-340A7D7387D9}" destId="{B1B52033-5BB9-4165-8B73-35DF0E51213F}" srcOrd="2" destOrd="0" presId="urn:microsoft.com/office/officeart/2005/8/layout/hProcess11"/>
    <dgm:cxn modelId="{63CDAE1E-C934-4F09-97D5-2F85944B9212}" type="presParOf" srcId="{CFA0BCAE-02F6-404B-A698-D68262CF4C4B}" destId="{DC6097B0-B64D-4EB7-A054-E858B72410ED}" srcOrd="1" destOrd="0" presId="urn:microsoft.com/office/officeart/2005/8/layout/hProcess11"/>
    <dgm:cxn modelId="{F15FA87C-8C44-4A61-85D9-3A67631A0562}" type="presParOf" srcId="{CFA0BCAE-02F6-404B-A698-D68262CF4C4B}" destId="{5496F2B7-E268-4B16-A906-613A186E5367}" srcOrd="2" destOrd="0" presId="urn:microsoft.com/office/officeart/2005/8/layout/hProcess11"/>
    <dgm:cxn modelId="{A3E7610D-D585-4FE6-B5AF-9FC7538FCE67}" type="presParOf" srcId="{5496F2B7-E268-4B16-A906-613A186E5367}" destId="{14C6CCFF-A2CE-4847-969D-AB7F6E6F104B}" srcOrd="0" destOrd="0" presId="urn:microsoft.com/office/officeart/2005/8/layout/hProcess11"/>
    <dgm:cxn modelId="{CADC02CD-A820-4F57-A2DA-42B37C8129B7}" type="presParOf" srcId="{5496F2B7-E268-4B16-A906-613A186E5367}" destId="{43F1D2FE-359E-48AA-9334-A2DB2AD8E5FB}" srcOrd="1" destOrd="0" presId="urn:microsoft.com/office/officeart/2005/8/layout/hProcess11"/>
    <dgm:cxn modelId="{1CB2FF09-D35C-42DE-A0ED-18132E9236D9}" type="presParOf" srcId="{5496F2B7-E268-4B16-A906-613A186E5367}" destId="{459BA19B-75C9-4DDB-879B-7B061C9A2EE0}" srcOrd="2" destOrd="0" presId="urn:microsoft.com/office/officeart/2005/8/layout/hProcess11"/>
    <dgm:cxn modelId="{05076240-6DCF-4AF0-85EF-1DE04669B703}" type="presParOf" srcId="{CFA0BCAE-02F6-404B-A698-D68262CF4C4B}" destId="{6CD97AD2-8685-4EEB-A871-89776A23C16C}" srcOrd="3" destOrd="0" presId="urn:microsoft.com/office/officeart/2005/8/layout/hProcess11"/>
    <dgm:cxn modelId="{06B78CA2-E5AC-4A2C-88FC-F681DF9B94A7}" type="presParOf" srcId="{CFA0BCAE-02F6-404B-A698-D68262CF4C4B}" destId="{077514C8-3348-471F-92EA-9A5A852412D7}" srcOrd="4" destOrd="0" presId="urn:microsoft.com/office/officeart/2005/8/layout/hProcess11"/>
    <dgm:cxn modelId="{3E8576CC-23E2-4B7C-A36C-AC68AF2CE7C5}" type="presParOf" srcId="{077514C8-3348-471F-92EA-9A5A852412D7}" destId="{04968850-1990-4BCD-843A-57C063554EB2}" srcOrd="0" destOrd="0" presId="urn:microsoft.com/office/officeart/2005/8/layout/hProcess11"/>
    <dgm:cxn modelId="{988839D8-FDF1-4162-8203-554594566367}" type="presParOf" srcId="{077514C8-3348-471F-92EA-9A5A852412D7}" destId="{CCFCBD29-6CB0-4D80-8588-0D1A0ABBACB7}" srcOrd="1" destOrd="0" presId="urn:microsoft.com/office/officeart/2005/8/layout/hProcess11"/>
    <dgm:cxn modelId="{E4D01248-9CD4-41F6-A056-636B4B060706}" type="presParOf" srcId="{077514C8-3348-471F-92EA-9A5A852412D7}" destId="{2BE51A24-6AC8-4694-BEC6-80507045E4B1}" srcOrd="2" destOrd="0" presId="urn:microsoft.com/office/officeart/2005/8/layout/hProcess11"/>
    <dgm:cxn modelId="{2574CB7E-137F-481F-B8E6-D76EF5EA3EC4}" type="presParOf" srcId="{CFA0BCAE-02F6-404B-A698-D68262CF4C4B}" destId="{6379A385-4AE5-476F-AA5D-2D2A847D7553}" srcOrd="5" destOrd="0" presId="urn:microsoft.com/office/officeart/2005/8/layout/hProcess11"/>
    <dgm:cxn modelId="{793EB93A-1B20-4D3D-9045-71B8B28FB6FE}" type="presParOf" srcId="{CFA0BCAE-02F6-404B-A698-D68262CF4C4B}" destId="{335D1032-F2DB-409A-AEB1-C872826EAE62}" srcOrd="6" destOrd="0" presId="urn:microsoft.com/office/officeart/2005/8/layout/hProcess11"/>
    <dgm:cxn modelId="{6D61DEC1-753C-4679-8A18-4F7A310E61BD}" type="presParOf" srcId="{335D1032-F2DB-409A-AEB1-C872826EAE62}" destId="{DAF1B57A-527E-4D0E-AA59-B8161F029E7F}" srcOrd="0" destOrd="0" presId="urn:microsoft.com/office/officeart/2005/8/layout/hProcess11"/>
    <dgm:cxn modelId="{101D75C8-DCD2-4EAE-B446-A4DC5D0B2C16}" type="presParOf" srcId="{335D1032-F2DB-409A-AEB1-C872826EAE62}" destId="{1D7F8AD3-858B-41BA-A39B-CD72D3D6E3C3}" srcOrd="1" destOrd="0" presId="urn:microsoft.com/office/officeart/2005/8/layout/hProcess11"/>
    <dgm:cxn modelId="{99707A45-A786-42B8-923B-E282EF72E61A}" type="presParOf" srcId="{335D1032-F2DB-409A-AEB1-C872826EAE62}" destId="{606B1628-9E5B-4838-A022-0B4F8C34864D}" srcOrd="2" destOrd="0" presId="urn:microsoft.com/office/officeart/2005/8/layout/hProcess11"/>
    <dgm:cxn modelId="{A9BF38CC-EDE5-4F18-862D-86AB4E672630}" type="presParOf" srcId="{CFA0BCAE-02F6-404B-A698-D68262CF4C4B}" destId="{761CBA5C-0BF0-48DD-B929-B4EA134C250B}" srcOrd="7" destOrd="0" presId="urn:microsoft.com/office/officeart/2005/8/layout/hProcess11"/>
    <dgm:cxn modelId="{57D39208-F8A9-460E-B1FE-B13D367CDE03}" type="presParOf" srcId="{CFA0BCAE-02F6-404B-A698-D68262CF4C4B}" destId="{78D2BC26-A628-4BBB-8C05-AA197A07919C}" srcOrd="8" destOrd="0" presId="urn:microsoft.com/office/officeart/2005/8/layout/hProcess11"/>
    <dgm:cxn modelId="{1B983164-F82A-43B8-B0EB-7181C4AA12FB}" type="presParOf" srcId="{78D2BC26-A628-4BBB-8C05-AA197A07919C}" destId="{F475755C-E3E3-4F0B-89E0-9996AE162C46}" srcOrd="0" destOrd="0" presId="urn:microsoft.com/office/officeart/2005/8/layout/hProcess11"/>
    <dgm:cxn modelId="{DB077B04-7042-4DD7-A943-3FD0AD0E2CD2}" type="presParOf" srcId="{78D2BC26-A628-4BBB-8C05-AA197A07919C}" destId="{2BC62BA7-567A-484B-B8E6-21FA97F9414B}" srcOrd="1" destOrd="0" presId="urn:microsoft.com/office/officeart/2005/8/layout/hProcess11"/>
    <dgm:cxn modelId="{B61C8522-FC1B-404D-BDEC-C5FD23E5F987}" type="presParOf" srcId="{78D2BC26-A628-4BBB-8C05-AA197A07919C}" destId="{7012E558-51D7-4925-A02E-31C3DE6C0B2C}" srcOrd="2" destOrd="0" presId="urn:microsoft.com/office/officeart/2005/8/layout/hProcess11"/>
    <dgm:cxn modelId="{9FFA313D-EBEA-4596-8BD7-72FBF04A59C0}" type="presParOf" srcId="{CFA0BCAE-02F6-404B-A698-D68262CF4C4B}" destId="{35555C83-8A99-4615-BB4D-1BD266127C41}" srcOrd="9" destOrd="0" presId="urn:microsoft.com/office/officeart/2005/8/layout/hProcess11"/>
    <dgm:cxn modelId="{9C9299A2-D73D-4D75-AEE0-A88AAE9A11C8}" type="presParOf" srcId="{CFA0BCAE-02F6-404B-A698-D68262CF4C4B}" destId="{9BAFCE61-DE4D-458B-B622-CCB00B1D5E66}" srcOrd="10" destOrd="0" presId="urn:microsoft.com/office/officeart/2005/8/layout/hProcess11"/>
    <dgm:cxn modelId="{3A32D0BC-5BA7-4C52-A018-8C5C8EF2FDAD}" type="presParOf" srcId="{9BAFCE61-DE4D-458B-B622-CCB00B1D5E66}" destId="{B4865FF7-FF34-40E1-A3F3-EBC15EF84694}" srcOrd="0" destOrd="0" presId="urn:microsoft.com/office/officeart/2005/8/layout/hProcess11"/>
    <dgm:cxn modelId="{E543A0BF-26FF-48C4-B80D-85959EEF9DCD}" type="presParOf" srcId="{9BAFCE61-DE4D-458B-B622-CCB00B1D5E66}" destId="{8FBEE752-7C08-4616-A3EF-614FA1520EFD}" srcOrd="1" destOrd="0" presId="urn:microsoft.com/office/officeart/2005/8/layout/hProcess11"/>
    <dgm:cxn modelId="{6EB05BED-332E-4BBF-98AC-67A2D929ED50}" type="presParOf" srcId="{9BAFCE61-DE4D-458B-B622-CCB00B1D5E66}" destId="{5FD9E268-AEF8-4EB7-AB8B-DC14DD58AFFB}" srcOrd="2" destOrd="0" presId="urn:microsoft.com/office/officeart/2005/8/layout/hProcess11"/>
    <dgm:cxn modelId="{86A8D603-2DCC-46A6-8C3B-2825773B975D}" type="presParOf" srcId="{CFA0BCAE-02F6-404B-A698-D68262CF4C4B}" destId="{63BFAA6C-E20F-4B86-A305-B5A65DC26942}" srcOrd="11" destOrd="0" presId="urn:microsoft.com/office/officeart/2005/8/layout/hProcess11"/>
    <dgm:cxn modelId="{D095753A-7CAB-424E-B0C8-CAAF1C950324}" type="presParOf" srcId="{CFA0BCAE-02F6-404B-A698-D68262CF4C4B}" destId="{9588F90B-AD2D-400C-96CD-C4667B423A2C}" srcOrd="12" destOrd="0" presId="urn:microsoft.com/office/officeart/2005/8/layout/hProcess11"/>
    <dgm:cxn modelId="{97FF2974-593C-4251-8EC8-93418224155B}" type="presParOf" srcId="{9588F90B-AD2D-400C-96CD-C4667B423A2C}" destId="{278A6F56-3EE4-4732-BDC6-352C95E69607}" srcOrd="0" destOrd="0" presId="urn:microsoft.com/office/officeart/2005/8/layout/hProcess11"/>
    <dgm:cxn modelId="{04EBAF1D-ADB1-4989-9B22-DFD6DCB40B29}" type="presParOf" srcId="{9588F90B-AD2D-400C-96CD-C4667B423A2C}" destId="{3504F73E-CA46-427D-BFA0-C01552FCF09B}" srcOrd="1" destOrd="0" presId="urn:microsoft.com/office/officeart/2005/8/layout/hProcess11"/>
    <dgm:cxn modelId="{C1272E5A-1E9E-44C2-B6C7-99F69601EC88}" type="presParOf" srcId="{9588F90B-AD2D-400C-96CD-C4667B423A2C}" destId="{AEEBCBC8-AF47-46AA-86E1-9C542BB8562F}" srcOrd="2" destOrd="0" presId="urn:microsoft.com/office/officeart/2005/8/layout/hProcess1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5DC63DDC-1446-4524-B013-0B0CDBAF4403}" type="doc">
      <dgm:prSet loTypeId="urn:microsoft.com/office/officeart/2008/layout/LinedList" loCatId="hierarchy" qsTypeId="urn:microsoft.com/office/officeart/2005/8/quickstyle/3d1" qsCatId="3D" csTypeId="urn:microsoft.com/office/officeart/2005/8/colors/colorful2" csCatId="colorful" phldr="1"/>
      <dgm:spPr/>
      <dgm:t>
        <a:bodyPr/>
        <a:lstStyle/>
        <a:p>
          <a:endParaRPr lang="en-US"/>
        </a:p>
      </dgm:t>
    </dgm:pt>
    <dgm:pt modelId="{5256D8CA-B06C-4945-9644-5D61661E169C}">
      <dgm:prSet custT="1"/>
      <dgm:spPr/>
      <dgm:t>
        <a:bodyPr anchor="ctr"/>
        <a:lstStyle/>
        <a:p>
          <a:pPr algn="ctr">
            <a:defRPr sz="2000"/>
          </a:pPr>
          <a:r>
            <a:rPr sz="1800" dirty="0" err="1"/>
            <a:t>Ankara'daki</a:t>
          </a:r>
          <a:r>
            <a:rPr sz="1800" dirty="0"/>
            <a:t> </a:t>
          </a:r>
          <a:r>
            <a:rPr sz="1800" dirty="0" err="1"/>
            <a:t>ulaşım</a:t>
          </a:r>
          <a:r>
            <a:rPr sz="1800" dirty="0"/>
            <a:t> </a:t>
          </a:r>
          <a:r>
            <a:rPr sz="1800" dirty="0" err="1"/>
            <a:t>planlamacıları</a:t>
          </a:r>
          <a:r>
            <a:rPr sz="1800" dirty="0"/>
            <a:t>, </a:t>
          </a:r>
          <a:r>
            <a:rPr sz="1800" dirty="0" err="1"/>
            <a:t>etkili</a:t>
          </a:r>
          <a:r>
            <a:rPr sz="1800" dirty="0"/>
            <a:t> </a:t>
          </a:r>
          <a:r>
            <a:rPr sz="1800" dirty="0" err="1"/>
            <a:t>ulaşım</a:t>
          </a:r>
          <a:r>
            <a:rPr sz="1800" dirty="0"/>
            <a:t> </a:t>
          </a:r>
          <a:r>
            <a:rPr sz="1800" dirty="0" err="1"/>
            <a:t>planları</a:t>
          </a:r>
          <a:r>
            <a:rPr sz="1800" dirty="0"/>
            <a:t> </a:t>
          </a:r>
          <a:r>
            <a:rPr sz="1800" dirty="0" err="1"/>
            <a:t>ve</a:t>
          </a:r>
          <a:r>
            <a:rPr sz="1800" dirty="0"/>
            <a:t> </a:t>
          </a:r>
          <a:r>
            <a:rPr sz="1800" dirty="0" err="1"/>
            <a:t>politikaları</a:t>
          </a:r>
          <a:r>
            <a:rPr sz="1800" dirty="0"/>
            <a:t> </a:t>
          </a:r>
          <a:r>
            <a:rPr sz="1800" dirty="0" err="1"/>
            <a:t>geliştirmek</a:t>
          </a:r>
          <a:r>
            <a:rPr sz="1800" dirty="0"/>
            <a:t> </a:t>
          </a:r>
          <a:r>
            <a:rPr sz="1800" dirty="0" err="1"/>
            <a:t>için</a:t>
          </a:r>
          <a:r>
            <a:rPr sz="1800" dirty="0"/>
            <a:t> </a:t>
          </a:r>
          <a:r>
            <a:rPr sz="1800" dirty="0" err="1"/>
            <a:t>gelecekteki</a:t>
          </a:r>
          <a:r>
            <a:rPr sz="1800" dirty="0"/>
            <a:t> </a:t>
          </a:r>
          <a:r>
            <a:rPr sz="1800" dirty="0" err="1"/>
            <a:t>seyahat</a:t>
          </a:r>
          <a:r>
            <a:rPr sz="1800" dirty="0"/>
            <a:t> </a:t>
          </a:r>
          <a:r>
            <a:rPr sz="1800" dirty="0" err="1"/>
            <a:t>talebini</a:t>
          </a:r>
          <a:r>
            <a:rPr sz="1800" dirty="0"/>
            <a:t> </a:t>
          </a:r>
          <a:r>
            <a:rPr sz="1800" dirty="0" err="1"/>
            <a:t>doğru</a:t>
          </a:r>
          <a:r>
            <a:rPr sz="1800" dirty="0"/>
            <a:t> </a:t>
          </a:r>
          <a:r>
            <a:rPr sz="1800" dirty="0" err="1"/>
            <a:t>bir</a:t>
          </a:r>
          <a:r>
            <a:rPr sz="1800" dirty="0"/>
            <a:t> </a:t>
          </a:r>
          <a:r>
            <a:rPr sz="1800" dirty="0" err="1"/>
            <a:t>şekilde</a:t>
          </a:r>
          <a:r>
            <a:rPr sz="1800" dirty="0"/>
            <a:t> </a:t>
          </a:r>
          <a:r>
            <a:rPr sz="1800" dirty="0" err="1"/>
            <a:t>tahmin</a:t>
          </a:r>
          <a:r>
            <a:rPr sz="1800" dirty="0"/>
            <a:t> </a:t>
          </a:r>
          <a:r>
            <a:rPr sz="1800" dirty="0" err="1"/>
            <a:t>etmelidir</a:t>
          </a:r>
          <a:r>
            <a:rPr sz="1800" dirty="0"/>
            <a:t>. </a:t>
          </a:r>
          <a:r>
            <a:rPr sz="1800" dirty="0" err="1"/>
            <a:t>Seyahat</a:t>
          </a:r>
          <a:r>
            <a:rPr sz="1800" dirty="0"/>
            <a:t> </a:t>
          </a:r>
          <a:r>
            <a:rPr sz="1800" dirty="0" err="1"/>
            <a:t>talebi</a:t>
          </a:r>
          <a:r>
            <a:rPr sz="1800" dirty="0"/>
            <a:t> </a:t>
          </a:r>
          <a:r>
            <a:rPr sz="1800" dirty="0" err="1"/>
            <a:t>analizi</a:t>
          </a:r>
          <a:r>
            <a:rPr sz="1800" dirty="0"/>
            <a:t> </a:t>
          </a:r>
          <a:r>
            <a:rPr sz="1800" dirty="0" err="1"/>
            <a:t>ve</a:t>
          </a:r>
          <a:r>
            <a:rPr sz="1800" dirty="0"/>
            <a:t> </a:t>
          </a:r>
          <a:r>
            <a:rPr sz="1800" dirty="0" err="1"/>
            <a:t>tahmininin</a:t>
          </a:r>
          <a:r>
            <a:rPr sz="1800" dirty="0"/>
            <a:t> </a:t>
          </a:r>
          <a:r>
            <a:rPr sz="1800" dirty="0" err="1"/>
            <a:t>bazı</a:t>
          </a:r>
          <a:r>
            <a:rPr sz="1800" dirty="0"/>
            <a:t> </a:t>
          </a:r>
          <a:r>
            <a:rPr sz="1800" dirty="0" err="1"/>
            <a:t>temel</a:t>
          </a:r>
          <a:r>
            <a:rPr sz="1800" dirty="0"/>
            <a:t> </a:t>
          </a:r>
          <a:r>
            <a:rPr sz="1800" dirty="0" err="1"/>
            <a:t>unsurları</a:t>
          </a:r>
          <a:r>
            <a:rPr sz="1800" dirty="0"/>
            <a:t> </a:t>
          </a:r>
          <a:r>
            <a:rPr sz="1800" dirty="0" err="1"/>
            <a:t>şunlardır</a:t>
          </a:r>
          <a:r>
            <a:rPr sz="1800" dirty="0"/>
            <a:t>:</a:t>
          </a:r>
        </a:p>
      </dgm:t>
    </dgm:pt>
    <dgm:pt modelId="{BA8F2BD3-79E1-4F5B-91A9-E4E1CA21CC24}" type="parTrans" cxnId="{2ED74E77-0A81-45CD-8301-D0EDB0E65EA3}">
      <dgm:prSet/>
      <dgm:spPr/>
      <dgm:t>
        <a:bodyPr/>
        <a:lstStyle/>
        <a:p>
          <a:endParaRPr lang="en-US"/>
        </a:p>
      </dgm:t>
    </dgm:pt>
    <dgm:pt modelId="{02731892-163E-4BA4-823A-DCBE10ED627A}" type="sibTrans" cxnId="{2ED74E77-0A81-45CD-8301-D0EDB0E65EA3}">
      <dgm:prSet/>
      <dgm:spPr/>
      <dgm:t>
        <a:bodyPr/>
        <a:lstStyle/>
        <a:p>
          <a:endParaRPr lang="en-US"/>
        </a:p>
      </dgm:t>
    </dgm:pt>
    <dgm:pt modelId="{C0B9E348-8B0E-4B9E-9F8C-92C3E42ECD2E}">
      <dgm:prSet/>
      <dgm:spPr/>
      <dgm:t>
        <a:bodyPr/>
        <a:lstStyle/>
        <a:p>
          <a:r>
            <a:rPr dirty="0" err="1"/>
            <a:t>Yolculuk</a:t>
          </a:r>
          <a:r>
            <a:rPr dirty="0"/>
            <a:t> </a:t>
          </a:r>
          <a:r>
            <a:rPr dirty="0" err="1"/>
            <a:t>Oluşturma</a:t>
          </a:r>
          <a:r>
            <a:rPr dirty="0"/>
            <a:t>: </a:t>
          </a:r>
          <a:r>
            <a:rPr dirty="0" err="1"/>
            <a:t>Yolculuk</a:t>
          </a:r>
          <a:r>
            <a:rPr dirty="0"/>
            <a:t> </a:t>
          </a:r>
          <a:r>
            <a:rPr dirty="0" err="1"/>
            <a:t>oluşturma</a:t>
          </a:r>
          <a:r>
            <a:rPr dirty="0"/>
            <a:t>, </a:t>
          </a:r>
          <a:r>
            <a:rPr dirty="0" err="1"/>
            <a:t>belirli</a:t>
          </a:r>
          <a:r>
            <a:rPr dirty="0"/>
            <a:t> </a:t>
          </a:r>
          <a:r>
            <a:rPr dirty="0" err="1"/>
            <a:t>bir</a:t>
          </a:r>
          <a:r>
            <a:rPr dirty="0"/>
            <a:t> </a:t>
          </a:r>
          <a:r>
            <a:rPr dirty="0" err="1"/>
            <a:t>arazi</a:t>
          </a:r>
          <a:r>
            <a:rPr dirty="0"/>
            <a:t> </a:t>
          </a:r>
          <a:r>
            <a:rPr dirty="0" err="1"/>
            <a:t>kullanımı</a:t>
          </a:r>
          <a:r>
            <a:rPr dirty="0"/>
            <a:t> </a:t>
          </a:r>
          <a:r>
            <a:rPr dirty="0" err="1"/>
            <a:t>veya</a:t>
          </a:r>
          <a:r>
            <a:rPr dirty="0"/>
            <a:t> </a:t>
          </a:r>
          <a:r>
            <a:rPr dirty="0" err="1"/>
            <a:t>geliştirme</a:t>
          </a:r>
          <a:r>
            <a:rPr dirty="0"/>
            <a:t> </a:t>
          </a:r>
          <a:r>
            <a:rPr dirty="0" err="1"/>
            <a:t>tarafından</a:t>
          </a:r>
          <a:r>
            <a:rPr dirty="0"/>
            <a:t> </a:t>
          </a:r>
          <a:r>
            <a:rPr dirty="0" err="1"/>
            <a:t>oluşturulan</a:t>
          </a:r>
          <a:r>
            <a:rPr dirty="0"/>
            <a:t> </a:t>
          </a:r>
          <a:r>
            <a:rPr dirty="0" err="1"/>
            <a:t>yolculuk</a:t>
          </a:r>
          <a:r>
            <a:rPr dirty="0"/>
            <a:t> </a:t>
          </a:r>
          <a:r>
            <a:rPr dirty="0" err="1"/>
            <a:t>sayısını</a:t>
          </a:r>
          <a:r>
            <a:rPr dirty="0"/>
            <a:t> </a:t>
          </a:r>
          <a:r>
            <a:rPr dirty="0" err="1"/>
            <a:t>tahmin</a:t>
          </a:r>
          <a:r>
            <a:rPr dirty="0"/>
            <a:t> </a:t>
          </a:r>
          <a:r>
            <a:rPr dirty="0" err="1"/>
            <a:t>etmeyi</a:t>
          </a:r>
          <a:r>
            <a:rPr dirty="0"/>
            <a:t> </a:t>
          </a:r>
          <a:r>
            <a:rPr dirty="0" err="1"/>
            <a:t>içerir</a:t>
          </a:r>
          <a:r>
            <a:rPr dirty="0"/>
            <a:t>. Bu, </a:t>
          </a:r>
          <a:r>
            <a:rPr dirty="0" err="1"/>
            <a:t>ulaşım</a:t>
          </a:r>
          <a:r>
            <a:rPr dirty="0"/>
            <a:t> </a:t>
          </a:r>
          <a:r>
            <a:rPr dirty="0" err="1"/>
            <a:t>planlamasının</a:t>
          </a:r>
          <a:r>
            <a:rPr dirty="0"/>
            <a:t> </a:t>
          </a:r>
          <a:r>
            <a:rPr dirty="0" err="1"/>
            <a:t>kritik</a:t>
          </a:r>
          <a:r>
            <a:rPr dirty="0"/>
            <a:t> </a:t>
          </a:r>
          <a:r>
            <a:rPr dirty="0" err="1"/>
            <a:t>bir</a:t>
          </a:r>
          <a:r>
            <a:rPr dirty="0"/>
            <a:t> </a:t>
          </a:r>
          <a:r>
            <a:rPr dirty="0" err="1"/>
            <a:t>bileşenidir</a:t>
          </a:r>
          <a:r>
            <a:rPr dirty="0"/>
            <a:t>, </a:t>
          </a:r>
          <a:r>
            <a:rPr dirty="0" err="1"/>
            <a:t>çünkü</a:t>
          </a:r>
          <a:r>
            <a:rPr dirty="0"/>
            <a:t> </a:t>
          </a:r>
          <a:r>
            <a:rPr dirty="0" err="1"/>
            <a:t>belirli</a:t>
          </a:r>
          <a:r>
            <a:rPr dirty="0"/>
            <a:t> </a:t>
          </a:r>
          <a:r>
            <a:rPr dirty="0" err="1"/>
            <a:t>bir</a:t>
          </a:r>
          <a:r>
            <a:rPr dirty="0"/>
            <a:t> </a:t>
          </a:r>
          <a:r>
            <a:rPr dirty="0" err="1"/>
            <a:t>alandaki</a:t>
          </a:r>
          <a:r>
            <a:rPr dirty="0"/>
            <a:t> </a:t>
          </a:r>
          <a:r>
            <a:rPr dirty="0" err="1"/>
            <a:t>genel</a:t>
          </a:r>
          <a:r>
            <a:rPr dirty="0"/>
            <a:t> </a:t>
          </a:r>
          <a:r>
            <a:rPr dirty="0" err="1"/>
            <a:t>seyahat</a:t>
          </a:r>
          <a:r>
            <a:rPr dirty="0"/>
            <a:t> </a:t>
          </a:r>
          <a:r>
            <a:rPr dirty="0" err="1"/>
            <a:t>talebinin</a:t>
          </a:r>
          <a:r>
            <a:rPr dirty="0"/>
            <a:t> </a:t>
          </a:r>
          <a:r>
            <a:rPr dirty="0" err="1"/>
            <a:t>bir</a:t>
          </a:r>
          <a:r>
            <a:rPr dirty="0"/>
            <a:t> </a:t>
          </a:r>
          <a:r>
            <a:rPr dirty="0" err="1"/>
            <a:t>tahminini</a:t>
          </a:r>
          <a:r>
            <a:rPr dirty="0"/>
            <a:t> </a:t>
          </a:r>
          <a:r>
            <a:rPr dirty="0" err="1"/>
            <a:t>sağlar</a:t>
          </a:r>
          <a:r>
            <a:rPr dirty="0"/>
            <a:t>.</a:t>
          </a:r>
        </a:p>
      </dgm:t>
    </dgm:pt>
    <dgm:pt modelId="{DEB4BD83-9259-4513-86E2-FA3047453073}" type="parTrans" cxnId="{8726443E-6435-4161-85CE-C209BEB0FBBD}">
      <dgm:prSet/>
      <dgm:spPr/>
      <dgm:t>
        <a:bodyPr/>
        <a:lstStyle/>
        <a:p>
          <a:endParaRPr lang="en-US"/>
        </a:p>
      </dgm:t>
    </dgm:pt>
    <dgm:pt modelId="{944B346B-E589-41FB-A1C5-C3D0780A912D}" type="sibTrans" cxnId="{8726443E-6435-4161-85CE-C209BEB0FBBD}">
      <dgm:prSet/>
      <dgm:spPr/>
      <dgm:t>
        <a:bodyPr/>
        <a:lstStyle/>
        <a:p>
          <a:endParaRPr lang="en-US"/>
        </a:p>
      </dgm:t>
    </dgm:pt>
    <dgm:pt modelId="{3273AE39-3354-40C7-A3B9-0C6519E75E33}">
      <dgm:prSet/>
      <dgm:spPr/>
      <dgm:t>
        <a:bodyPr/>
        <a:lstStyle/>
        <a:p>
          <a:r>
            <a:rPr dirty="0" err="1"/>
            <a:t>Yolculuk</a:t>
          </a:r>
          <a:r>
            <a:rPr dirty="0"/>
            <a:t> </a:t>
          </a:r>
          <a:r>
            <a:rPr dirty="0" err="1"/>
            <a:t>Dağılımı</a:t>
          </a:r>
          <a:r>
            <a:rPr dirty="0"/>
            <a:t>: </a:t>
          </a:r>
          <a:r>
            <a:rPr dirty="0" err="1"/>
            <a:t>Yolculuk</a:t>
          </a:r>
          <a:r>
            <a:rPr dirty="0"/>
            <a:t> </a:t>
          </a:r>
          <a:r>
            <a:rPr dirty="0" err="1"/>
            <a:t>dağılımı</a:t>
          </a:r>
          <a:r>
            <a:rPr dirty="0"/>
            <a:t>, </a:t>
          </a:r>
          <a:r>
            <a:rPr dirty="0" err="1"/>
            <a:t>oluşturulan</a:t>
          </a:r>
          <a:r>
            <a:rPr dirty="0"/>
            <a:t> her </a:t>
          </a:r>
          <a:r>
            <a:rPr dirty="0" err="1"/>
            <a:t>yolculuğun</a:t>
          </a:r>
          <a:r>
            <a:rPr dirty="0"/>
            <a:t> </a:t>
          </a:r>
          <a:r>
            <a:rPr dirty="0" err="1"/>
            <a:t>menşeini</a:t>
          </a:r>
          <a:r>
            <a:rPr dirty="0"/>
            <a:t> </a:t>
          </a:r>
          <a:r>
            <a:rPr dirty="0" err="1"/>
            <a:t>ve</a:t>
          </a:r>
          <a:r>
            <a:rPr dirty="0"/>
            <a:t> </a:t>
          </a:r>
          <a:r>
            <a:rPr dirty="0" err="1"/>
            <a:t>varış</a:t>
          </a:r>
          <a:r>
            <a:rPr dirty="0"/>
            <a:t> </a:t>
          </a:r>
          <a:r>
            <a:rPr dirty="0" err="1"/>
            <a:t>noktasını</a:t>
          </a:r>
          <a:r>
            <a:rPr dirty="0"/>
            <a:t> </a:t>
          </a:r>
          <a:r>
            <a:rPr dirty="0" err="1"/>
            <a:t>tahmin</a:t>
          </a:r>
          <a:r>
            <a:rPr dirty="0"/>
            <a:t> </a:t>
          </a:r>
          <a:r>
            <a:rPr dirty="0" err="1"/>
            <a:t>etmeyi</a:t>
          </a:r>
          <a:r>
            <a:rPr dirty="0"/>
            <a:t> </a:t>
          </a:r>
          <a:r>
            <a:rPr dirty="0" err="1"/>
            <a:t>içerir</a:t>
          </a:r>
          <a:r>
            <a:rPr dirty="0"/>
            <a:t>. Bu, </a:t>
          </a:r>
          <a:r>
            <a:rPr dirty="0" err="1"/>
            <a:t>planlamacıların</a:t>
          </a:r>
          <a:r>
            <a:rPr dirty="0"/>
            <a:t> </a:t>
          </a:r>
          <a:r>
            <a:rPr dirty="0" err="1"/>
            <a:t>seyahat</a:t>
          </a:r>
          <a:r>
            <a:rPr dirty="0"/>
            <a:t> </a:t>
          </a:r>
          <a:r>
            <a:rPr dirty="0" err="1"/>
            <a:t>talebinin</a:t>
          </a:r>
          <a:r>
            <a:rPr dirty="0"/>
            <a:t> </a:t>
          </a:r>
          <a:r>
            <a:rPr dirty="0" err="1"/>
            <a:t>mekansal</a:t>
          </a:r>
          <a:r>
            <a:rPr dirty="0"/>
            <a:t> </a:t>
          </a:r>
          <a:r>
            <a:rPr dirty="0" err="1"/>
            <a:t>dağılımını</a:t>
          </a:r>
          <a:r>
            <a:rPr dirty="0"/>
            <a:t> </a:t>
          </a:r>
          <a:r>
            <a:rPr dirty="0" err="1"/>
            <a:t>ve</a:t>
          </a:r>
          <a:r>
            <a:rPr dirty="0"/>
            <a:t> zaman </a:t>
          </a:r>
          <a:r>
            <a:rPr dirty="0" err="1"/>
            <a:t>içinde</a:t>
          </a:r>
          <a:r>
            <a:rPr dirty="0"/>
            <a:t> </a:t>
          </a:r>
          <a:r>
            <a:rPr dirty="0" err="1"/>
            <a:t>nasıl</a:t>
          </a:r>
          <a:r>
            <a:rPr dirty="0"/>
            <a:t> </a:t>
          </a:r>
          <a:r>
            <a:rPr dirty="0" err="1"/>
            <a:t>değişeceğini</a:t>
          </a:r>
          <a:r>
            <a:rPr dirty="0"/>
            <a:t> </a:t>
          </a:r>
          <a:r>
            <a:rPr dirty="0" err="1"/>
            <a:t>anlamalarına</a:t>
          </a:r>
          <a:r>
            <a:rPr dirty="0"/>
            <a:t> </a:t>
          </a:r>
          <a:r>
            <a:rPr dirty="0" err="1"/>
            <a:t>yardımcı</a:t>
          </a:r>
          <a:r>
            <a:rPr dirty="0"/>
            <a:t> </a:t>
          </a:r>
          <a:r>
            <a:rPr dirty="0" err="1"/>
            <a:t>olur</a:t>
          </a:r>
          <a:r>
            <a:rPr dirty="0"/>
            <a:t>.</a:t>
          </a:r>
        </a:p>
      </dgm:t>
    </dgm:pt>
    <dgm:pt modelId="{FB62E2BA-3EE4-4300-8EEC-8EC640118B69}" type="parTrans" cxnId="{6EA84A63-F3C0-4972-BF85-CEA8ED1F59BC}">
      <dgm:prSet/>
      <dgm:spPr/>
      <dgm:t>
        <a:bodyPr/>
        <a:lstStyle/>
        <a:p>
          <a:endParaRPr lang="en-US"/>
        </a:p>
      </dgm:t>
    </dgm:pt>
    <dgm:pt modelId="{BF06CF97-9C6C-46A3-BD48-3939DAA232D6}" type="sibTrans" cxnId="{6EA84A63-F3C0-4972-BF85-CEA8ED1F59BC}">
      <dgm:prSet/>
      <dgm:spPr/>
      <dgm:t>
        <a:bodyPr/>
        <a:lstStyle/>
        <a:p>
          <a:endParaRPr lang="en-US"/>
        </a:p>
      </dgm:t>
    </dgm:pt>
    <dgm:pt modelId="{8CE1C134-CFEE-4C12-9AD3-E6C2EA28CE42}">
      <dgm:prSet/>
      <dgm:spPr/>
      <dgm:t>
        <a:bodyPr/>
        <a:lstStyle/>
        <a:p>
          <a:r>
            <a:rPr dirty="0"/>
            <a:t>Modal </a:t>
          </a:r>
          <a:r>
            <a:rPr dirty="0" err="1"/>
            <a:t>Seçim</a:t>
          </a:r>
          <a:r>
            <a:rPr dirty="0"/>
            <a:t>: Modal </a:t>
          </a:r>
          <a:r>
            <a:rPr dirty="0" err="1"/>
            <a:t>seçim</a:t>
          </a:r>
          <a:r>
            <a:rPr dirty="0"/>
            <a:t>, </a:t>
          </a:r>
          <a:r>
            <a:rPr dirty="0" err="1"/>
            <a:t>belirli</a:t>
          </a:r>
          <a:r>
            <a:rPr dirty="0"/>
            <a:t> </a:t>
          </a:r>
          <a:r>
            <a:rPr dirty="0" err="1"/>
            <a:t>bir</a:t>
          </a:r>
          <a:r>
            <a:rPr dirty="0"/>
            <a:t> </a:t>
          </a:r>
          <a:r>
            <a:rPr dirty="0" err="1"/>
            <a:t>yolculuk</a:t>
          </a:r>
          <a:r>
            <a:rPr dirty="0"/>
            <a:t> </a:t>
          </a:r>
          <a:r>
            <a:rPr dirty="0" err="1"/>
            <a:t>için</a:t>
          </a:r>
          <a:r>
            <a:rPr dirty="0"/>
            <a:t> </a:t>
          </a:r>
          <a:r>
            <a:rPr dirty="0" err="1"/>
            <a:t>belirli</a:t>
          </a:r>
          <a:r>
            <a:rPr dirty="0"/>
            <a:t> </a:t>
          </a:r>
          <a:r>
            <a:rPr dirty="0" err="1"/>
            <a:t>bir</a:t>
          </a:r>
          <a:r>
            <a:rPr dirty="0"/>
            <a:t> </a:t>
          </a:r>
          <a:r>
            <a:rPr dirty="0" err="1"/>
            <a:t>ulaşım</a:t>
          </a:r>
          <a:r>
            <a:rPr dirty="0"/>
            <a:t> </a:t>
          </a:r>
          <a:r>
            <a:rPr dirty="0" err="1"/>
            <a:t>modunun</a:t>
          </a:r>
          <a:r>
            <a:rPr dirty="0"/>
            <a:t> (</a:t>
          </a:r>
          <a:r>
            <a:rPr dirty="0" err="1"/>
            <a:t>örneğin</a:t>
          </a:r>
          <a:r>
            <a:rPr dirty="0"/>
            <a:t>, araba, </a:t>
          </a:r>
          <a:r>
            <a:rPr dirty="0" err="1"/>
            <a:t>otobüs</a:t>
          </a:r>
          <a:r>
            <a:rPr dirty="0"/>
            <a:t>, </a:t>
          </a:r>
          <a:r>
            <a:rPr dirty="0" err="1"/>
            <a:t>bisiklet</a:t>
          </a:r>
          <a:r>
            <a:rPr dirty="0"/>
            <a:t>) </a:t>
          </a:r>
          <a:r>
            <a:rPr dirty="0" err="1"/>
            <a:t>seçilmesini</a:t>
          </a:r>
          <a:r>
            <a:rPr dirty="0"/>
            <a:t> </a:t>
          </a:r>
          <a:r>
            <a:rPr dirty="0" err="1"/>
            <a:t>ifade</a:t>
          </a:r>
          <a:r>
            <a:rPr dirty="0"/>
            <a:t> </a:t>
          </a:r>
          <a:r>
            <a:rPr dirty="0" err="1"/>
            <a:t>eder</a:t>
          </a:r>
          <a:r>
            <a:rPr dirty="0"/>
            <a:t>. Modal </a:t>
          </a:r>
          <a:r>
            <a:rPr dirty="0" err="1"/>
            <a:t>seçimi</a:t>
          </a:r>
          <a:r>
            <a:rPr dirty="0"/>
            <a:t> </a:t>
          </a:r>
          <a:r>
            <a:rPr dirty="0" err="1"/>
            <a:t>anlamak</a:t>
          </a:r>
          <a:r>
            <a:rPr dirty="0"/>
            <a:t>, </a:t>
          </a:r>
          <a:r>
            <a:rPr dirty="0" err="1"/>
            <a:t>verimli</a:t>
          </a:r>
          <a:r>
            <a:rPr dirty="0"/>
            <a:t> </a:t>
          </a:r>
          <a:r>
            <a:rPr dirty="0" err="1"/>
            <a:t>ve</a:t>
          </a:r>
          <a:r>
            <a:rPr dirty="0"/>
            <a:t> </a:t>
          </a:r>
          <a:r>
            <a:rPr dirty="0" err="1"/>
            <a:t>sürdürülebilir</a:t>
          </a:r>
          <a:r>
            <a:rPr dirty="0"/>
            <a:t> </a:t>
          </a:r>
          <a:r>
            <a:rPr dirty="0" err="1"/>
            <a:t>ulaşım</a:t>
          </a:r>
          <a:r>
            <a:rPr dirty="0"/>
            <a:t> </a:t>
          </a:r>
          <a:r>
            <a:rPr dirty="0" err="1"/>
            <a:t>planları</a:t>
          </a:r>
          <a:r>
            <a:rPr dirty="0"/>
            <a:t> </a:t>
          </a:r>
          <a:r>
            <a:rPr dirty="0" err="1"/>
            <a:t>geliştirmek</a:t>
          </a:r>
          <a:r>
            <a:rPr dirty="0"/>
            <a:t> </a:t>
          </a:r>
          <a:r>
            <a:rPr dirty="0" err="1"/>
            <a:t>için</a:t>
          </a:r>
          <a:r>
            <a:rPr dirty="0"/>
            <a:t> </a:t>
          </a:r>
          <a:r>
            <a:rPr dirty="0" err="1"/>
            <a:t>esastır</a:t>
          </a:r>
          <a:r>
            <a:rPr dirty="0"/>
            <a:t>.</a:t>
          </a:r>
        </a:p>
      </dgm:t>
    </dgm:pt>
    <dgm:pt modelId="{A32F2D65-BAC5-44B7-9756-133265857226}" type="parTrans" cxnId="{822C8AC1-0AA9-44F7-89E9-4B0B757D9D3E}">
      <dgm:prSet/>
      <dgm:spPr/>
      <dgm:t>
        <a:bodyPr/>
        <a:lstStyle/>
        <a:p>
          <a:endParaRPr lang="en-US"/>
        </a:p>
      </dgm:t>
    </dgm:pt>
    <dgm:pt modelId="{71A27459-586D-4E37-97C9-57E447ADA400}" type="sibTrans" cxnId="{822C8AC1-0AA9-44F7-89E9-4B0B757D9D3E}">
      <dgm:prSet/>
      <dgm:spPr/>
      <dgm:t>
        <a:bodyPr/>
        <a:lstStyle/>
        <a:p>
          <a:endParaRPr lang="en-US"/>
        </a:p>
      </dgm:t>
    </dgm:pt>
    <dgm:pt modelId="{E87CB632-E063-4034-A14A-37AA8F39FDB3}">
      <dgm:prSet/>
      <dgm:spPr/>
      <dgm:t>
        <a:bodyPr/>
        <a:lstStyle/>
        <a:p>
          <a:r>
            <a:rPr dirty="0"/>
            <a:t>Atama: </a:t>
          </a:r>
          <a:r>
            <a:rPr dirty="0" err="1"/>
            <a:t>Yolculuk</a:t>
          </a:r>
          <a:r>
            <a:rPr dirty="0"/>
            <a:t> </a:t>
          </a:r>
          <a:r>
            <a:rPr dirty="0" err="1"/>
            <a:t>ataması</a:t>
          </a:r>
          <a:r>
            <a:rPr dirty="0"/>
            <a:t>, </a:t>
          </a:r>
          <a:r>
            <a:rPr dirty="0" err="1"/>
            <a:t>tahmini</a:t>
          </a:r>
          <a:r>
            <a:rPr dirty="0"/>
            <a:t> </a:t>
          </a:r>
          <a:r>
            <a:rPr dirty="0" err="1"/>
            <a:t>seyahat</a:t>
          </a:r>
          <a:r>
            <a:rPr dirty="0"/>
            <a:t> </a:t>
          </a:r>
          <a:r>
            <a:rPr dirty="0" err="1"/>
            <a:t>talebinin</a:t>
          </a:r>
          <a:r>
            <a:rPr dirty="0"/>
            <a:t> </a:t>
          </a:r>
          <a:r>
            <a:rPr dirty="0" err="1"/>
            <a:t>belirli</a:t>
          </a:r>
          <a:r>
            <a:rPr dirty="0"/>
            <a:t> </a:t>
          </a:r>
          <a:r>
            <a:rPr dirty="0" err="1"/>
            <a:t>ulaşım</a:t>
          </a:r>
          <a:r>
            <a:rPr dirty="0"/>
            <a:t> </a:t>
          </a:r>
          <a:r>
            <a:rPr dirty="0" err="1"/>
            <a:t>ağlarına</a:t>
          </a:r>
          <a:r>
            <a:rPr dirty="0"/>
            <a:t> </a:t>
          </a:r>
          <a:r>
            <a:rPr dirty="0" err="1"/>
            <a:t>tahsis</a:t>
          </a:r>
          <a:r>
            <a:rPr dirty="0"/>
            <a:t> </a:t>
          </a:r>
          <a:r>
            <a:rPr dirty="0" err="1"/>
            <a:t>edilmesini</a:t>
          </a:r>
          <a:r>
            <a:rPr dirty="0"/>
            <a:t> </a:t>
          </a:r>
          <a:r>
            <a:rPr dirty="0" err="1"/>
            <a:t>içerir</a:t>
          </a:r>
          <a:r>
            <a:rPr dirty="0"/>
            <a:t>. Bu, </a:t>
          </a:r>
          <a:r>
            <a:rPr dirty="0" err="1"/>
            <a:t>planlamacıların</a:t>
          </a:r>
          <a:r>
            <a:rPr dirty="0"/>
            <a:t> </a:t>
          </a:r>
          <a:r>
            <a:rPr dirty="0" err="1"/>
            <a:t>farklı</a:t>
          </a:r>
          <a:r>
            <a:rPr dirty="0"/>
            <a:t> </a:t>
          </a:r>
          <a:r>
            <a:rPr dirty="0" err="1"/>
            <a:t>ulaşım</a:t>
          </a:r>
          <a:r>
            <a:rPr dirty="0"/>
            <a:t> </a:t>
          </a:r>
          <a:r>
            <a:rPr dirty="0" err="1"/>
            <a:t>senaryolarının</a:t>
          </a:r>
          <a:r>
            <a:rPr dirty="0"/>
            <a:t> </a:t>
          </a:r>
          <a:r>
            <a:rPr dirty="0" err="1"/>
            <a:t>etkilerini</a:t>
          </a:r>
          <a:r>
            <a:rPr dirty="0"/>
            <a:t> </a:t>
          </a:r>
          <a:r>
            <a:rPr dirty="0" err="1"/>
            <a:t>anlamalarına</a:t>
          </a:r>
          <a:r>
            <a:rPr dirty="0"/>
            <a:t> </a:t>
          </a:r>
          <a:r>
            <a:rPr dirty="0" err="1"/>
            <a:t>ve</a:t>
          </a:r>
          <a:r>
            <a:rPr dirty="0"/>
            <a:t> </a:t>
          </a:r>
          <a:r>
            <a:rPr dirty="0" err="1"/>
            <a:t>farklı</a:t>
          </a:r>
          <a:r>
            <a:rPr dirty="0"/>
            <a:t> </a:t>
          </a:r>
          <a:r>
            <a:rPr dirty="0" err="1"/>
            <a:t>politika</a:t>
          </a:r>
          <a:r>
            <a:rPr dirty="0"/>
            <a:t> </a:t>
          </a:r>
          <a:r>
            <a:rPr dirty="0" err="1"/>
            <a:t>ve</a:t>
          </a:r>
          <a:r>
            <a:rPr dirty="0"/>
            <a:t> </a:t>
          </a:r>
          <a:r>
            <a:rPr dirty="0" err="1"/>
            <a:t>projelerin</a:t>
          </a:r>
          <a:r>
            <a:rPr dirty="0"/>
            <a:t> </a:t>
          </a:r>
          <a:r>
            <a:rPr dirty="0" err="1"/>
            <a:t>etkinliğini</a:t>
          </a:r>
          <a:r>
            <a:rPr dirty="0"/>
            <a:t> </a:t>
          </a:r>
          <a:r>
            <a:rPr dirty="0" err="1"/>
            <a:t>değerlendirmelerine</a:t>
          </a:r>
          <a:r>
            <a:rPr dirty="0"/>
            <a:t> </a:t>
          </a:r>
          <a:r>
            <a:rPr dirty="0" err="1"/>
            <a:t>yardımcı</a:t>
          </a:r>
          <a:r>
            <a:rPr dirty="0"/>
            <a:t> </a:t>
          </a:r>
          <a:r>
            <a:rPr dirty="0" err="1"/>
            <a:t>olur</a:t>
          </a:r>
          <a:r>
            <a:rPr dirty="0"/>
            <a:t>.</a:t>
          </a:r>
        </a:p>
      </dgm:t>
    </dgm:pt>
    <dgm:pt modelId="{8C5D644D-6668-46E1-81F6-2AFF62D277E2}" type="parTrans" cxnId="{8C863357-9054-44ED-BD56-242D6C25367D}">
      <dgm:prSet/>
      <dgm:spPr/>
      <dgm:t>
        <a:bodyPr/>
        <a:lstStyle/>
        <a:p>
          <a:endParaRPr lang="en-US"/>
        </a:p>
      </dgm:t>
    </dgm:pt>
    <dgm:pt modelId="{9431FAFD-5D82-4ACF-8F61-3D3C19675CA1}" type="sibTrans" cxnId="{8C863357-9054-44ED-BD56-242D6C25367D}">
      <dgm:prSet/>
      <dgm:spPr/>
      <dgm:t>
        <a:bodyPr/>
        <a:lstStyle/>
        <a:p>
          <a:endParaRPr lang="en-US"/>
        </a:p>
      </dgm:t>
    </dgm:pt>
    <dgm:pt modelId="{6A4D9601-B8F4-43C1-8122-30543DF2F772}">
      <dgm:prSet/>
      <dgm:spPr/>
      <dgm:t>
        <a:bodyPr/>
        <a:lstStyle/>
        <a:p>
          <a:r>
            <a:rPr dirty="0" err="1"/>
            <a:t>Seyahat</a:t>
          </a:r>
          <a:r>
            <a:rPr dirty="0"/>
            <a:t> </a:t>
          </a:r>
          <a:r>
            <a:rPr dirty="0" err="1"/>
            <a:t>Talebi</a:t>
          </a:r>
          <a:r>
            <a:rPr dirty="0"/>
            <a:t> </a:t>
          </a:r>
          <a:r>
            <a:rPr dirty="0" err="1"/>
            <a:t>Tahmin</a:t>
          </a:r>
          <a:r>
            <a:rPr dirty="0"/>
            <a:t> </a:t>
          </a:r>
          <a:r>
            <a:rPr dirty="0" err="1"/>
            <a:t>Modelleri</a:t>
          </a:r>
          <a:r>
            <a:rPr dirty="0"/>
            <a:t>: </a:t>
          </a:r>
          <a:r>
            <a:rPr dirty="0" err="1"/>
            <a:t>Seyahat</a:t>
          </a:r>
          <a:r>
            <a:rPr dirty="0"/>
            <a:t> </a:t>
          </a:r>
          <a:r>
            <a:rPr dirty="0" err="1"/>
            <a:t>talebi</a:t>
          </a:r>
          <a:r>
            <a:rPr dirty="0"/>
            <a:t> </a:t>
          </a:r>
          <a:r>
            <a:rPr dirty="0" err="1"/>
            <a:t>tahmin</a:t>
          </a:r>
          <a:r>
            <a:rPr dirty="0"/>
            <a:t> </a:t>
          </a:r>
          <a:r>
            <a:rPr dirty="0" err="1"/>
            <a:t>modelleri</a:t>
          </a:r>
          <a:r>
            <a:rPr dirty="0"/>
            <a:t>, </a:t>
          </a:r>
          <a:r>
            <a:rPr dirty="0" err="1"/>
            <a:t>planlamacıların</a:t>
          </a:r>
          <a:r>
            <a:rPr dirty="0"/>
            <a:t> </a:t>
          </a:r>
          <a:r>
            <a:rPr dirty="0" err="1"/>
            <a:t>mevcut</a:t>
          </a:r>
          <a:r>
            <a:rPr dirty="0"/>
            <a:t> </a:t>
          </a:r>
          <a:r>
            <a:rPr dirty="0" err="1"/>
            <a:t>ve</a:t>
          </a:r>
          <a:r>
            <a:rPr dirty="0"/>
            <a:t> </a:t>
          </a:r>
          <a:r>
            <a:rPr dirty="0" err="1"/>
            <a:t>öngörülen</a:t>
          </a:r>
          <a:r>
            <a:rPr dirty="0"/>
            <a:t> </a:t>
          </a:r>
          <a:r>
            <a:rPr dirty="0" err="1"/>
            <a:t>demografik</a:t>
          </a:r>
          <a:r>
            <a:rPr dirty="0"/>
            <a:t> </a:t>
          </a:r>
          <a:r>
            <a:rPr dirty="0" err="1"/>
            <a:t>ve</a:t>
          </a:r>
          <a:r>
            <a:rPr dirty="0"/>
            <a:t> </a:t>
          </a:r>
          <a:r>
            <a:rPr dirty="0" err="1"/>
            <a:t>ekonomik</a:t>
          </a:r>
          <a:r>
            <a:rPr dirty="0"/>
            <a:t> </a:t>
          </a:r>
          <a:r>
            <a:rPr dirty="0" err="1"/>
            <a:t>verilere</a:t>
          </a:r>
          <a:r>
            <a:rPr dirty="0"/>
            <a:t> </a:t>
          </a:r>
          <a:r>
            <a:rPr dirty="0" err="1"/>
            <a:t>dayanarak</a:t>
          </a:r>
          <a:r>
            <a:rPr dirty="0"/>
            <a:t> </a:t>
          </a:r>
          <a:r>
            <a:rPr dirty="0" err="1"/>
            <a:t>gelecekteki</a:t>
          </a:r>
          <a:r>
            <a:rPr dirty="0"/>
            <a:t> </a:t>
          </a:r>
          <a:r>
            <a:rPr dirty="0" err="1"/>
            <a:t>seyahat</a:t>
          </a:r>
          <a:r>
            <a:rPr dirty="0"/>
            <a:t> </a:t>
          </a:r>
          <a:r>
            <a:rPr dirty="0" err="1"/>
            <a:t>talebini</a:t>
          </a:r>
          <a:r>
            <a:rPr dirty="0"/>
            <a:t> </a:t>
          </a:r>
          <a:r>
            <a:rPr dirty="0" err="1"/>
            <a:t>tahmin</a:t>
          </a:r>
          <a:r>
            <a:rPr dirty="0"/>
            <a:t> </a:t>
          </a:r>
          <a:r>
            <a:rPr dirty="0" err="1"/>
            <a:t>etmelerine</a:t>
          </a:r>
          <a:r>
            <a:rPr dirty="0"/>
            <a:t> </a:t>
          </a:r>
          <a:r>
            <a:rPr dirty="0" err="1"/>
            <a:t>yardımcı</a:t>
          </a:r>
          <a:r>
            <a:rPr dirty="0"/>
            <a:t> </a:t>
          </a:r>
          <a:r>
            <a:rPr dirty="0" err="1"/>
            <a:t>olan</a:t>
          </a:r>
          <a:r>
            <a:rPr dirty="0"/>
            <a:t> </a:t>
          </a:r>
          <a:r>
            <a:rPr dirty="0" err="1"/>
            <a:t>bilgisayar</a:t>
          </a:r>
          <a:r>
            <a:rPr dirty="0"/>
            <a:t> </a:t>
          </a:r>
          <a:r>
            <a:rPr dirty="0" err="1"/>
            <a:t>tabanlı</a:t>
          </a:r>
          <a:r>
            <a:rPr dirty="0"/>
            <a:t> </a:t>
          </a:r>
          <a:r>
            <a:rPr dirty="0" err="1"/>
            <a:t>araçlardır</a:t>
          </a:r>
          <a:r>
            <a:rPr dirty="0"/>
            <a:t>. Bu </a:t>
          </a:r>
          <a:r>
            <a:rPr dirty="0" err="1"/>
            <a:t>modeller</a:t>
          </a:r>
          <a:r>
            <a:rPr dirty="0"/>
            <a:t>, </a:t>
          </a:r>
          <a:r>
            <a:rPr dirty="0" err="1"/>
            <a:t>uzun</a:t>
          </a:r>
          <a:r>
            <a:rPr dirty="0"/>
            <a:t> </a:t>
          </a:r>
          <a:r>
            <a:rPr dirty="0" err="1"/>
            <a:t>vadeli</a:t>
          </a:r>
          <a:r>
            <a:rPr dirty="0"/>
            <a:t> </a:t>
          </a:r>
          <a:r>
            <a:rPr dirty="0" err="1"/>
            <a:t>ulaşım</a:t>
          </a:r>
          <a:r>
            <a:rPr dirty="0"/>
            <a:t> </a:t>
          </a:r>
          <a:r>
            <a:rPr dirty="0" err="1"/>
            <a:t>planları</a:t>
          </a:r>
          <a:r>
            <a:rPr dirty="0"/>
            <a:t> </a:t>
          </a:r>
          <a:r>
            <a:rPr dirty="0" err="1"/>
            <a:t>geliştirmek</a:t>
          </a:r>
          <a:r>
            <a:rPr dirty="0"/>
            <a:t> </a:t>
          </a:r>
          <a:r>
            <a:rPr dirty="0" err="1"/>
            <a:t>ve</a:t>
          </a:r>
          <a:r>
            <a:rPr dirty="0"/>
            <a:t> </a:t>
          </a:r>
          <a:r>
            <a:rPr dirty="0" err="1"/>
            <a:t>farklı</a:t>
          </a:r>
          <a:r>
            <a:rPr dirty="0"/>
            <a:t> </a:t>
          </a:r>
          <a:r>
            <a:rPr dirty="0" err="1"/>
            <a:t>politika</a:t>
          </a:r>
          <a:r>
            <a:rPr dirty="0"/>
            <a:t> </a:t>
          </a:r>
          <a:r>
            <a:rPr dirty="0" err="1"/>
            <a:t>ve</a:t>
          </a:r>
          <a:r>
            <a:rPr dirty="0"/>
            <a:t> </a:t>
          </a:r>
          <a:r>
            <a:rPr dirty="0" err="1"/>
            <a:t>projelerin</a:t>
          </a:r>
          <a:r>
            <a:rPr dirty="0"/>
            <a:t> </a:t>
          </a:r>
          <a:r>
            <a:rPr dirty="0" err="1"/>
            <a:t>etkilerini</a:t>
          </a:r>
          <a:r>
            <a:rPr dirty="0"/>
            <a:t> </a:t>
          </a:r>
          <a:r>
            <a:rPr dirty="0" err="1"/>
            <a:t>değerlendirmek</a:t>
          </a:r>
          <a:r>
            <a:rPr dirty="0"/>
            <a:t> </a:t>
          </a:r>
          <a:r>
            <a:rPr dirty="0" err="1"/>
            <a:t>için</a:t>
          </a:r>
          <a:r>
            <a:rPr dirty="0"/>
            <a:t> </a:t>
          </a:r>
          <a:r>
            <a:rPr dirty="0" err="1"/>
            <a:t>gereklidir</a:t>
          </a:r>
          <a:r>
            <a:rPr dirty="0"/>
            <a:t>.</a:t>
          </a:r>
        </a:p>
      </dgm:t>
    </dgm:pt>
    <dgm:pt modelId="{DD5A938E-5EF4-4562-9D84-F48B60BE52F0}" type="parTrans" cxnId="{06A00DE0-D37B-4A63-B03C-647F52EFA3F3}">
      <dgm:prSet/>
      <dgm:spPr/>
      <dgm:t>
        <a:bodyPr/>
        <a:lstStyle/>
        <a:p>
          <a:endParaRPr lang="en-US"/>
        </a:p>
      </dgm:t>
    </dgm:pt>
    <dgm:pt modelId="{3FB2FBA0-DA15-4B94-8149-A389765D08E5}" type="sibTrans" cxnId="{06A00DE0-D37B-4A63-B03C-647F52EFA3F3}">
      <dgm:prSet/>
      <dgm:spPr/>
      <dgm:t>
        <a:bodyPr/>
        <a:lstStyle/>
        <a:p>
          <a:endParaRPr lang="en-US"/>
        </a:p>
      </dgm:t>
    </dgm:pt>
    <dgm:pt modelId="{C995A853-EA04-4193-A6F4-1F7E117089D2}" type="pres">
      <dgm:prSet presAssocID="{5DC63DDC-1446-4524-B013-0B0CDBAF4403}" presName="vert0" presStyleCnt="0">
        <dgm:presLayoutVars>
          <dgm:dir/>
          <dgm:animOne val="branch"/>
          <dgm:animLvl val="lvl"/>
        </dgm:presLayoutVars>
      </dgm:prSet>
      <dgm:spPr/>
    </dgm:pt>
    <dgm:pt modelId="{D64790E2-8CB2-44C5-80F8-A8248AED1ACC}" type="pres">
      <dgm:prSet presAssocID="{5256D8CA-B06C-4945-9644-5D61661E169C}" presName="thickLine" presStyleLbl="alignNode1" presStyleIdx="0" presStyleCnt="1"/>
      <dgm:spPr/>
    </dgm:pt>
    <dgm:pt modelId="{3DBFFEA9-390F-412E-97BD-58022E83A2E7}" type="pres">
      <dgm:prSet presAssocID="{5256D8CA-B06C-4945-9644-5D61661E169C}" presName="horz1" presStyleCnt="0"/>
      <dgm:spPr/>
    </dgm:pt>
    <dgm:pt modelId="{DE01F3EE-9DEB-4B6B-B9C4-5CCFCF612614}" type="pres">
      <dgm:prSet presAssocID="{5256D8CA-B06C-4945-9644-5D61661E169C}" presName="tx1" presStyleLbl="revTx" presStyleIdx="0" presStyleCnt="6" custScaleX="180311"/>
      <dgm:spPr/>
    </dgm:pt>
    <dgm:pt modelId="{0DA471BC-852B-4B54-9264-2C61C9FD5934}" type="pres">
      <dgm:prSet presAssocID="{5256D8CA-B06C-4945-9644-5D61661E169C}" presName="vert1" presStyleCnt="0"/>
      <dgm:spPr/>
    </dgm:pt>
    <dgm:pt modelId="{B988B133-814E-44B7-B7BE-B4E30AA853D7}" type="pres">
      <dgm:prSet presAssocID="{C0B9E348-8B0E-4B9E-9F8C-92C3E42ECD2E}" presName="vertSpace2a" presStyleCnt="0"/>
      <dgm:spPr/>
    </dgm:pt>
    <dgm:pt modelId="{87EB9B01-4181-4B27-80F8-AB5475D734B1}" type="pres">
      <dgm:prSet presAssocID="{C0B9E348-8B0E-4B9E-9F8C-92C3E42ECD2E}" presName="horz2" presStyleCnt="0"/>
      <dgm:spPr/>
    </dgm:pt>
    <dgm:pt modelId="{95A20B60-96B0-489B-879B-63E1DD1C4384}" type="pres">
      <dgm:prSet presAssocID="{C0B9E348-8B0E-4B9E-9F8C-92C3E42ECD2E}" presName="horzSpace2" presStyleCnt="0"/>
      <dgm:spPr/>
    </dgm:pt>
    <dgm:pt modelId="{90877CEA-810B-4EDA-AAE7-A8B4F714DCBB}" type="pres">
      <dgm:prSet presAssocID="{C0B9E348-8B0E-4B9E-9F8C-92C3E42ECD2E}" presName="tx2" presStyleLbl="revTx" presStyleIdx="1" presStyleCnt="6"/>
      <dgm:spPr/>
    </dgm:pt>
    <dgm:pt modelId="{9B502D02-2D1A-4A18-B1D5-B0F25D92D234}" type="pres">
      <dgm:prSet presAssocID="{C0B9E348-8B0E-4B9E-9F8C-92C3E42ECD2E}" presName="vert2" presStyleCnt="0"/>
      <dgm:spPr/>
    </dgm:pt>
    <dgm:pt modelId="{7373EA3C-5A48-4F48-8488-2F385F13A65F}" type="pres">
      <dgm:prSet presAssocID="{C0B9E348-8B0E-4B9E-9F8C-92C3E42ECD2E}" presName="thinLine2b" presStyleLbl="callout" presStyleIdx="0" presStyleCnt="5"/>
      <dgm:spPr/>
    </dgm:pt>
    <dgm:pt modelId="{4422EC70-643B-4B46-B0D6-FC76C9AE3E81}" type="pres">
      <dgm:prSet presAssocID="{C0B9E348-8B0E-4B9E-9F8C-92C3E42ECD2E}" presName="vertSpace2b" presStyleCnt="0"/>
      <dgm:spPr/>
    </dgm:pt>
    <dgm:pt modelId="{25DFDDC6-F305-4D4E-BE82-7D1F8B6ED16D}" type="pres">
      <dgm:prSet presAssocID="{3273AE39-3354-40C7-A3B9-0C6519E75E33}" presName="horz2" presStyleCnt="0"/>
      <dgm:spPr/>
    </dgm:pt>
    <dgm:pt modelId="{7B5DC5E0-B9A2-460C-8194-499B99D98DFF}" type="pres">
      <dgm:prSet presAssocID="{3273AE39-3354-40C7-A3B9-0C6519E75E33}" presName="horzSpace2" presStyleCnt="0"/>
      <dgm:spPr/>
    </dgm:pt>
    <dgm:pt modelId="{BF8B33A4-8A8E-420E-9B16-E6EAC6C5893C}" type="pres">
      <dgm:prSet presAssocID="{3273AE39-3354-40C7-A3B9-0C6519E75E33}" presName="tx2" presStyleLbl="revTx" presStyleIdx="2" presStyleCnt="6"/>
      <dgm:spPr/>
    </dgm:pt>
    <dgm:pt modelId="{5D28A4D1-A47B-4C22-8CBA-F4085A7B45C1}" type="pres">
      <dgm:prSet presAssocID="{3273AE39-3354-40C7-A3B9-0C6519E75E33}" presName="vert2" presStyleCnt="0"/>
      <dgm:spPr/>
    </dgm:pt>
    <dgm:pt modelId="{83CDC1D8-802D-4AA5-9DEE-F59B03FAA6A3}" type="pres">
      <dgm:prSet presAssocID="{3273AE39-3354-40C7-A3B9-0C6519E75E33}" presName="thinLine2b" presStyleLbl="callout" presStyleIdx="1" presStyleCnt="5"/>
      <dgm:spPr/>
    </dgm:pt>
    <dgm:pt modelId="{B4FF2679-FFBD-4BE7-8009-160249D85162}" type="pres">
      <dgm:prSet presAssocID="{3273AE39-3354-40C7-A3B9-0C6519E75E33}" presName="vertSpace2b" presStyleCnt="0"/>
      <dgm:spPr/>
    </dgm:pt>
    <dgm:pt modelId="{90CCD550-1702-43E4-9E28-C26633E1CFB3}" type="pres">
      <dgm:prSet presAssocID="{8CE1C134-CFEE-4C12-9AD3-E6C2EA28CE42}" presName="horz2" presStyleCnt="0"/>
      <dgm:spPr/>
    </dgm:pt>
    <dgm:pt modelId="{283EEC23-A7D4-4EE9-BBDE-A410667E0E68}" type="pres">
      <dgm:prSet presAssocID="{8CE1C134-CFEE-4C12-9AD3-E6C2EA28CE42}" presName="horzSpace2" presStyleCnt="0"/>
      <dgm:spPr/>
    </dgm:pt>
    <dgm:pt modelId="{0C6DD43A-A89D-49E8-9D63-6195EF66EF76}" type="pres">
      <dgm:prSet presAssocID="{8CE1C134-CFEE-4C12-9AD3-E6C2EA28CE42}" presName="tx2" presStyleLbl="revTx" presStyleIdx="3" presStyleCnt="6"/>
      <dgm:spPr/>
    </dgm:pt>
    <dgm:pt modelId="{2E1483DB-81A4-4A94-8F7C-74AC8FB37C1C}" type="pres">
      <dgm:prSet presAssocID="{8CE1C134-CFEE-4C12-9AD3-E6C2EA28CE42}" presName="vert2" presStyleCnt="0"/>
      <dgm:spPr/>
    </dgm:pt>
    <dgm:pt modelId="{317B7B48-02F8-4D1E-A7A0-F08D047AC76D}" type="pres">
      <dgm:prSet presAssocID="{8CE1C134-CFEE-4C12-9AD3-E6C2EA28CE42}" presName="thinLine2b" presStyleLbl="callout" presStyleIdx="2" presStyleCnt="5"/>
      <dgm:spPr/>
    </dgm:pt>
    <dgm:pt modelId="{3CFF1EF9-017B-473B-8096-8688DCA03A70}" type="pres">
      <dgm:prSet presAssocID="{8CE1C134-CFEE-4C12-9AD3-E6C2EA28CE42}" presName="vertSpace2b" presStyleCnt="0"/>
      <dgm:spPr/>
    </dgm:pt>
    <dgm:pt modelId="{17663E09-ECF3-4233-B672-FF1564818F87}" type="pres">
      <dgm:prSet presAssocID="{E87CB632-E063-4034-A14A-37AA8F39FDB3}" presName="horz2" presStyleCnt="0"/>
      <dgm:spPr/>
    </dgm:pt>
    <dgm:pt modelId="{7C20F541-AA9A-4F47-834D-E0CD8B70541C}" type="pres">
      <dgm:prSet presAssocID="{E87CB632-E063-4034-A14A-37AA8F39FDB3}" presName="horzSpace2" presStyleCnt="0"/>
      <dgm:spPr/>
    </dgm:pt>
    <dgm:pt modelId="{381C0118-5AD9-4746-BC4C-6F3E82A6FF2E}" type="pres">
      <dgm:prSet presAssocID="{E87CB632-E063-4034-A14A-37AA8F39FDB3}" presName="tx2" presStyleLbl="revTx" presStyleIdx="4" presStyleCnt="6"/>
      <dgm:spPr/>
    </dgm:pt>
    <dgm:pt modelId="{7F5A85E8-6EA1-40BA-A1F5-A8712814D4E7}" type="pres">
      <dgm:prSet presAssocID="{E87CB632-E063-4034-A14A-37AA8F39FDB3}" presName="vert2" presStyleCnt="0"/>
      <dgm:spPr/>
    </dgm:pt>
    <dgm:pt modelId="{35F51FF9-8552-4810-9DAD-0DDF7D3C7F29}" type="pres">
      <dgm:prSet presAssocID="{E87CB632-E063-4034-A14A-37AA8F39FDB3}" presName="thinLine2b" presStyleLbl="callout" presStyleIdx="3" presStyleCnt="5"/>
      <dgm:spPr/>
    </dgm:pt>
    <dgm:pt modelId="{BDFAA114-61A5-494C-ADBB-0C485354635A}" type="pres">
      <dgm:prSet presAssocID="{E87CB632-E063-4034-A14A-37AA8F39FDB3}" presName="vertSpace2b" presStyleCnt="0"/>
      <dgm:spPr/>
    </dgm:pt>
    <dgm:pt modelId="{98166AC5-357B-4083-8741-A90D8A9EAB7B}" type="pres">
      <dgm:prSet presAssocID="{6A4D9601-B8F4-43C1-8122-30543DF2F772}" presName="horz2" presStyleCnt="0"/>
      <dgm:spPr/>
    </dgm:pt>
    <dgm:pt modelId="{1AD50185-04C8-4BD7-A8C7-DFFF930375CA}" type="pres">
      <dgm:prSet presAssocID="{6A4D9601-B8F4-43C1-8122-30543DF2F772}" presName="horzSpace2" presStyleCnt="0"/>
      <dgm:spPr/>
    </dgm:pt>
    <dgm:pt modelId="{6F954099-205C-425D-9404-B7C249D0C6C8}" type="pres">
      <dgm:prSet presAssocID="{6A4D9601-B8F4-43C1-8122-30543DF2F772}" presName="tx2" presStyleLbl="revTx" presStyleIdx="5" presStyleCnt="6"/>
      <dgm:spPr/>
    </dgm:pt>
    <dgm:pt modelId="{D675ADAC-5736-47CC-BDF5-603111AA5BC0}" type="pres">
      <dgm:prSet presAssocID="{6A4D9601-B8F4-43C1-8122-30543DF2F772}" presName="vert2" presStyleCnt="0"/>
      <dgm:spPr/>
    </dgm:pt>
    <dgm:pt modelId="{E9798C0F-478F-4A8D-9E9D-1F5C9254824B}" type="pres">
      <dgm:prSet presAssocID="{6A4D9601-B8F4-43C1-8122-30543DF2F772}" presName="thinLine2b" presStyleLbl="callout" presStyleIdx="4" presStyleCnt="5"/>
      <dgm:spPr/>
    </dgm:pt>
    <dgm:pt modelId="{5CCC6440-F429-4968-BE54-E6FCB3B6338D}" type="pres">
      <dgm:prSet presAssocID="{6A4D9601-B8F4-43C1-8122-30543DF2F772}" presName="vertSpace2b" presStyleCnt="0"/>
      <dgm:spPr/>
    </dgm:pt>
  </dgm:ptLst>
  <dgm:cxnLst>
    <dgm:cxn modelId="{ED056307-3C12-4867-A82A-D07F74FC99F6}" type="presOf" srcId="{8CE1C134-CFEE-4C12-9AD3-E6C2EA28CE42}" destId="{0C6DD43A-A89D-49E8-9D63-6195EF66EF76}" srcOrd="0" destOrd="0" presId="urn:microsoft.com/office/officeart/2008/layout/LinedList"/>
    <dgm:cxn modelId="{09707808-7907-44EC-B50B-411E659FD260}" type="presOf" srcId="{E87CB632-E063-4034-A14A-37AA8F39FDB3}" destId="{381C0118-5AD9-4746-BC4C-6F3E82A6FF2E}" srcOrd="0" destOrd="0" presId="urn:microsoft.com/office/officeart/2008/layout/LinedList"/>
    <dgm:cxn modelId="{9916030F-631D-4352-A450-D36DFF8090F3}" type="presOf" srcId="{5DC63DDC-1446-4524-B013-0B0CDBAF4403}" destId="{C995A853-EA04-4193-A6F4-1F7E117089D2}" srcOrd="0" destOrd="0" presId="urn:microsoft.com/office/officeart/2008/layout/LinedList"/>
    <dgm:cxn modelId="{29BB2C35-F4D5-4281-B556-7A2EE2918DC8}" type="presOf" srcId="{C0B9E348-8B0E-4B9E-9F8C-92C3E42ECD2E}" destId="{90877CEA-810B-4EDA-AAE7-A8B4F714DCBB}" srcOrd="0" destOrd="0" presId="urn:microsoft.com/office/officeart/2008/layout/LinedList"/>
    <dgm:cxn modelId="{8726443E-6435-4161-85CE-C209BEB0FBBD}" srcId="{5256D8CA-B06C-4945-9644-5D61661E169C}" destId="{C0B9E348-8B0E-4B9E-9F8C-92C3E42ECD2E}" srcOrd="0" destOrd="0" parTransId="{DEB4BD83-9259-4513-86E2-FA3047453073}" sibTransId="{944B346B-E589-41FB-A1C5-C3D0780A912D}"/>
    <dgm:cxn modelId="{6EA84A63-F3C0-4972-BF85-CEA8ED1F59BC}" srcId="{5256D8CA-B06C-4945-9644-5D61661E169C}" destId="{3273AE39-3354-40C7-A3B9-0C6519E75E33}" srcOrd="1" destOrd="0" parTransId="{FB62E2BA-3EE4-4300-8EEC-8EC640118B69}" sibTransId="{BF06CF97-9C6C-46A3-BD48-3939DAA232D6}"/>
    <dgm:cxn modelId="{20A18C71-1DD8-4FA3-8410-1F51F5EAB9B8}" type="presOf" srcId="{3273AE39-3354-40C7-A3B9-0C6519E75E33}" destId="{BF8B33A4-8A8E-420E-9B16-E6EAC6C5893C}" srcOrd="0" destOrd="0" presId="urn:microsoft.com/office/officeart/2008/layout/LinedList"/>
    <dgm:cxn modelId="{8C863357-9054-44ED-BD56-242D6C25367D}" srcId="{5256D8CA-B06C-4945-9644-5D61661E169C}" destId="{E87CB632-E063-4034-A14A-37AA8F39FDB3}" srcOrd="3" destOrd="0" parTransId="{8C5D644D-6668-46E1-81F6-2AFF62D277E2}" sibTransId="{9431FAFD-5D82-4ACF-8F61-3D3C19675CA1}"/>
    <dgm:cxn modelId="{2ED74E77-0A81-45CD-8301-D0EDB0E65EA3}" srcId="{5DC63DDC-1446-4524-B013-0B0CDBAF4403}" destId="{5256D8CA-B06C-4945-9644-5D61661E169C}" srcOrd="0" destOrd="0" parTransId="{BA8F2BD3-79E1-4F5B-91A9-E4E1CA21CC24}" sibTransId="{02731892-163E-4BA4-823A-DCBE10ED627A}"/>
    <dgm:cxn modelId="{5EEB5C88-4CD3-4E91-A4BF-3F0E405B360D}" type="presOf" srcId="{5256D8CA-B06C-4945-9644-5D61661E169C}" destId="{DE01F3EE-9DEB-4B6B-B9C4-5CCFCF612614}" srcOrd="0" destOrd="0" presId="urn:microsoft.com/office/officeart/2008/layout/LinedList"/>
    <dgm:cxn modelId="{252839AE-69B7-4D86-AB57-E139ACE186B9}" type="presOf" srcId="{6A4D9601-B8F4-43C1-8122-30543DF2F772}" destId="{6F954099-205C-425D-9404-B7C249D0C6C8}" srcOrd="0" destOrd="0" presId="urn:microsoft.com/office/officeart/2008/layout/LinedList"/>
    <dgm:cxn modelId="{822C8AC1-0AA9-44F7-89E9-4B0B757D9D3E}" srcId="{5256D8CA-B06C-4945-9644-5D61661E169C}" destId="{8CE1C134-CFEE-4C12-9AD3-E6C2EA28CE42}" srcOrd="2" destOrd="0" parTransId="{A32F2D65-BAC5-44B7-9756-133265857226}" sibTransId="{71A27459-586D-4E37-97C9-57E447ADA400}"/>
    <dgm:cxn modelId="{06A00DE0-D37B-4A63-B03C-647F52EFA3F3}" srcId="{5256D8CA-B06C-4945-9644-5D61661E169C}" destId="{6A4D9601-B8F4-43C1-8122-30543DF2F772}" srcOrd="4" destOrd="0" parTransId="{DD5A938E-5EF4-4562-9D84-F48B60BE52F0}" sibTransId="{3FB2FBA0-DA15-4B94-8149-A389765D08E5}"/>
    <dgm:cxn modelId="{F30982A9-D203-4548-9534-0D2C503992AD}" type="presParOf" srcId="{C995A853-EA04-4193-A6F4-1F7E117089D2}" destId="{D64790E2-8CB2-44C5-80F8-A8248AED1ACC}" srcOrd="0" destOrd="0" presId="urn:microsoft.com/office/officeart/2008/layout/LinedList"/>
    <dgm:cxn modelId="{2B7A9A55-AD39-441D-BB3F-487A0054EA82}" type="presParOf" srcId="{C995A853-EA04-4193-A6F4-1F7E117089D2}" destId="{3DBFFEA9-390F-412E-97BD-58022E83A2E7}" srcOrd="1" destOrd="0" presId="urn:microsoft.com/office/officeart/2008/layout/LinedList"/>
    <dgm:cxn modelId="{A564266E-422F-496B-AF35-D71FF00835F2}" type="presParOf" srcId="{3DBFFEA9-390F-412E-97BD-58022E83A2E7}" destId="{DE01F3EE-9DEB-4B6B-B9C4-5CCFCF612614}" srcOrd="0" destOrd="0" presId="urn:microsoft.com/office/officeart/2008/layout/LinedList"/>
    <dgm:cxn modelId="{4F1BF09A-AD00-4557-B4D8-19F169A19A97}" type="presParOf" srcId="{3DBFFEA9-390F-412E-97BD-58022E83A2E7}" destId="{0DA471BC-852B-4B54-9264-2C61C9FD5934}" srcOrd="1" destOrd="0" presId="urn:microsoft.com/office/officeart/2008/layout/LinedList"/>
    <dgm:cxn modelId="{1FAA3A41-84C8-4FBC-8E10-9AECB6B3B4CF}" type="presParOf" srcId="{0DA471BC-852B-4B54-9264-2C61C9FD5934}" destId="{B988B133-814E-44B7-B7BE-B4E30AA853D7}" srcOrd="0" destOrd="0" presId="urn:microsoft.com/office/officeart/2008/layout/LinedList"/>
    <dgm:cxn modelId="{05727401-8103-4D3E-9E5A-C95FCD130B37}" type="presParOf" srcId="{0DA471BC-852B-4B54-9264-2C61C9FD5934}" destId="{87EB9B01-4181-4B27-80F8-AB5475D734B1}" srcOrd="1" destOrd="0" presId="urn:microsoft.com/office/officeart/2008/layout/LinedList"/>
    <dgm:cxn modelId="{ED636252-0F51-442B-815B-9A2B1B466B2F}" type="presParOf" srcId="{87EB9B01-4181-4B27-80F8-AB5475D734B1}" destId="{95A20B60-96B0-489B-879B-63E1DD1C4384}" srcOrd="0" destOrd="0" presId="urn:microsoft.com/office/officeart/2008/layout/LinedList"/>
    <dgm:cxn modelId="{A6CF568A-6264-4CB0-A0EA-B9C37D411E8F}" type="presParOf" srcId="{87EB9B01-4181-4B27-80F8-AB5475D734B1}" destId="{90877CEA-810B-4EDA-AAE7-A8B4F714DCBB}" srcOrd="1" destOrd="0" presId="urn:microsoft.com/office/officeart/2008/layout/LinedList"/>
    <dgm:cxn modelId="{4CBD0982-945F-4537-B9E9-8F6FA6435577}" type="presParOf" srcId="{87EB9B01-4181-4B27-80F8-AB5475D734B1}" destId="{9B502D02-2D1A-4A18-B1D5-B0F25D92D234}" srcOrd="2" destOrd="0" presId="urn:microsoft.com/office/officeart/2008/layout/LinedList"/>
    <dgm:cxn modelId="{9CDC060C-5125-4CF1-9626-30F4005BE77E}" type="presParOf" srcId="{0DA471BC-852B-4B54-9264-2C61C9FD5934}" destId="{7373EA3C-5A48-4F48-8488-2F385F13A65F}" srcOrd="2" destOrd="0" presId="urn:microsoft.com/office/officeart/2008/layout/LinedList"/>
    <dgm:cxn modelId="{2B254471-9F8D-4A76-BDBA-54148554741D}" type="presParOf" srcId="{0DA471BC-852B-4B54-9264-2C61C9FD5934}" destId="{4422EC70-643B-4B46-B0D6-FC76C9AE3E81}" srcOrd="3" destOrd="0" presId="urn:microsoft.com/office/officeart/2008/layout/LinedList"/>
    <dgm:cxn modelId="{0CD56D24-9C73-4759-8BEF-60C42CB125DC}" type="presParOf" srcId="{0DA471BC-852B-4B54-9264-2C61C9FD5934}" destId="{25DFDDC6-F305-4D4E-BE82-7D1F8B6ED16D}" srcOrd="4" destOrd="0" presId="urn:microsoft.com/office/officeart/2008/layout/LinedList"/>
    <dgm:cxn modelId="{4940751A-97D6-4F54-A231-2F716ACAFA84}" type="presParOf" srcId="{25DFDDC6-F305-4D4E-BE82-7D1F8B6ED16D}" destId="{7B5DC5E0-B9A2-460C-8194-499B99D98DFF}" srcOrd="0" destOrd="0" presId="urn:microsoft.com/office/officeart/2008/layout/LinedList"/>
    <dgm:cxn modelId="{F1E6B804-6BCF-45B7-AA41-B8B3635BC160}" type="presParOf" srcId="{25DFDDC6-F305-4D4E-BE82-7D1F8B6ED16D}" destId="{BF8B33A4-8A8E-420E-9B16-E6EAC6C5893C}" srcOrd="1" destOrd="0" presId="urn:microsoft.com/office/officeart/2008/layout/LinedList"/>
    <dgm:cxn modelId="{B641DCA9-44A4-44D5-860C-02BFE2437DBE}" type="presParOf" srcId="{25DFDDC6-F305-4D4E-BE82-7D1F8B6ED16D}" destId="{5D28A4D1-A47B-4C22-8CBA-F4085A7B45C1}" srcOrd="2" destOrd="0" presId="urn:microsoft.com/office/officeart/2008/layout/LinedList"/>
    <dgm:cxn modelId="{DDD54617-D49E-400D-9B13-24BB616C88B3}" type="presParOf" srcId="{0DA471BC-852B-4B54-9264-2C61C9FD5934}" destId="{83CDC1D8-802D-4AA5-9DEE-F59B03FAA6A3}" srcOrd="5" destOrd="0" presId="urn:microsoft.com/office/officeart/2008/layout/LinedList"/>
    <dgm:cxn modelId="{D9278A84-95CB-4364-A250-18B005AF4C32}" type="presParOf" srcId="{0DA471BC-852B-4B54-9264-2C61C9FD5934}" destId="{B4FF2679-FFBD-4BE7-8009-160249D85162}" srcOrd="6" destOrd="0" presId="urn:microsoft.com/office/officeart/2008/layout/LinedList"/>
    <dgm:cxn modelId="{DCCC4FF5-F3C5-4956-854C-FD69247D758D}" type="presParOf" srcId="{0DA471BC-852B-4B54-9264-2C61C9FD5934}" destId="{90CCD550-1702-43E4-9E28-C26633E1CFB3}" srcOrd="7" destOrd="0" presId="urn:microsoft.com/office/officeart/2008/layout/LinedList"/>
    <dgm:cxn modelId="{9736F20C-064D-4FC9-BE85-1678DCD98BED}" type="presParOf" srcId="{90CCD550-1702-43E4-9E28-C26633E1CFB3}" destId="{283EEC23-A7D4-4EE9-BBDE-A410667E0E68}" srcOrd="0" destOrd="0" presId="urn:microsoft.com/office/officeart/2008/layout/LinedList"/>
    <dgm:cxn modelId="{07C62A7B-3160-4CFD-81FD-8DAAF4DC0F41}" type="presParOf" srcId="{90CCD550-1702-43E4-9E28-C26633E1CFB3}" destId="{0C6DD43A-A89D-49E8-9D63-6195EF66EF76}" srcOrd="1" destOrd="0" presId="urn:microsoft.com/office/officeart/2008/layout/LinedList"/>
    <dgm:cxn modelId="{DDB97547-B6E3-45A0-9768-BA57DC6EFB70}" type="presParOf" srcId="{90CCD550-1702-43E4-9E28-C26633E1CFB3}" destId="{2E1483DB-81A4-4A94-8F7C-74AC8FB37C1C}" srcOrd="2" destOrd="0" presId="urn:microsoft.com/office/officeart/2008/layout/LinedList"/>
    <dgm:cxn modelId="{8DAE98A5-ABE3-4ACA-B7C3-51407B06511F}" type="presParOf" srcId="{0DA471BC-852B-4B54-9264-2C61C9FD5934}" destId="{317B7B48-02F8-4D1E-A7A0-F08D047AC76D}" srcOrd="8" destOrd="0" presId="urn:microsoft.com/office/officeart/2008/layout/LinedList"/>
    <dgm:cxn modelId="{2E6E957C-70E2-4216-A9AD-1BB9637C200C}" type="presParOf" srcId="{0DA471BC-852B-4B54-9264-2C61C9FD5934}" destId="{3CFF1EF9-017B-473B-8096-8688DCA03A70}" srcOrd="9" destOrd="0" presId="urn:microsoft.com/office/officeart/2008/layout/LinedList"/>
    <dgm:cxn modelId="{A6541320-457D-4A2A-8D71-82B10E26DC98}" type="presParOf" srcId="{0DA471BC-852B-4B54-9264-2C61C9FD5934}" destId="{17663E09-ECF3-4233-B672-FF1564818F87}" srcOrd="10" destOrd="0" presId="urn:microsoft.com/office/officeart/2008/layout/LinedList"/>
    <dgm:cxn modelId="{5BB776FA-CFF4-403E-AA14-A5BB0EE27BD8}" type="presParOf" srcId="{17663E09-ECF3-4233-B672-FF1564818F87}" destId="{7C20F541-AA9A-4F47-834D-E0CD8B70541C}" srcOrd="0" destOrd="0" presId="urn:microsoft.com/office/officeart/2008/layout/LinedList"/>
    <dgm:cxn modelId="{F7E9B0C4-FA51-4790-AE53-78D582E5852D}" type="presParOf" srcId="{17663E09-ECF3-4233-B672-FF1564818F87}" destId="{381C0118-5AD9-4746-BC4C-6F3E82A6FF2E}" srcOrd="1" destOrd="0" presId="urn:microsoft.com/office/officeart/2008/layout/LinedList"/>
    <dgm:cxn modelId="{7CAC2B4E-5584-456E-9876-5263C80240C4}" type="presParOf" srcId="{17663E09-ECF3-4233-B672-FF1564818F87}" destId="{7F5A85E8-6EA1-40BA-A1F5-A8712814D4E7}" srcOrd="2" destOrd="0" presId="urn:microsoft.com/office/officeart/2008/layout/LinedList"/>
    <dgm:cxn modelId="{B810EF40-73D1-41DE-B733-C6EBBCA13BF0}" type="presParOf" srcId="{0DA471BC-852B-4B54-9264-2C61C9FD5934}" destId="{35F51FF9-8552-4810-9DAD-0DDF7D3C7F29}" srcOrd="11" destOrd="0" presId="urn:microsoft.com/office/officeart/2008/layout/LinedList"/>
    <dgm:cxn modelId="{7C5973A0-BD1F-433A-8401-9E3BA221EC31}" type="presParOf" srcId="{0DA471BC-852B-4B54-9264-2C61C9FD5934}" destId="{BDFAA114-61A5-494C-ADBB-0C485354635A}" srcOrd="12" destOrd="0" presId="urn:microsoft.com/office/officeart/2008/layout/LinedList"/>
    <dgm:cxn modelId="{2A662A34-F186-4424-9153-8211C0DE017F}" type="presParOf" srcId="{0DA471BC-852B-4B54-9264-2C61C9FD5934}" destId="{98166AC5-357B-4083-8741-A90D8A9EAB7B}" srcOrd="13" destOrd="0" presId="urn:microsoft.com/office/officeart/2008/layout/LinedList"/>
    <dgm:cxn modelId="{8D4F047B-F48B-4C86-884D-8D38A380FC91}" type="presParOf" srcId="{98166AC5-357B-4083-8741-A90D8A9EAB7B}" destId="{1AD50185-04C8-4BD7-A8C7-DFFF930375CA}" srcOrd="0" destOrd="0" presId="urn:microsoft.com/office/officeart/2008/layout/LinedList"/>
    <dgm:cxn modelId="{0E4814F4-3080-45C0-AC71-6FD045B87500}" type="presParOf" srcId="{98166AC5-357B-4083-8741-A90D8A9EAB7B}" destId="{6F954099-205C-425D-9404-B7C249D0C6C8}" srcOrd="1" destOrd="0" presId="urn:microsoft.com/office/officeart/2008/layout/LinedList"/>
    <dgm:cxn modelId="{C01AF537-554F-4CD8-AA92-6C6355D6974D}" type="presParOf" srcId="{98166AC5-357B-4083-8741-A90D8A9EAB7B}" destId="{D675ADAC-5736-47CC-BDF5-603111AA5BC0}" srcOrd="2" destOrd="0" presId="urn:microsoft.com/office/officeart/2008/layout/LinedList"/>
    <dgm:cxn modelId="{FA892C48-5984-4EAC-AF3E-D2DBAD3AD97D}" type="presParOf" srcId="{0DA471BC-852B-4B54-9264-2C61C9FD5934}" destId="{E9798C0F-478F-4A8D-9E9D-1F5C9254824B}" srcOrd="14" destOrd="0" presId="urn:microsoft.com/office/officeart/2008/layout/LinedList"/>
    <dgm:cxn modelId="{A3FAFFBD-E215-4843-94BC-F996D0DAAF0C}" type="presParOf" srcId="{0DA471BC-852B-4B54-9264-2C61C9FD5934}" destId="{5CCC6440-F429-4968-BE54-E6FCB3B6338D}" srcOrd="15"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596989D4-8ACF-427C-83BA-DA04DC9524FC}" type="doc">
      <dgm:prSet loTypeId="urn:microsoft.com/office/officeart/2008/layout/VerticalAccentList" loCatId="list" qsTypeId="urn:microsoft.com/office/officeart/2005/8/quickstyle/simple1" qsCatId="simple" csTypeId="urn:microsoft.com/office/officeart/2005/8/colors/accent1_2" csCatId="accent1"/>
      <dgm:spPr/>
      <dgm:t>
        <a:bodyPr/>
        <a:lstStyle/>
        <a:p>
          <a:endParaRPr lang="en-US"/>
        </a:p>
      </dgm:t>
    </dgm:pt>
    <dgm:pt modelId="{67208D12-D985-43B3-B12A-497351D9C50F}">
      <dgm:prSet/>
      <dgm:spPr/>
      <dgm:t>
        <a:bodyPr/>
        <a:lstStyle/>
        <a:p>
          <a:r>
            <a:t>Trafik simülasyonu ve modelleme, Ankara'daki ulaşım planlamacılarının ulaşım ağlarının performansını değerlendirmeleri ve iyileştirilecek alanları belirlemeleri için gerekli araçlardır. PTV Visum, dinamik trafik ataması ve toplu taşıma simülasyonu gibi gelişmiş özellikleri nedeniyle trafik simülasyonu ve modellemesi için en iyi programlardan biridir.</a:t>
          </a:r>
        </a:p>
      </dgm:t>
    </dgm:pt>
    <dgm:pt modelId="{CDF19B88-5005-4365-945C-90492F5B8E19}" type="parTrans" cxnId="{FCCDBF77-D2C0-4C7C-81E8-C7C2A7A77860}">
      <dgm:prSet/>
      <dgm:spPr/>
      <dgm:t>
        <a:bodyPr/>
        <a:lstStyle/>
        <a:p>
          <a:endParaRPr lang="en-US"/>
        </a:p>
      </dgm:t>
    </dgm:pt>
    <dgm:pt modelId="{854396EA-557F-4A12-863F-5AC979B0874C}" type="sibTrans" cxnId="{FCCDBF77-D2C0-4C7C-81E8-C7C2A7A77860}">
      <dgm:prSet/>
      <dgm:spPr/>
      <dgm:t>
        <a:bodyPr/>
        <a:lstStyle/>
        <a:p>
          <a:endParaRPr lang="en-US"/>
        </a:p>
      </dgm:t>
    </dgm:pt>
    <dgm:pt modelId="{750715BA-848D-43CA-AA79-A7BDD7046133}">
      <dgm:prSet/>
      <dgm:spPr/>
      <dgm:t>
        <a:bodyPr/>
        <a:lstStyle/>
        <a:p>
          <a:r>
            <a:t>Ankara'da trafik simülasyonu ve modelleme araçlarını kullanmanın temel hususları şunlardır:</a:t>
          </a:r>
        </a:p>
      </dgm:t>
    </dgm:pt>
    <dgm:pt modelId="{3ED00319-3C18-4E5C-8D44-396BCE452696}" type="parTrans" cxnId="{F43A232A-7587-4A7C-895D-1D3A27578E5F}">
      <dgm:prSet/>
      <dgm:spPr/>
      <dgm:t>
        <a:bodyPr/>
        <a:lstStyle/>
        <a:p>
          <a:endParaRPr lang="en-US"/>
        </a:p>
      </dgm:t>
    </dgm:pt>
    <dgm:pt modelId="{0A1D73AA-EEA4-4765-B105-B8A94A0EB9F0}" type="sibTrans" cxnId="{F43A232A-7587-4A7C-895D-1D3A27578E5F}">
      <dgm:prSet/>
      <dgm:spPr/>
      <dgm:t>
        <a:bodyPr/>
        <a:lstStyle/>
        <a:p>
          <a:endParaRPr lang="en-US"/>
        </a:p>
      </dgm:t>
    </dgm:pt>
    <dgm:pt modelId="{07B4CC03-52B6-4BFD-B6C5-FDF0A1F0654F}">
      <dgm:prSet/>
      <dgm:spPr/>
      <dgm:t>
        <a:bodyPr/>
        <a:lstStyle/>
        <a:p>
          <a:r>
            <a:t>Ağ tasarımı: Ulaşım ağının Ankara'daki gerçek dünya koşullarını doğru bir şekilde yansıtmasını sağlamak</a:t>
          </a:r>
        </a:p>
      </dgm:t>
    </dgm:pt>
    <dgm:pt modelId="{7DE9DFDA-C769-47BC-A3FE-B523A9F154B3}" type="parTrans" cxnId="{16B621CD-FB42-4357-886C-3C2E26884CB9}">
      <dgm:prSet/>
      <dgm:spPr/>
      <dgm:t>
        <a:bodyPr/>
        <a:lstStyle/>
        <a:p>
          <a:endParaRPr lang="en-US"/>
        </a:p>
      </dgm:t>
    </dgm:pt>
    <dgm:pt modelId="{647C29EC-B2BF-4981-B0C4-AD59412E430F}" type="sibTrans" cxnId="{16B621CD-FB42-4357-886C-3C2E26884CB9}">
      <dgm:prSet/>
      <dgm:spPr/>
      <dgm:t>
        <a:bodyPr/>
        <a:lstStyle/>
        <a:p>
          <a:endParaRPr lang="en-US"/>
        </a:p>
      </dgm:t>
    </dgm:pt>
    <dgm:pt modelId="{28D3F8D7-8EC9-43A6-AC91-21DDF1412130}">
      <dgm:prSet/>
      <dgm:spPr/>
      <dgm:t>
        <a:bodyPr/>
        <a:lstStyle/>
        <a:p>
          <a:r>
            <a:t>Trafik akışı analizi: Trafik sıkışıklığı sıcak noktalarını ve darboğazları belirleme</a:t>
          </a:r>
        </a:p>
      </dgm:t>
    </dgm:pt>
    <dgm:pt modelId="{C4D36F76-6573-48F7-9B9B-743B9A048BE2}" type="parTrans" cxnId="{AAA6E5BA-00F1-469A-A626-E3D4A2E3CA12}">
      <dgm:prSet/>
      <dgm:spPr/>
      <dgm:t>
        <a:bodyPr/>
        <a:lstStyle/>
        <a:p>
          <a:endParaRPr lang="en-US"/>
        </a:p>
      </dgm:t>
    </dgm:pt>
    <dgm:pt modelId="{933FFCA3-A1AB-4A9B-B377-0C624A71752A}" type="sibTrans" cxnId="{AAA6E5BA-00F1-469A-A626-E3D4A2E3CA12}">
      <dgm:prSet/>
      <dgm:spPr/>
      <dgm:t>
        <a:bodyPr/>
        <a:lstStyle/>
        <a:p>
          <a:endParaRPr lang="en-US"/>
        </a:p>
      </dgm:t>
    </dgm:pt>
    <dgm:pt modelId="{DFBFE029-2D15-4964-9645-DAB3EF46F749}">
      <dgm:prSet/>
      <dgm:spPr/>
      <dgm:t>
        <a:bodyPr/>
        <a:lstStyle/>
        <a:p>
          <a:r>
            <a:t>Senaryo analizi: Ulaşım projelerinin etkilerini değerlendirmek ve etkili çözümler geliştirmek için çeşitli senaryoların simüle edilmesi</a:t>
          </a:r>
        </a:p>
      </dgm:t>
    </dgm:pt>
    <dgm:pt modelId="{C8AFE238-40D9-4115-9CFD-A5D76A9513FC}" type="parTrans" cxnId="{15C17F42-671E-4742-8612-3E8A6FE9CF1F}">
      <dgm:prSet/>
      <dgm:spPr/>
      <dgm:t>
        <a:bodyPr/>
        <a:lstStyle/>
        <a:p>
          <a:endParaRPr lang="en-US"/>
        </a:p>
      </dgm:t>
    </dgm:pt>
    <dgm:pt modelId="{86802BD4-6950-4168-867B-495711C653C8}" type="sibTrans" cxnId="{15C17F42-671E-4742-8612-3E8A6FE9CF1F}">
      <dgm:prSet/>
      <dgm:spPr/>
      <dgm:t>
        <a:bodyPr/>
        <a:lstStyle/>
        <a:p>
          <a:endParaRPr lang="en-US"/>
        </a:p>
      </dgm:t>
    </dgm:pt>
    <dgm:pt modelId="{A4E7AF47-DAE0-4DD5-952A-3659E7C5779F}">
      <dgm:prSet/>
      <dgm:spPr/>
      <dgm:t>
        <a:bodyPr/>
        <a:lstStyle/>
        <a:p>
          <a:r>
            <a:t>PTV Visum gibi trafik simülasyon ve modelleme araçlarını kullanarak, Ankara'daki ulaşım planlamacıları trafik akışını iyileştirmek, tıkanıklığı azaltmak ve ulaşım ağının genel performansını artırmak için stratejiler geliştirebilir ve test edebilir.</a:t>
          </a:r>
        </a:p>
      </dgm:t>
    </dgm:pt>
    <dgm:pt modelId="{ED37AC26-5B82-4381-8469-82E37EFA2C37}" type="parTrans" cxnId="{A2375D5C-7BC9-4F7F-8A0F-D920F54A8541}">
      <dgm:prSet/>
      <dgm:spPr/>
      <dgm:t>
        <a:bodyPr/>
        <a:lstStyle/>
        <a:p>
          <a:endParaRPr lang="en-US"/>
        </a:p>
      </dgm:t>
    </dgm:pt>
    <dgm:pt modelId="{E65E0600-D05F-4817-A503-82861B075740}" type="sibTrans" cxnId="{A2375D5C-7BC9-4F7F-8A0F-D920F54A8541}">
      <dgm:prSet/>
      <dgm:spPr/>
      <dgm:t>
        <a:bodyPr/>
        <a:lstStyle/>
        <a:p>
          <a:endParaRPr lang="en-US"/>
        </a:p>
      </dgm:t>
    </dgm:pt>
    <dgm:pt modelId="{AEA8EF9E-497A-4CA1-9172-B8036CC69F4A}" type="pres">
      <dgm:prSet presAssocID="{596989D4-8ACF-427C-83BA-DA04DC9524FC}" presName="Name0" presStyleCnt="0">
        <dgm:presLayoutVars>
          <dgm:chMax/>
          <dgm:chPref/>
          <dgm:dir/>
        </dgm:presLayoutVars>
      </dgm:prSet>
      <dgm:spPr/>
    </dgm:pt>
    <dgm:pt modelId="{B11E7BCD-69FF-41AD-A2E2-E46A10A18BF2}" type="pres">
      <dgm:prSet presAssocID="{67208D12-D985-43B3-B12A-497351D9C50F}" presName="parenttextcomposite" presStyleCnt="0"/>
      <dgm:spPr/>
    </dgm:pt>
    <dgm:pt modelId="{88385688-240C-4737-AD85-32C89339F9B2}" type="pres">
      <dgm:prSet presAssocID="{67208D12-D985-43B3-B12A-497351D9C50F}" presName="parenttext" presStyleLbl="revTx" presStyleIdx="0" presStyleCnt="3">
        <dgm:presLayoutVars>
          <dgm:chMax/>
          <dgm:chPref val="2"/>
          <dgm:bulletEnabled val="1"/>
        </dgm:presLayoutVars>
      </dgm:prSet>
      <dgm:spPr/>
    </dgm:pt>
    <dgm:pt modelId="{116814DB-4ADB-4C41-BAC4-D9FD47DC1897}" type="pres">
      <dgm:prSet presAssocID="{67208D12-D985-43B3-B12A-497351D9C50F}" presName="parallelogramComposite" presStyleCnt="0"/>
      <dgm:spPr/>
    </dgm:pt>
    <dgm:pt modelId="{38B42A48-3EC1-4A33-AFAD-C8FFD9DED6C8}" type="pres">
      <dgm:prSet presAssocID="{67208D12-D985-43B3-B12A-497351D9C50F}" presName="parallelogram1" presStyleLbl="alignNode1" presStyleIdx="0" presStyleCnt="21"/>
      <dgm:spPr/>
    </dgm:pt>
    <dgm:pt modelId="{2EF91DAF-C792-453F-99EA-BEBEF4A32661}" type="pres">
      <dgm:prSet presAssocID="{67208D12-D985-43B3-B12A-497351D9C50F}" presName="parallelogram2" presStyleLbl="alignNode1" presStyleIdx="1" presStyleCnt="21"/>
      <dgm:spPr/>
    </dgm:pt>
    <dgm:pt modelId="{D7471746-95FE-4DFA-877A-897C6124FEBC}" type="pres">
      <dgm:prSet presAssocID="{67208D12-D985-43B3-B12A-497351D9C50F}" presName="parallelogram3" presStyleLbl="alignNode1" presStyleIdx="2" presStyleCnt="21"/>
      <dgm:spPr/>
    </dgm:pt>
    <dgm:pt modelId="{961F917B-767D-43A7-8DAF-CEF9662DAEEC}" type="pres">
      <dgm:prSet presAssocID="{67208D12-D985-43B3-B12A-497351D9C50F}" presName="parallelogram4" presStyleLbl="alignNode1" presStyleIdx="3" presStyleCnt="21"/>
      <dgm:spPr/>
    </dgm:pt>
    <dgm:pt modelId="{4D14FAB1-DEE9-4624-A6C5-1F6AC5AE539A}" type="pres">
      <dgm:prSet presAssocID="{67208D12-D985-43B3-B12A-497351D9C50F}" presName="parallelogram5" presStyleLbl="alignNode1" presStyleIdx="4" presStyleCnt="21"/>
      <dgm:spPr/>
    </dgm:pt>
    <dgm:pt modelId="{48663DBE-D70A-4E70-8A1C-E0C42C55A7B2}" type="pres">
      <dgm:prSet presAssocID="{67208D12-D985-43B3-B12A-497351D9C50F}" presName="parallelogram6" presStyleLbl="alignNode1" presStyleIdx="5" presStyleCnt="21"/>
      <dgm:spPr/>
    </dgm:pt>
    <dgm:pt modelId="{904448E3-88DF-4790-ABA0-419DCD12FDD0}" type="pres">
      <dgm:prSet presAssocID="{67208D12-D985-43B3-B12A-497351D9C50F}" presName="parallelogram7" presStyleLbl="alignNode1" presStyleIdx="6" presStyleCnt="21"/>
      <dgm:spPr/>
    </dgm:pt>
    <dgm:pt modelId="{AED91595-D74B-449B-8CF4-CAB0E9F3FBC1}" type="pres">
      <dgm:prSet presAssocID="{854396EA-557F-4A12-863F-5AC979B0874C}" presName="sibTrans" presStyleCnt="0"/>
      <dgm:spPr/>
    </dgm:pt>
    <dgm:pt modelId="{6E8134AB-ECBB-4B32-91EC-D7ED7C4996EC}" type="pres">
      <dgm:prSet presAssocID="{750715BA-848D-43CA-AA79-A7BDD7046133}" presName="parenttextcomposite" presStyleCnt="0"/>
      <dgm:spPr/>
    </dgm:pt>
    <dgm:pt modelId="{50016F27-2985-4914-AF0F-64F31E0D2944}" type="pres">
      <dgm:prSet presAssocID="{750715BA-848D-43CA-AA79-A7BDD7046133}" presName="parenttext" presStyleLbl="revTx" presStyleIdx="1" presStyleCnt="3">
        <dgm:presLayoutVars>
          <dgm:chMax/>
          <dgm:chPref val="2"/>
          <dgm:bulletEnabled val="1"/>
        </dgm:presLayoutVars>
      </dgm:prSet>
      <dgm:spPr/>
    </dgm:pt>
    <dgm:pt modelId="{A4910E72-1CC7-49DB-8CCC-58B8F22A3BDB}" type="pres">
      <dgm:prSet presAssocID="{750715BA-848D-43CA-AA79-A7BDD7046133}" presName="composite" presStyleCnt="0"/>
      <dgm:spPr/>
    </dgm:pt>
    <dgm:pt modelId="{F3AA3B35-7D97-4A56-88C4-D11A243CE8B5}" type="pres">
      <dgm:prSet presAssocID="{750715BA-848D-43CA-AA79-A7BDD7046133}" presName="chevron1" presStyleLbl="alignNode1" presStyleIdx="7" presStyleCnt="21"/>
      <dgm:spPr/>
    </dgm:pt>
    <dgm:pt modelId="{E0D08E7F-4473-43EE-99F1-624138E5B0D8}" type="pres">
      <dgm:prSet presAssocID="{750715BA-848D-43CA-AA79-A7BDD7046133}" presName="chevron2" presStyleLbl="alignNode1" presStyleIdx="8" presStyleCnt="21"/>
      <dgm:spPr/>
    </dgm:pt>
    <dgm:pt modelId="{2FFABD47-23FF-44E1-94D1-85429E07384E}" type="pres">
      <dgm:prSet presAssocID="{750715BA-848D-43CA-AA79-A7BDD7046133}" presName="chevron3" presStyleLbl="alignNode1" presStyleIdx="9" presStyleCnt="21"/>
      <dgm:spPr/>
    </dgm:pt>
    <dgm:pt modelId="{92A3AB31-4C23-4273-8616-6AF43EB33198}" type="pres">
      <dgm:prSet presAssocID="{750715BA-848D-43CA-AA79-A7BDD7046133}" presName="chevron4" presStyleLbl="alignNode1" presStyleIdx="10" presStyleCnt="21"/>
      <dgm:spPr/>
    </dgm:pt>
    <dgm:pt modelId="{DC7500A4-0214-402B-BA79-A10802F328B6}" type="pres">
      <dgm:prSet presAssocID="{750715BA-848D-43CA-AA79-A7BDD7046133}" presName="chevron5" presStyleLbl="alignNode1" presStyleIdx="11" presStyleCnt="21"/>
      <dgm:spPr/>
    </dgm:pt>
    <dgm:pt modelId="{95821D3A-78C3-43D0-852C-9BBB94F8129F}" type="pres">
      <dgm:prSet presAssocID="{750715BA-848D-43CA-AA79-A7BDD7046133}" presName="chevron6" presStyleLbl="alignNode1" presStyleIdx="12" presStyleCnt="21"/>
      <dgm:spPr/>
    </dgm:pt>
    <dgm:pt modelId="{D80BA2FE-DC4B-4416-99C4-3C4F495388B5}" type="pres">
      <dgm:prSet presAssocID="{750715BA-848D-43CA-AA79-A7BDD7046133}" presName="chevron7" presStyleLbl="alignNode1" presStyleIdx="13" presStyleCnt="21"/>
      <dgm:spPr/>
    </dgm:pt>
    <dgm:pt modelId="{3901AEBB-44EB-4520-9443-43B730AA7FB1}" type="pres">
      <dgm:prSet presAssocID="{750715BA-848D-43CA-AA79-A7BDD7046133}" presName="childtext" presStyleLbl="solidFgAcc1" presStyleIdx="0" presStyleCnt="1">
        <dgm:presLayoutVars>
          <dgm:chMax/>
          <dgm:chPref val="0"/>
          <dgm:bulletEnabled val="1"/>
        </dgm:presLayoutVars>
      </dgm:prSet>
      <dgm:spPr/>
    </dgm:pt>
    <dgm:pt modelId="{2ACAE4AA-FEE8-4F88-974D-375FC2EC0EBC}" type="pres">
      <dgm:prSet presAssocID="{0A1D73AA-EEA4-4765-B105-B8A94A0EB9F0}" presName="sibTrans" presStyleCnt="0"/>
      <dgm:spPr/>
    </dgm:pt>
    <dgm:pt modelId="{B735519C-63D2-4898-A87E-83B2F99F14DE}" type="pres">
      <dgm:prSet presAssocID="{A4E7AF47-DAE0-4DD5-952A-3659E7C5779F}" presName="parenttextcomposite" presStyleCnt="0"/>
      <dgm:spPr/>
    </dgm:pt>
    <dgm:pt modelId="{E9D7E07A-4A2B-4023-B369-F3AB248C0404}" type="pres">
      <dgm:prSet presAssocID="{A4E7AF47-DAE0-4DD5-952A-3659E7C5779F}" presName="parenttext" presStyleLbl="revTx" presStyleIdx="2" presStyleCnt="3">
        <dgm:presLayoutVars>
          <dgm:chMax/>
          <dgm:chPref val="2"/>
          <dgm:bulletEnabled val="1"/>
        </dgm:presLayoutVars>
      </dgm:prSet>
      <dgm:spPr/>
    </dgm:pt>
    <dgm:pt modelId="{673B93EC-F27B-4B3B-A532-702F42071520}" type="pres">
      <dgm:prSet presAssocID="{A4E7AF47-DAE0-4DD5-952A-3659E7C5779F}" presName="parallelogramComposite" presStyleCnt="0"/>
      <dgm:spPr/>
    </dgm:pt>
    <dgm:pt modelId="{4A4D91F6-96C9-4DF0-BC56-CAF7A291CEA4}" type="pres">
      <dgm:prSet presAssocID="{A4E7AF47-DAE0-4DD5-952A-3659E7C5779F}" presName="parallelogram1" presStyleLbl="alignNode1" presStyleIdx="14" presStyleCnt="21"/>
      <dgm:spPr/>
    </dgm:pt>
    <dgm:pt modelId="{7C27C2A6-5F31-4016-8356-B78345E64F49}" type="pres">
      <dgm:prSet presAssocID="{A4E7AF47-DAE0-4DD5-952A-3659E7C5779F}" presName="parallelogram2" presStyleLbl="alignNode1" presStyleIdx="15" presStyleCnt="21"/>
      <dgm:spPr/>
    </dgm:pt>
    <dgm:pt modelId="{7B965186-AF27-4E6B-9ADA-BF6E50F04C93}" type="pres">
      <dgm:prSet presAssocID="{A4E7AF47-DAE0-4DD5-952A-3659E7C5779F}" presName="parallelogram3" presStyleLbl="alignNode1" presStyleIdx="16" presStyleCnt="21"/>
      <dgm:spPr/>
    </dgm:pt>
    <dgm:pt modelId="{96C9C142-42EF-4391-A7B0-4DB8469771E6}" type="pres">
      <dgm:prSet presAssocID="{A4E7AF47-DAE0-4DD5-952A-3659E7C5779F}" presName="parallelogram4" presStyleLbl="alignNode1" presStyleIdx="17" presStyleCnt="21"/>
      <dgm:spPr/>
    </dgm:pt>
    <dgm:pt modelId="{60379157-C439-4F6C-8ADB-63CCB4C90C6A}" type="pres">
      <dgm:prSet presAssocID="{A4E7AF47-DAE0-4DD5-952A-3659E7C5779F}" presName="parallelogram5" presStyleLbl="alignNode1" presStyleIdx="18" presStyleCnt="21"/>
      <dgm:spPr/>
    </dgm:pt>
    <dgm:pt modelId="{A449BBE4-DAF7-4484-8304-E86E08FB19B0}" type="pres">
      <dgm:prSet presAssocID="{A4E7AF47-DAE0-4DD5-952A-3659E7C5779F}" presName="parallelogram6" presStyleLbl="alignNode1" presStyleIdx="19" presStyleCnt="21"/>
      <dgm:spPr/>
    </dgm:pt>
    <dgm:pt modelId="{93C27137-1891-440D-8259-6AF953515CB7}" type="pres">
      <dgm:prSet presAssocID="{A4E7AF47-DAE0-4DD5-952A-3659E7C5779F}" presName="parallelogram7" presStyleLbl="alignNode1" presStyleIdx="20" presStyleCnt="21"/>
      <dgm:spPr/>
    </dgm:pt>
  </dgm:ptLst>
  <dgm:cxnLst>
    <dgm:cxn modelId="{F43A232A-7587-4A7C-895D-1D3A27578E5F}" srcId="{596989D4-8ACF-427C-83BA-DA04DC9524FC}" destId="{750715BA-848D-43CA-AA79-A7BDD7046133}" srcOrd="1" destOrd="0" parTransId="{3ED00319-3C18-4E5C-8D44-396BCE452696}" sibTransId="{0A1D73AA-EEA4-4765-B105-B8A94A0EB9F0}"/>
    <dgm:cxn modelId="{0083693F-F006-4FF7-BB08-784F481F59CF}" type="presOf" srcId="{28D3F8D7-8EC9-43A6-AC91-21DDF1412130}" destId="{3901AEBB-44EB-4520-9443-43B730AA7FB1}" srcOrd="0" destOrd="1" presId="urn:microsoft.com/office/officeart/2008/layout/VerticalAccentList"/>
    <dgm:cxn modelId="{A2375D5C-7BC9-4F7F-8A0F-D920F54A8541}" srcId="{596989D4-8ACF-427C-83BA-DA04DC9524FC}" destId="{A4E7AF47-DAE0-4DD5-952A-3659E7C5779F}" srcOrd="2" destOrd="0" parTransId="{ED37AC26-5B82-4381-8469-82E37EFA2C37}" sibTransId="{E65E0600-D05F-4817-A503-82861B075740}"/>
    <dgm:cxn modelId="{15C17F42-671E-4742-8612-3E8A6FE9CF1F}" srcId="{750715BA-848D-43CA-AA79-A7BDD7046133}" destId="{DFBFE029-2D15-4964-9645-DAB3EF46F749}" srcOrd="2" destOrd="0" parTransId="{C8AFE238-40D9-4115-9CFD-A5D76A9513FC}" sibTransId="{86802BD4-6950-4168-867B-495711C653C8}"/>
    <dgm:cxn modelId="{316D1163-12CC-45A7-BD1F-E3DDC894C62D}" type="presOf" srcId="{67208D12-D985-43B3-B12A-497351D9C50F}" destId="{88385688-240C-4737-AD85-32C89339F9B2}" srcOrd="0" destOrd="0" presId="urn:microsoft.com/office/officeart/2008/layout/VerticalAccentList"/>
    <dgm:cxn modelId="{233E5D69-CD03-4DC3-9B5B-7986CD9A2F52}" type="presOf" srcId="{596989D4-8ACF-427C-83BA-DA04DC9524FC}" destId="{AEA8EF9E-497A-4CA1-9172-B8036CC69F4A}" srcOrd="0" destOrd="0" presId="urn:microsoft.com/office/officeart/2008/layout/VerticalAccentList"/>
    <dgm:cxn modelId="{DB93466D-7EC1-4BAB-BE7A-9AA7BA2CE111}" type="presOf" srcId="{750715BA-848D-43CA-AA79-A7BDD7046133}" destId="{50016F27-2985-4914-AF0F-64F31E0D2944}" srcOrd="0" destOrd="0" presId="urn:microsoft.com/office/officeart/2008/layout/VerticalAccentList"/>
    <dgm:cxn modelId="{FCCDBF77-D2C0-4C7C-81E8-C7C2A7A77860}" srcId="{596989D4-8ACF-427C-83BA-DA04DC9524FC}" destId="{67208D12-D985-43B3-B12A-497351D9C50F}" srcOrd="0" destOrd="0" parTransId="{CDF19B88-5005-4365-945C-90492F5B8E19}" sibTransId="{854396EA-557F-4A12-863F-5AC979B0874C}"/>
    <dgm:cxn modelId="{DD731280-D2DE-49AC-92AF-84CCD01EC8E2}" type="presOf" srcId="{A4E7AF47-DAE0-4DD5-952A-3659E7C5779F}" destId="{E9D7E07A-4A2B-4023-B369-F3AB248C0404}" srcOrd="0" destOrd="0" presId="urn:microsoft.com/office/officeart/2008/layout/VerticalAccentList"/>
    <dgm:cxn modelId="{AAA6E5BA-00F1-469A-A626-E3D4A2E3CA12}" srcId="{750715BA-848D-43CA-AA79-A7BDD7046133}" destId="{28D3F8D7-8EC9-43A6-AC91-21DDF1412130}" srcOrd="1" destOrd="0" parTransId="{C4D36F76-6573-48F7-9B9B-743B9A048BE2}" sibTransId="{933FFCA3-A1AB-4A9B-B377-0C624A71752A}"/>
    <dgm:cxn modelId="{16B621CD-FB42-4357-886C-3C2E26884CB9}" srcId="{750715BA-848D-43CA-AA79-A7BDD7046133}" destId="{07B4CC03-52B6-4BFD-B6C5-FDF0A1F0654F}" srcOrd="0" destOrd="0" parTransId="{7DE9DFDA-C769-47BC-A3FE-B523A9F154B3}" sibTransId="{647C29EC-B2BF-4981-B0C4-AD59412E430F}"/>
    <dgm:cxn modelId="{AE0BF2D4-D6F4-4213-807A-8C50BC91D3D2}" type="presOf" srcId="{07B4CC03-52B6-4BFD-B6C5-FDF0A1F0654F}" destId="{3901AEBB-44EB-4520-9443-43B730AA7FB1}" srcOrd="0" destOrd="0" presId="urn:microsoft.com/office/officeart/2008/layout/VerticalAccentList"/>
    <dgm:cxn modelId="{89ED54F1-F054-4A85-AE11-0FB999A57FAF}" type="presOf" srcId="{DFBFE029-2D15-4964-9645-DAB3EF46F749}" destId="{3901AEBB-44EB-4520-9443-43B730AA7FB1}" srcOrd="0" destOrd="2" presId="urn:microsoft.com/office/officeart/2008/layout/VerticalAccentList"/>
    <dgm:cxn modelId="{C3C2C202-7413-4165-A742-6E4D02AEAB96}" type="presParOf" srcId="{AEA8EF9E-497A-4CA1-9172-B8036CC69F4A}" destId="{B11E7BCD-69FF-41AD-A2E2-E46A10A18BF2}" srcOrd="0" destOrd="0" presId="urn:microsoft.com/office/officeart/2008/layout/VerticalAccentList"/>
    <dgm:cxn modelId="{0E958BC9-EB36-4669-A9CA-C49F68FA9F1A}" type="presParOf" srcId="{B11E7BCD-69FF-41AD-A2E2-E46A10A18BF2}" destId="{88385688-240C-4737-AD85-32C89339F9B2}" srcOrd="0" destOrd="0" presId="urn:microsoft.com/office/officeart/2008/layout/VerticalAccentList"/>
    <dgm:cxn modelId="{75B25980-F878-460B-ABFF-1B98D55B51C1}" type="presParOf" srcId="{AEA8EF9E-497A-4CA1-9172-B8036CC69F4A}" destId="{116814DB-4ADB-4C41-BAC4-D9FD47DC1897}" srcOrd="1" destOrd="0" presId="urn:microsoft.com/office/officeart/2008/layout/VerticalAccentList"/>
    <dgm:cxn modelId="{A13515FD-52AD-43FD-8062-CB6FDD3E5853}" type="presParOf" srcId="{116814DB-4ADB-4C41-BAC4-D9FD47DC1897}" destId="{38B42A48-3EC1-4A33-AFAD-C8FFD9DED6C8}" srcOrd="0" destOrd="0" presId="urn:microsoft.com/office/officeart/2008/layout/VerticalAccentList"/>
    <dgm:cxn modelId="{834B75EA-A0F5-4967-A89A-86DCBC4B3009}" type="presParOf" srcId="{116814DB-4ADB-4C41-BAC4-D9FD47DC1897}" destId="{2EF91DAF-C792-453F-99EA-BEBEF4A32661}" srcOrd="1" destOrd="0" presId="urn:microsoft.com/office/officeart/2008/layout/VerticalAccentList"/>
    <dgm:cxn modelId="{442230A9-7FBB-4350-8AD5-6F9559E4DD23}" type="presParOf" srcId="{116814DB-4ADB-4C41-BAC4-D9FD47DC1897}" destId="{D7471746-95FE-4DFA-877A-897C6124FEBC}" srcOrd="2" destOrd="0" presId="urn:microsoft.com/office/officeart/2008/layout/VerticalAccentList"/>
    <dgm:cxn modelId="{E6CCF3FE-ACF0-4C89-9161-7B6DCD1C2BED}" type="presParOf" srcId="{116814DB-4ADB-4C41-BAC4-D9FD47DC1897}" destId="{961F917B-767D-43A7-8DAF-CEF9662DAEEC}" srcOrd="3" destOrd="0" presId="urn:microsoft.com/office/officeart/2008/layout/VerticalAccentList"/>
    <dgm:cxn modelId="{010BFF38-BD55-4C53-AA1A-FCE2B06FD42B}" type="presParOf" srcId="{116814DB-4ADB-4C41-BAC4-D9FD47DC1897}" destId="{4D14FAB1-DEE9-4624-A6C5-1F6AC5AE539A}" srcOrd="4" destOrd="0" presId="urn:microsoft.com/office/officeart/2008/layout/VerticalAccentList"/>
    <dgm:cxn modelId="{C0EC582C-0ABD-40E4-94CF-661BC20B17A1}" type="presParOf" srcId="{116814DB-4ADB-4C41-BAC4-D9FD47DC1897}" destId="{48663DBE-D70A-4E70-8A1C-E0C42C55A7B2}" srcOrd="5" destOrd="0" presId="urn:microsoft.com/office/officeart/2008/layout/VerticalAccentList"/>
    <dgm:cxn modelId="{C8DF10C2-8754-49F7-8EF0-0D810790B02B}" type="presParOf" srcId="{116814DB-4ADB-4C41-BAC4-D9FD47DC1897}" destId="{904448E3-88DF-4790-ABA0-419DCD12FDD0}" srcOrd="6" destOrd="0" presId="urn:microsoft.com/office/officeart/2008/layout/VerticalAccentList"/>
    <dgm:cxn modelId="{A00133D8-5A3C-4E88-B833-C72986DAA202}" type="presParOf" srcId="{AEA8EF9E-497A-4CA1-9172-B8036CC69F4A}" destId="{AED91595-D74B-449B-8CF4-CAB0E9F3FBC1}" srcOrd="2" destOrd="0" presId="urn:microsoft.com/office/officeart/2008/layout/VerticalAccentList"/>
    <dgm:cxn modelId="{8E41293E-AD79-42D7-AE6B-BFCDBC9E0EC9}" type="presParOf" srcId="{AEA8EF9E-497A-4CA1-9172-B8036CC69F4A}" destId="{6E8134AB-ECBB-4B32-91EC-D7ED7C4996EC}" srcOrd="3" destOrd="0" presId="urn:microsoft.com/office/officeart/2008/layout/VerticalAccentList"/>
    <dgm:cxn modelId="{E24498F9-73EE-465A-8EE8-16CEB105F799}" type="presParOf" srcId="{6E8134AB-ECBB-4B32-91EC-D7ED7C4996EC}" destId="{50016F27-2985-4914-AF0F-64F31E0D2944}" srcOrd="0" destOrd="0" presId="urn:microsoft.com/office/officeart/2008/layout/VerticalAccentList"/>
    <dgm:cxn modelId="{F3455F97-90DD-4BAB-92AE-093D30FCECFD}" type="presParOf" srcId="{AEA8EF9E-497A-4CA1-9172-B8036CC69F4A}" destId="{A4910E72-1CC7-49DB-8CCC-58B8F22A3BDB}" srcOrd="4" destOrd="0" presId="urn:microsoft.com/office/officeart/2008/layout/VerticalAccentList"/>
    <dgm:cxn modelId="{656BD7ED-3224-4D6E-9D70-F0D22EC25303}" type="presParOf" srcId="{A4910E72-1CC7-49DB-8CCC-58B8F22A3BDB}" destId="{F3AA3B35-7D97-4A56-88C4-D11A243CE8B5}" srcOrd="0" destOrd="0" presId="urn:microsoft.com/office/officeart/2008/layout/VerticalAccentList"/>
    <dgm:cxn modelId="{5C922483-4637-4237-A37A-8EEE6EEF3813}" type="presParOf" srcId="{A4910E72-1CC7-49DB-8CCC-58B8F22A3BDB}" destId="{E0D08E7F-4473-43EE-99F1-624138E5B0D8}" srcOrd="1" destOrd="0" presId="urn:microsoft.com/office/officeart/2008/layout/VerticalAccentList"/>
    <dgm:cxn modelId="{0B700EFA-BFAA-4AF2-BDBD-4D58C5C23989}" type="presParOf" srcId="{A4910E72-1CC7-49DB-8CCC-58B8F22A3BDB}" destId="{2FFABD47-23FF-44E1-94D1-85429E07384E}" srcOrd="2" destOrd="0" presId="urn:microsoft.com/office/officeart/2008/layout/VerticalAccentList"/>
    <dgm:cxn modelId="{61274259-DD4C-4021-8D56-72CEA61E96CE}" type="presParOf" srcId="{A4910E72-1CC7-49DB-8CCC-58B8F22A3BDB}" destId="{92A3AB31-4C23-4273-8616-6AF43EB33198}" srcOrd="3" destOrd="0" presId="urn:microsoft.com/office/officeart/2008/layout/VerticalAccentList"/>
    <dgm:cxn modelId="{50766F9A-3354-40B5-8776-3780024FC4BE}" type="presParOf" srcId="{A4910E72-1CC7-49DB-8CCC-58B8F22A3BDB}" destId="{DC7500A4-0214-402B-BA79-A10802F328B6}" srcOrd="4" destOrd="0" presId="urn:microsoft.com/office/officeart/2008/layout/VerticalAccentList"/>
    <dgm:cxn modelId="{23172A75-326A-4B36-85D6-EFCCC7EF0F44}" type="presParOf" srcId="{A4910E72-1CC7-49DB-8CCC-58B8F22A3BDB}" destId="{95821D3A-78C3-43D0-852C-9BBB94F8129F}" srcOrd="5" destOrd="0" presId="urn:microsoft.com/office/officeart/2008/layout/VerticalAccentList"/>
    <dgm:cxn modelId="{05F53581-4B2A-4EF8-97F6-C7075497FFDC}" type="presParOf" srcId="{A4910E72-1CC7-49DB-8CCC-58B8F22A3BDB}" destId="{D80BA2FE-DC4B-4416-99C4-3C4F495388B5}" srcOrd="6" destOrd="0" presId="urn:microsoft.com/office/officeart/2008/layout/VerticalAccentList"/>
    <dgm:cxn modelId="{44F28EAC-165D-4E9F-A453-68A5BE1A2C89}" type="presParOf" srcId="{A4910E72-1CC7-49DB-8CCC-58B8F22A3BDB}" destId="{3901AEBB-44EB-4520-9443-43B730AA7FB1}" srcOrd="7" destOrd="0" presId="urn:microsoft.com/office/officeart/2008/layout/VerticalAccentList"/>
    <dgm:cxn modelId="{F7DECED6-9681-4B29-AB17-F2F61E7039D6}" type="presParOf" srcId="{AEA8EF9E-497A-4CA1-9172-B8036CC69F4A}" destId="{2ACAE4AA-FEE8-4F88-974D-375FC2EC0EBC}" srcOrd="5" destOrd="0" presId="urn:microsoft.com/office/officeart/2008/layout/VerticalAccentList"/>
    <dgm:cxn modelId="{2C31625F-F0D7-4D0C-B1B1-433DDC094575}" type="presParOf" srcId="{AEA8EF9E-497A-4CA1-9172-B8036CC69F4A}" destId="{B735519C-63D2-4898-A87E-83B2F99F14DE}" srcOrd="6" destOrd="0" presId="urn:microsoft.com/office/officeart/2008/layout/VerticalAccentList"/>
    <dgm:cxn modelId="{2F40D6F4-B673-4AA1-AB7F-1FE3F5920201}" type="presParOf" srcId="{B735519C-63D2-4898-A87E-83B2F99F14DE}" destId="{E9D7E07A-4A2B-4023-B369-F3AB248C0404}" srcOrd="0" destOrd="0" presId="urn:microsoft.com/office/officeart/2008/layout/VerticalAccentList"/>
    <dgm:cxn modelId="{AA271940-B000-440E-99F2-C94CD59E003C}" type="presParOf" srcId="{AEA8EF9E-497A-4CA1-9172-B8036CC69F4A}" destId="{673B93EC-F27B-4B3B-A532-702F42071520}" srcOrd="7" destOrd="0" presId="urn:microsoft.com/office/officeart/2008/layout/VerticalAccentList"/>
    <dgm:cxn modelId="{5AC05279-E9DC-4E42-B4A2-CE420CC5ACBA}" type="presParOf" srcId="{673B93EC-F27B-4B3B-A532-702F42071520}" destId="{4A4D91F6-96C9-4DF0-BC56-CAF7A291CEA4}" srcOrd="0" destOrd="0" presId="urn:microsoft.com/office/officeart/2008/layout/VerticalAccentList"/>
    <dgm:cxn modelId="{1AE5CA17-7E00-4EAA-BF34-00D2842BCBA2}" type="presParOf" srcId="{673B93EC-F27B-4B3B-A532-702F42071520}" destId="{7C27C2A6-5F31-4016-8356-B78345E64F49}" srcOrd="1" destOrd="0" presId="urn:microsoft.com/office/officeart/2008/layout/VerticalAccentList"/>
    <dgm:cxn modelId="{B07EE639-9E9A-479E-9DFF-8B547DBF666F}" type="presParOf" srcId="{673B93EC-F27B-4B3B-A532-702F42071520}" destId="{7B965186-AF27-4E6B-9ADA-BF6E50F04C93}" srcOrd="2" destOrd="0" presId="urn:microsoft.com/office/officeart/2008/layout/VerticalAccentList"/>
    <dgm:cxn modelId="{A6F07B26-F62F-46E0-A374-41A40339EE57}" type="presParOf" srcId="{673B93EC-F27B-4B3B-A532-702F42071520}" destId="{96C9C142-42EF-4391-A7B0-4DB8469771E6}" srcOrd="3" destOrd="0" presId="urn:microsoft.com/office/officeart/2008/layout/VerticalAccentList"/>
    <dgm:cxn modelId="{B1B5042F-E535-49A0-BE15-D0B57EB6CDCF}" type="presParOf" srcId="{673B93EC-F27B-4B3B-A532-702F42071520}" destId="{60379157-C439-4F6C-8ADB-63CCB4C90C6A}" srcOrd="4" destOrd="0" presId="urn:microsoft.com/office/officeart/2008/layout/VerticalAccentList"/>
    <dgm:cxn modelId="{FCD5A31B-71DE-4954-B30C-8B505E43002D}" type="presParOf" srcId="{673B93EC-F27B-4B3B-A532-702F42071520}" destId="{A449BBE4-DAF7-4484-8304-E86E08FB19B0}" srcOrd="5" destOrd="0" presId="urn:microsoft.com/office/officeart/2008/layout/VerticalAccentList"/>
    <dgm:cxn modelId="{24C43253-0AAD-43E2-8FA5-B3A25D4F8157}" type="presParOf" srcId="{673B93EC-F27B-4B3B-A532-702F42071520}" destId="{93C27137-1891-440D-8259-6AF953515CB7}" srcOrd="6" destOrd="0" presId="urn:microsoft.com/office/officeart/2008/layout/VerticalAccent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35D59538-A230-4124-B087-ED22C0DC330B}" type="doc">
      <dgm:prSet loTypeId="urn:microsoft.com/office/officeart/2009/3/layout/HorizontalOrganizationChart" loCatId="hierarchy" qsTypeId="urn:microsoft.com/office/officeart/2005/8/quickstyle/simple5" qsCatId="simple" csTypeId="urn:microsoft.com/office/officeart/2005/8/colors/colorful5" csCatId="colorful"/>
      <dgm:spPr/>
      <dgm:t>
        <a:bodyPr/>
        <a:lstStyle/>
        <a:p>
          <a:endParaRPr lang="en-US"/>
        </a:p>
      </dgm:t>
    </dgm:pt>
    <dgm:pt modelId="{7E844884-FAA4-4142-B99F-CE57E639643F}">
      <dgm:prSet/>
      <dgm:spPr/>
      <dgm:t>
        <a:bodyPr/>
        <a:lstStyle/>
        <a:p>
          <a:r>
            <a:t>Ankara'daki ulaşım projeleri ekonomik, sosyal ve çevresel etkilerine göre değerlendirilmelidir. Maliyet - fayda analizi, ulaşım planlamacılarının bir projenin yatırım yapmaya değer olup olmadığını belirlemesine yardımcı olan önemli bir değerlendirme aracıdır. Eşitlik değerlendirmesi, ulaşım projelerinin toplumun tüm üyelerine, özellikle de dezavantajlı gruplara fayda sağlamasını sağlamak için de kritik öneme sahiptir.</a:t>
          </a:r>
        </a:p>
      </dgm:t>
    </dgm:pt>
    <dgm:pt modelId="{FB48956B-8990-46DE-BD43-BE6648EB118D}" type="parTrans" cxnId="{4066F608-6FDD-442D-870C-D81E1C0AF2B0}">
      <dgm:prSet/>
      <dgm:spPr/>
      <dgm:t>
        <a:bodyPr/>
        <a:lstStyle/>
        <a:p>
          <a:endParaRPr lang="en-US"/>
        </a:p>
      </dgm:t>
    </dgm:pt>
    <dgm:pt modelId="{A7EA8CD4-2438-4258-B05B-ACD7AFFE5E14}" type="sibTrans" cxnId="{4066F608-6FDD-442D-870C-D81E1C0AF2B0}">
      <dgm:prSet/>
      <dgm:spPr/>
      <dgm:t>
        <a:bodyPr/>
        <a:lstStyle/>
        <a:p>
          <a:endParaRPr lang="en-US"/>
        </a:p>
      </dgm:t>
    </dgm:pt>
    <dgm:pt modelId="{1EDCB9CE-AE4D-4F26-9879-DFF672607131}">
      <dgm:prSet/>
      <dgm:spPr/>
      <dgm:t>
        <a:bodyPr/>
        <a:lstStyle/>
        <a:p>
          <a:r>
            <a:t>Ankara'da fayda - maliyet analizi ve özkaynak değerlendirmesinin kullanılmasına ilişkin temel hususlar şunlardır:</a:t>
          </a:r>
        </a:p>
      </dgm:t>
    </dgm:pt>
    <dgm:pt modelId="{F46196D5-9540-4922-9CA8-DDEDE51ECC2B}" type="parTrans" cxnId="{4DA18C09-C954-4F39-A0F1-2269D107D5DB}">
      <dgm:prSet/>
      <dgm:spPr/>
      <dgm:t>
        <a:bodyPr/>
        <a:lstStyle/>
        <a:p>
          <a:endParaRPr lang="en-US"/>
        </a:p>
      </dgm:t>
    </dgm:pt>
    <dgm:pt modelId="{7732E1E0-750F-4C16-83C7-E839F5FC5463}" type="sibTrans" cxnId="{4DA18C09-C954-4F39-A0F1-2269D107D5DB}">
      <dgm:prSet/>
      <dgm:spPr/>
      <dgm:t>
        <a:bodyPr/>
        <a:lstStyle/>
        <a:p>
          <a:endParaRPr lang="en-US"/>
        </a:p>
      </dgm:t>
    </dgm:pt>
    <dgm:pt modelId="{78F404AD-72E2-46D6-A0B0-BB83D69439F4}">
      <dgm:prSet/>
      <dgm:spPr/>
      <dgm:t>
        <a:bodyPr/>
        <a:lstStyle/>
        <a:p>
          <a:r>
            <a:t>Kapsamlı analiz: Bir dizi ekonomik, sosyal ve çevresel etkinin değerlendirilmesi</a:t>
          </a:r>
        </a:p>
      </dgm:t>
    </dgm:pt>
    <dgm:pt modelId="{025AC237-30B2-4611-A32B-3A4C32913AC8}" type="parTrans" cxnId="{E3B43859-8966-417B-8C88-4C47FCD265DD}">
      <dgm:prSet/>
      <dgm:spPr/>
      <dgm:t>
        <a:bodyPr/>
        <a:lstStyle/>
        <a:p>
          <a:endParaRPr lang="en-US"/>
        </a:p>
      </dgm:t>
    </dgm:pt>
    <dgm:pt modelId="{AC2813BA-50D9-4E85-A5CA-4B30849B608B}" type="sibTrans" cxnId="{E3B43859-8966-417B-8C88-4C47FCD265DD}">
      <dgm:prSet/>
      <dgm:spPr/>
      <dgm:t>
        <a:bodyPr/>
        <a:lstStyle/>
        <a:p>
          <a:endParaRPr lang="en-US"/>
        </a:p>
      </dgm:t>
    </dgm:pt>
    <dgm:pt modelId="{A4E4ABEF-2F57-4C2D-863B-CFA47A6F61F1}">
      <dgm:prSet/>
      <dgm:spPr/>
      <dgm:t>
        <a:bodyPr/>
        <a:lstStyle/>
        <a:p>
          <a:r>
            <a:t>Veri girdileri: Analizi yapmak için kullanılan verilerin doğru ve güncel olmasının sağlanması</a:t>
          </a:r>
        </a:p>
      </dgm:t>
    </dgm:pt>
    <dgm:pt modelId="{2CF6607C-E6F3-4C23-B6FF-7A590317513B}" type="parTrans" cxnId="{08A1BEF2-03FF-4E70-B7CA-72D1D7611C59}">
      <dgm:prSet/>
      <dgm:spPr/>
      <dgm:t>
        <a:bodyPr/>
        <a:lstStyle/>
        <a:p>
          <a:endParaRPr lang="en-US"/>
        </a:p>
      </dgm:t>
    </dgm:pt>
    <dgm:pt modelId="{E6EDD54C-32A5-46B1-B80A-414FE28C58AF}" type="sibTrans" cxnId="{08A1BEF2-03FF-4E70-B7CA-72D1D7611C59}">
      <dgm:prSet/>
      <dgm:spPr/>
      <dgm:t>
        <a:bodyPr/>
        <a:lstStyle/>
        <a:p>
          <a:endParaRPr lang="en-US"/>
        </a:p>
      </dgm:t>
    </dgm:pt>
    <dgm:pt modelId="{78AAFE8A-0C9B-43FB-AC81-42D731A59A1F}">
      <dgm:prSet/>
      <dgm:spPr/>
      <dgm:t>
        <a:bodyPr/>
        <a:lstStyle/>
        <a:p>
          <a:r>
            <a:t>Paydaş katılımı: Değerlendirmenin ihtiyaç ve endişelerini yansıtmasını sağlamak için paydaşlardan geri bildirim istemek</a:t>
          </a:r>
        </a:p>
      </dgm:t>
    </dgm:pt>
    <dgm:pt modelId="{D1F9BC54-BDFA-477B-99E7-89C448B30B8F}" type="parTrans" cxnId="{22C0DEFC-1CE8-43C7-9DEB-1F66E5EDFA40}">
      <dgm:prSet/>
      <dgm:spPr/>
      <dgm:t>
        <a:bodyPr/>
        <a:lstStyle/>
        <a:p>
          <a:endParaRPr lang="en-US"/>
        </a:p>
      </dgm:t>
    </dgm:pt>
    <dgm:pt modelId="{91AA9F6E-0621-4F12-9A66-0FDDFB4B945C}" type="sibTrans" cxnId="{22C0DEFC-1CE8-43C7-9DEB-1F66E5EDFA40}">
      <dgm:prSet/>
      <dgm:spPr/>
      <dgm:t>
        <a:bodyPr/>
        <a:lstStyle/>
        <a:p>
          <a:endParaRPr lang="en-US"/>
        </a:p>
      </dgm:t>
    </dgm:pt>
    <dgm:pt modelId="{ED16CF9E-799D-474A-A1D9-B7127EBF6FE8}">
      <dgm:prSet/>
      <dgm:spPr/>
      <dgm:t>
        <a:bodyPr/>
        <a:lstStyle/>
        <a:p>
          <a:r>
            <a:t>ankara'daki ulaşım planlamacıları, maliyet - fayda analizi ve eşitlik değerlendirme araçlarını kullanarak ulaşım projeleri hakkında bilinçli kararlar alabilir, toplumun tüm üyelerine fayda sağlamalarını sağlayabilir ve kentin ulaşım hedeflerine ulaşabilir.</a:t>
          </a:r>
        </a:p>
      </dgm:t>
    </dgm:pt>
    <dgm:pt modelId="{2E635C1C-40AE-4246-B63C-7EDDFEAC73AF}" type="parTrans" cxnId="{8D3F2342-83A6-4F41-8250-B1471D7E5783}">
      <dgm:prSet/>
      <dgm:spPr/>
      <dgm:t>
        <a:bodyPr/>
        <a:lstStyle/>
        <a:p>
          <a:endParaRPr lang="en-US"/>
        </a:p>
      </dgm:t>
    </dgm:pt>
    <dgm:pt modelId="{F889FF6F-9771-47BE-B834-CEB4B1BF1212}" type="sibTrans" cxnId="{8D3F2342-83A6-4F41-8250-B1471D7E5783}">
      <dgm:prSet/>
      <dgm:spPr/>
      <dgm:t>
        <a:bodyPr/>
        <a:lstStyle/>
        <a:p>
          <a:endParaRPr lang="en-US"/>
        </a:p>
      </dgm:t>
    </dgm:pt>
    <dgm:pt modelId="{E43337F2-D3CF-4FAC-A21F-1781B3A71176}" type="pres">
      <dgm:prSet presAssocID="{35D59538-A230-4124-B087-ED22C0DC330B}" presName="hierChild1" presStyleCnt="0">
        <dgm:presLayoutVars>
          <dgm:orgChart val="1"/>
          <dgm:chPref val="1"/>
          <dgm:dir/>
          <dgm:animOne val="branch"/>
          <dgm:animLvl val="lvl"/>
          <dgm:resizeHandles/>
        </dgm:presLayoutVars>
      </dgm:prSet>
      <dgm:spPr/>
    </dgm:pt>
    <dgm:pt modelId="{2D1DE4F8-4795-4373-8B18-FBAE492D59E2}" type="pres">
      <dgm:prSet presAssocID="{7E844884-FAA4-4142-B99F-CE57E639643F}" presName="hierRoot1" presStyleCnt="0">
        <dgm:presLayoutVars>
          <dgm:hierBranch val="init"/>
        </dgm:presLayoutVars>
      </dgm:prSet>
      <dgm:spPr/>
    </dgm:pt>
    <dgm:pt modelId="{FCFB7F41-EDCF-4971-AD7F-4F1DB9FB2608}" type="pres">
      <dgm:prSet presAssocID="{7E844884-FAA4-4142-B99F-CE57E639643F}" presName="rootComposite1" presStyleCnt="0"/>
      <dgm:spPr/>
    </dgm:pt>
    <dgm:pt modelId="{3BF8F783-778E-4BB7-B1C8-0D897F7EF1C1}" type="pres">
      <dgm:prSet presAssocID="{7E844884-FAA4-4142-B99F-CE57E639643F}" presName="rootText1" presStyleLbl="node0" presStyleIdx="0" presStyleCnt="3">
        <dgm:presLayoutVars>
          <dgm:chPref val="3"/>
        </dgm:presLayoutVars>
      </dgm:prSet>
      <dgm:spPr/>
    </dgm:pt>
    <dgm:pt modelId="{E106B7DA-CA67-4623-A99F-96C7134934F3}" type="pres">
      <dgm:prSet presAssocID="{7E844884-FAA4-4142-B99F-CE57E639643F}" presName="rootConnector1" presStyleLbl="node1" presStyleIdx="0" presStyleCnt="0"/>
      <dgm:spPr/>
    </dgm:pt>
    <dgm:pt modelId="{28617A70-5ABE-425F-BCEA-6FD051ADF17D}" type="pres">
      <dgm:prSet presAssocID="{7E844884-FAA4-4142-B99F-CE57E639643F}" presName="hierChild2" presStyleCnt="0"/>
      <dgm:spPr/>
    </dgm:pt>
    <dgm:pt modelId="{4EDA0615-1DEA-45E6-982C-7E5CF5CA637D}" type="pres">
      <dgm:prSet presAssocID="{7E844884-FAA4-4142-B99F-CE57E639643F}" presName="hierChild3" presStyleCnt="0"/>
      <dgm:spPr/>
    </dgm:pt>
    <dgm:pt modelId="{9184051B-60FF-4A9A-863E-77C17A970D96}" type="pres">
      <dgm:prSet presAssocID="{1EDCB9CE-AE4D-4F26-9879-DFF672607131}" presName="hierRoot1" presStyleCnt="0">
        <dgm:presLayoutVars>
          <dgm:hierBranch val="init"/>
        </dgm:presLayoutVars>
      </dgm:prSet>
      <dgm:spPr/>
    </dgm:pt>
    <dgm:pt modelId="{6A18248A-E565-4EA1-AC18-BAE4CD216CC3}" type="pres">
      <dgm:prSet presAssocID="{1EDCB9CE-AE4D-4F26-9879-DFF672607131}" presName="rootComposite1" presStyleCnt="0"/>
      <dgm:spPr/>
    </dgm:pt>
    <dgm:pt modelId="{6BA89329-4190-4C8E-A968-8484798C8A4F}" type="pres">
      <dgm:prSet presAssocID="{1EDCB9CE-AE4D-4F26-9879-DFF672607131}" presName="rootText1" presStyleLbl="node0" presStyleIdx="1" presStyleCnt="3">
        <dgm:presLayoutVars>
          <dgm:chPref val="3"/>
        </dgm:presLayoutVars>
      </dgm:prSet>
      <dgm:spPr/>
    </dgm:pt>
    <dgm:pt modelId="{3EE14795-4D3B-4211-A20C-9A9054754A01}" type="pres">
      <dgm:prSet presAssocID="{1EDCB9CE-AE4D-4F26-9879-DFF672607131}" presName="rootConnector1" presStyleLbl="node1" presStyleIdx="0" presStyleCnt="0"/>
      <dgm:spPr/>
    </dgm:pt>
    <dgm:pt modelId="{79D01FA2-2E37-43F8-93F7-FBF2A50576CA}" type="pres">
      <dgm:prSet presAssocID="{1EDCB9CE-AE4D-4F26-9879-DFF672607131}" presName="hierChild2" presStyleCnt="0"/>
      <dgm:spPr/>
    </dgm:pt>
    <dgm:pt modelId="{879F2A1E-4A40-429C-A690-668A8B06A6F7}" type="pres">
      <dgm:prSet presAssocID="{025AC237-30B2-4611-A32B-3A4C32913AC8}" presName="Name64" presStyleLbl="parChTrans1D2" presStyleIdx="0" presStyleCnt="3"/>
      <dgm:spPr/>
    </dgm:pt>
    <dgm:pt modelId="{2EE3BA31-2901-481E-9C6A-C81AA77894E5}" type="pres">
      <dgm:prSet presAssocID="{78F404AD-72E2-46D6-A0B0-BB83D69439F4}" presName="hierRoot2" presStyleCnt="0">
        <dgm:presLayoutVars>
          <dgm:hierBranch val="init"/>
        </dgm:presLayoutVars>
      </dgm:prSet>
      <dgm:spPr/>
    </dgm:pt>
    <dgm:pt modelId="{3E832904-A142-4F72-A560-46D2DF165D16}" type="pres">
      <dgm:prSet presAssocID="{78F404AD-72E2-46D6-A0B0-BB83D69439F4}" presName="rootComposite" presStyleCnt="0"/>
      <dgm:spPr/>
    </dgm:pt>
    <dgm:pt modelId="{15646CC0-CE1E-48A8-99ED-A98C288A2A5B}" type="pres">
      <dgm:prSet presAssocID="{78F404AD-72E2-46D6-A0B0-BB83D69439F4}" presName="rootText" presStyleLbl="node2" presStyleIdx="0" presStyleCnt="3">
        <dgm:presLayoutVars>
          <dgm:chPref val="3"/>
        </dgm:presLayoutVars>
      </dgm:prSet>
      <dgm:spPr/>
    </dgm:pt>
    <dgm:pt modelId="{FD211063-7F5B-4607-BA5A-9F21FA13D9B4}" type="pres">
      <dgm:prSet presAssocID="{78F404AD-72E2-46D6-A0B0-BB83D69439F4}" presName="rootConnector" presStyleLbl="node2" presStyleIdx="0" presStyleCnt="3"/>
      <dgm:spPr/>
    </dgm:pt>
    <dgm:pt modelId="{619FFF4E-7E8D-4C5F-92CA-2D3065B9EBBC}" type="pres">
      <dgm:prSet presAssocID="{78F404AD-72E2-46D6-A0B0-BB83D69439F4}" presName="hierChild4" presStyleCnt="0"/>
      <dgm:spPr/>
    </dgm:pt>
    <dgm:pt modelId="{228F0FD7-97F9-4EBD-99A1-422BFDB827DE}" type="pres">
      <dgm:prSet presAssocID="{78F404AD-72E2-46D6-A0B0-BB83D69439F4}" presName="hierChild5" presStyleCnt="0"/>
      <dgm:spPr/>
    </dgm:pt>
    <dgm:pt modelId="{B9A597FB-48BF-4437-8428-2D3BF60F84D1}" type="pres">
      <dgm:prSet presAssocID="{2CF6607C-E6F3-4C23-B6FF-7A590317513B}" presName="Name64" presStyleLbl="parChTrans1D2" presStyleIdx="1" presStyleCnt="3"/>
      <dgm:spPr/>
    </dgm:pt>
    <dgm:pt modelId="{72EB30A3-0D6F-432A-BDEC-824E61E59AD8}" type="pres">
      <dgm:prSet presAssocID="{A4E4ABEF-2F57-4C2D-863B-CFA47A6F61F1}" presName="hierRoot2" presStyleCnt="0">
        <dgm:presLayoutVars>
          <dgm:hierBranch val="init"/>
        </dgm:presLayoutVars>
      </dgm:prSet>
      <dgm:spPr/>
    </dgm:pt>
    <dgm:pt modelId="{10FD74E4-ABF9-4C0D-B80D-990E5BB2CB29}" type="pres">
      <dgm:prSet presAssocID="{A4E4ABEF-2F57-4C2D-863B-CFA47A6F61F1}" presName="rootComposite" presStyleCnt="0"/>
      <dgm:spPr/>
    </dgm:pt>
    <dgm:pt modelId="{F329937F-2611-47DB-952B-9A6C0A5405E2}" type="pres">
      <dgm:prSet presAssocID="{A4E4ABEF-2F57-4C2D-863B-CFA47A6F61F1}" presName="rootText" presStyleLbl="node2" presStyleIdx="1" presStyleCnt="3">
        <dgm:presLayoutVars>
          <dgm:chPref val="3"/>
        </dgm:presLayoutVars>
      </dgm:prSet>
      <dgm:spPr/>
    </dgm:pt>
    <dgm:pt modelId="{D3FBEB00-8AF9-4C83-8A5C-33BF0EF142A3}" type="pres">
      <dgm:prSet presAssocID="{A4E4ABEF-2F57-4C2D-863B-CFA47A6F61F1}" presName="rootConnector" presStyleLbl="node2" presStyleIdx="1" presStyleCnt="3"/>
      <dgm:spPr/>
    </dgm:pt>
    <dgm:pt modelId="{CC6664F3-8A15-4DE2-BDA9-B0534FC70452}" type="pres">
      <dgm:prSet presAssocID="{A4E4ABEF-2F57-4C2D-863B-CFA47A6F61F1}" presName="hierChild4" presStyleCnt="0"/>
      <dgm:spPr/>
    </dgm:pt>
    <dgm:pt modelId="{0BB96CB9-B3AC-4D0E-BBF5-C02AB6517D9D}" type="pres">
      <dgm:prSet presAssocID="{A4E4ABEF-2F57-4C2D-863B-CFA47A6F61F1}" presName="hierChild5" presStyleCnt="0"/>
      <dgm:spPr/>
    </dgm:pt>
    <dgm:pt modelId="{917A0BD3-71BF-4C47-A3F6-A906474A6116}" type="pres">
      <dgm:prSet presAssocID="{D1F9BC54-BDFA-477B-99E7-89C448B30B8F}" presName="Name64" presStyleLbl="parChTrans1D2" presStyleIdx="2" presStyleCnt="3"/>
      <dgm:spPr/>
    </dgm:pt>
    <dgm:pt modelId="{D25F2B6F-8483-4968-93E7-37C07FAFC304}" type="pres">
      <dgm:prSet presAssocID="{78AAFE8A-0C9B-43FB-AC81-42D731A59A1F}" presName="hierRoot2" presStyleCnt="0">
        <dgm:presLayoutVars>
          <dgm:hierBranch val="init"/>
        </dgm:presLayoutVars>
      </dgm:prSet>
      <dgm:spPr/>
    </dgm:pt>
    <dgm:pt modelId="{E62C8A40-7B83-4626-9AB8-67FE313F11F2}" type="pres">
      <dgm:prSet presAssocID="{78AAFE8A-0C9B-43FB-AC81-42D731A59A1F}" presName="rootComposite" presStyleCnt="0"/>
      <dgm:spPr/>
    </dgm:pt>
    <dgm:pt modelId="{8A281E5E-35FD-43D3-8E9D-A7017399D360}" type="pres">
      <dgm:prSet presAssocID="{78AAFE8A-0C9B-43FB-AC81-42D731A59A1F}" presName="rootText" presStyleLbl="node2" presStyleIdx="2" presStyleCnt="3">
        <dgm:presLayoutVars>
          <dgm:chPref val="3"/>
        </dgm:presLayoutVars>
      </dgm:prSet>
      <dgm:spPr/>
    </dgm:pt>
    <dgm:pt modelId="{4D985730-8643-4C11-9269-27B9B507104A}" type="pres">
      <dgm:prSet presAssocID="{78AAFE8A-0C9B-43FB-AC81-42D731A59A1F}" presName="rootConnector" presStyleLbl="node2" presStyleIdx="2" presStyleCnt="3"/>
      <dgm:spPr/>
    </dgm:pt>
    <dgm:pt modelId="{ED4D8B6E-6676-4FAB-9B82-27705FB1261A}" type="pres">
      <dgm:prSet presAssocID="{78AAFE8A-0C9B-43FB-AC81-42D731A59A1F}" presName="hierChild4" presStyleCnt="0"/>
      <dgm:spPr/>
    </dgm:pt>
    <dgm:pt modelId="{8DBA2A7A-4DFE-4412-BDC4-1B380BA857F5}" type="pres">
      <dgm:prSet presAssocID="{78AAFE8A-0C9B-43FB-AC81-42D731A59A1F}" presName="hierChild5" presStyleCnt="0"/>
      <dgm:spPr/>
    </dgm:pt>
    <dgm:pt modelId="{589EB7DE-E852-4BA4-B420-572F21A459D5}" type="pres">
      <dgm:prSet presAssocID="{1EDCB9CE-AE4D-4F26-9879-DFF672607131}" presName="hierChild3" presStyleCnt="0"/>
      <dgm:spPr/>
    </dgm:pt>
    <dgm:pt modelId="{3DDCD779-951E-4EDA-AE3D-421CF609CFF9}" type="pres">
      <dgm:prSet presAssocID="{ED16CF9E-799D-474A-A1D9-B7127EBF6FE8}" presName="hierRoot1" presStyleCnt="0">
        <dgm:presLayoutVars>
          <dgm:hierBranch val="init"/>
        </dgm:presLayoutVars>
      </dgm:prSet>
      <dgm:spPr/>
    </dgm:pt>
    <dgm:pt modelId="{73ECD517-9D53-4147-9565-8C35107E1537}" type="pres">
      <dgm:prSet presAssocID="{ED16CF9E-799D-474A-A1D9-B7127EBF6FE8}" presName="rootComposite1" presStyleCnt="0"/>
      <dgm:spPr/>
    </dgm:pt>
    <dgm:pt modelId="{80DC2461-49A5-4E6E-8896-C6D4574865BD}" type="pres">
      <dgm:prSet presAssocID="{ED16CF9E-799D-474A-A1D9-B7127EBF6FE8}" presName="rootText1" presStyleLbl="node0" presStyleIdx="2" presStyleCnt="3">
        <dgm:presLayoutVars>
          <dgm:chPref val="3"/>
        </dgm:presLayoutVars>
      </dgm:prSet>
      <dgm:spPr/>
    </dgm:pt>
    <dgm:pt modelId="{D8774AC8-5B55-4EE7-A1D7-B26D7D2E16AC}" type="pres">
      <dgm:prSet presAssocID="{ED16CF9E-799D-474A-A1D9-B7127EBF6FE8}" presName="rootConnector1" presStyleLbl="node1" presStyleIdx="0" presStyleCnt="0"/>
      <dgm:spPr/>
    </dgm:pt>
    <dgm:pt modelId="{402FCB9F-5F74-41B0-8197-BC4AAE147C76}" type="pres">
      <dgm:prSet presAssocID="{ED16CF9E-799D-474A-A1D9-B7127EBF6FE8}" presName="hierChild2" presStyleCnt="0"/>
      <dgm:spPr/>
    </dgm:pt>
    <dgm:pt modelId="{E60800BE-587A-4357-B179-1CB933B1D91C}" type="pres">
      <dgm:prSet presAssocID="{ED16CF9E-799D-474A-A1D9-B7127EBF6FE8}" presName="hierChild3" presStyleCnt="0"/>
      <dgm:spPr/>
    </dgm:pt>
  </dgm:ptLst>
  <dgm:cxnLst>
    <dgm:cxn modelId="{4066F608-6FDD-442D-870C-D81E1C0AF2B0}" srcId="{35D59538-A230-4124-B087-ED22C0DC330B}" destId="{7E844884-FAA4-4142-B99F-CE57E639643F}" srcOrd="0" destOrd="0" parTransId="{FB48956B-8990-46DE-BD43-BE6648EB118D}" sibTransId="{A7EA8CD4-2438-4258-B05B-ACD7AFFE5E14}"/>
    <dgm:cxn modelId="{4DA18C09-C954-4F39-A0F1-2269D107D5DB}" srcId="{35D59538-A230-4124-B087-ED22C0DC330B}" destId="{1EDCB9CE-AE4D-4F26-9879-DFF672607131}" srcOrd="1" destOrd="0" parTransId="{F46196D5-9540-4922-9CA8-DDEDE51ECC2B}" sibTransId="{7732E1E0-750F-4C16-83C7-E839F5FC5463}"/>
    <dgm:cxn modelId="{E6B98B14-40E5-40FA-BAC4-87860FF25014}" type="presOf" srcId="{78F404AD-72E2-46D6-A0B0-BB83D69439F4}" destId="{15646CC0-CE1E-48A8-99ED-A98C288A2A5B}" srcOrd="0" destOrd="0" presId="urn:microsoft.com/office/officeart/2009/3/layout/HorizontalOrganizationChart"/>
    <dgm:cxn modelId="{B4304718-7371-4BC1-B94E-F220ADFA3944}" type="presOf" srcId="{D1F9BC54-BDFA-477B-99E7-89C448B30B8F}" destId="{917A0BD3-71BF-4C47-A3F6-A906474A6116}" srcOrd="0" destOrd="0" presId="urn:microsoft.com/office/officeart/2009/3/layout/HorizontalOrganizationChart"/>
    <dgm:cxn modelId="{CD2DA318-E649-4DA1-A6F5-0D52D9D3D04F}" type="presOf" srcId="{78F404AD-72E2-46D6-A0B0-BB83D69439F4}" destId="{FD211063-7F5B-4607-BA5A-9F21FA13D9B4}" srcOrd="1" destOrd="0" presId="urn:microsoft.com/office/officeart/2009/3/layout/HorizontalOrganizationChart"/>
    <dgm:cxn modelId="{FD700F1B-2EBC-4E0F-BB6E-0DFE678E61EB}" type="presOf" srcId="{1EDCB9CE-AE4D-4F26-9879-DFF672607131}" destId="{3EE14795-4D3B-4211-A20C-9A9054754A01}" srcOrd="1" destOrd="0" presId="urn:microsoft.com/office/officeart/2009/3/layout/HorizontalOrganizationChart"/>
    <dgm:cxn modelId="{7E24985B-BF03-450D-BAFB-D21BFF87973C}" type="presOf" srcId="{ED16CF9E-799D-474A-A1D9-B7127EBF6FE8}" destId="{80DC2461-49A5-4E6E-8896-C6D4574865BD}" srcOrd="0" destOrd="0" presId="urn:microsoft.com/office/officeart/2009/3/layout/HorizontalOrganizationChart"/>
    <dgm:cxn modelId="{7B3C8A61-6763-4A77-AFB1-C1214A15C1B9}" type="presOf" srcId="{78AAFE8A-0C9B-43FB-AC81-42D731A59A1F}" destId="{8A281E5E-35FD-43D3-8E9D-A7017399D360}" srcOrd="0" destOrd="0" presId="urn:microsoft.com/office/officeart/2009/3/layout/HorizontalOrganizationChart"/>
    <dgm:cxn modelId="{8D3F2342-83A6-4F41-8250-B1471D7E5783}" srcId="{35D59538-A230-4124-B087-ED22C0DC330B}" destId="{ED16CF9E-799D-474A-A1D9-B7127EBF6FE8}" srcOrd="2" destOrd="0" parTransId="{2E635C1C-40AE-4246-B63C-7EDDFEAC73AF}" sibTransId="{F889FF6F-9771-47BE-B834-CEB4B1BF1212}"/>
    <dgm:cxn modelId="{ED370949-B726-4DFB-A0B4-90E09601FB97}" type="presOf" srcId="{A4E4ABEF-2F57-4C2D-863B-CFA47A6F61F1}" destId="{D3FBEB00-8AF9-4C83-8A5C-33BF0EF142A3}" srcOrd="1" destOrd="0" presId="urn:microsoft.com/office/officeart/2009/3/layout/HorizontalOrganizationChart"/>
    <dgm:cxn modelId="{AE291B4B-5D8E-4D60-86E9-2466F8617763}" type="presOf" srcId="{025AC237-30B2-4611-A32B-3A4C32913AC8}" destId="{879F2A1E-4A40-429C-A690-668A8B06A6F7}" srcOrd="0" destOrd="0" presId="urn:microsoft.com/office/officeart/2009/3/layout/HorizontalOrganizationChart"/>
    <dgm:cxn modelId="{CEA02A4E-ADDB-4F50-811D-6FB6AF9C886E}" type="presOf" srcId="{1EDCB9CE-AE4D-4F26-9879-DFF672607131}" destId="{6BA89329-4190-4C8E-A968-8484798C8A4F}" srcOrd="0" destOrd="0" presId="urn:microsoft.com/office/officeart/2009/3/layout/HorizontalOrganizationChart"/>
    <dgm:cxn modelId="{E3B43859-8966-417B-8C88-4C47FCD265DD}" srcId="{1EDCB9CE-AE4D-4F26-9879-DFF672607131}" destId="{78F404AD-72E2-46D6-A0B0-BB83D69439F4}" srcOrd="0" destOrd="0" parTransId="{025AC237-30B2-4611-A32B-3A4C32913AC8}" sibTransId="{AC2813BA-50D9-4E85-A5CA-4B30849B608B}"/>
    <dgm:cxn modelId="{65CEAE7B-BD63-42C0-93A5-1B040014E20B}" type="presOf" srcId="{78AAFE8A-0C9B-43FB-AC81-42D731A59A1F}" destId="{4D985730-8643-4C11-9269-27B9B507104A}" srcOrd="1" destOrd="0" presId="urn:microsoft.com/office/officeart/2009/3/layout/HorizontalOrganizationChart"/>
    <dgm:cxn modelId="{AF442485-1080-4E07-B547-2480A6138AD3}" type="presOf" srcId="{A4E4ABEF-2F57-4C2D-863B-CFA47A6F61F1}" destId="{F329937F-2611-47DB-952B-9A6C0A5405E2}" srcOrd="0" destOrd="0" presId="urn:microsoft.com/office/officeart/2009/3/layout/HorizontalOrganizationChart"/>
    <dgm:cxn modelId="{11633088-3099-4845-BB0D-AE9559047B5E}" type="presOf" srcId="{ED16CF9E-799D-474A-A1D9-B7127EBF6FE8}" destId="{D8774AC8-5B55-4EE7-A1D7-B26D7D2E16AC}" srcOrd="1" destOrd="0" presId="urn:microsoft.com/office/officeart/2009/3/layout/HorizontalOrganizationChart"/>
    <dgm:cxn modelId="{C8D5AFD8-915C-4ECD-BF9E-C9EAD2CB6EA1}" type="presOf" srcId="{7E844884-FAA4-4142-B99F-CE57E639643F}" destId="{3BF8F783-778E-4BB7-B1C8-0D897F7EF1C1}" srcOrd="0" destOrd="0" presId="urn:microsoft.com/office/officeart/2009/3/layout/HorizontalOrganizationChart"/>
    <dgm:cxn modelId="{15D248D9-A101-431C-8DB9-F7DFC2ABBBFB}" type="presOf" srcId="{2CF6607C-E6F3-4C23-B6FF-7A590317513B}" destId="{B9A597FB-48BF-4437-8428-2D3BF60F84D1}" srcOrd="0" destOrd="0" presId="urn:microsoft.com/office/officeart/2009/3/layout/HorizontalOrganizationChart"/>
    <dgm:cxn modelId="{E619AAEC-C680-4BBD-91C6-C5397032269C}" type="presOf" srcId="{35D59538-A230-4124-B087-ED22C0DC330B}" destId="{E43337F2-D3CF-4FAC-A21F-1781B3A71176}" srcOrd="0" destOrd="0" presId="urn:microsoft.com/office/officeart/2009/3/layout/HorizontalOrganizationChart"/>
    <dgm:cxn modelId="{08A1BEF2-03FF-4E70-B7CA-72D1D7611C59}" srcId="{1EDCB9CE-AE4D-4F26-9879-DFF672607131}" destId="{A4E4ABEF-2F57-4C2D-863B-CFA47A6F61F1}" srcOrd="1" destOrd="0" parTransId="{2CF6607C-E6F3-4C23-B6FF-7A590317513B}" sibTransId="{E6EDD54C-32A5-46B1-B80A-414FE28C58AF}"/>
    <dgm:cxn modelId="{22C0DEFC-1CE8-43C7-9DEB-1F66E5EDFA40}" srcId="{1EDCB9CE-AE4D-4F26-9879-DFF672607131}" destId="{78AAFE8A-0C9B-43FB-AC81-42D731A59A1F}" srcOrd="2" destOrd="0" parTransId="{D1F9BC54-BDFA-477B-99E7-89C448B30B8F}" sibTransId="{91AA9F6E-0621-4F12-9A66-0FDDFB4B945C}"/>
    <dgm:cxn modelId="{7EFA15FD-06DE-4E89-966B-7C0B5C725729}" type="presOf" srcId="{7E844884-FAA4-4142-B99F-CE57E639643F}" destId="{E106B7DA-CA67-4623-A99F-96C7134934F3}" srcOrd="1" destOrd="0" presId="urn:microsoft.com/office/officeart/2009/3/layout/HorizontalOrganizationChart"/>
    <dgm:cxn modelId="{74678E80-7192-4061-B017-79BAF27896F5}" type="presParOf" srcId="{E43337F2-D3CF-4FAC-A21F-1781B3A71176}" destId="{2D1DE4F8-4795-4373-8B18-FBAE492D59E2}" srcOrd="0" destOrd="0" presId="urn:microsoft.com/office/officeart/2009/3/layout/HorizontalOrganizationChart"/>
    <dgm:cxn modelId="{EA9012B4-4800-4BDE-AD81-C49927D147A5}" type="presParOf" srcId="{2D1DE4F8-4795-4373-8B18-FBAE492D59E2}" destId="{FCFB7F41-EDCF-4971-AD7F-4F1DB9FB2608}" srcOrd="0" destOrd="0" presId="urn:microsoft.com/office/officeart/2009/3/layout/HorizontalOrganizationChart"/>
    <dgm:cxn modelId="{4C5355C6-AA4B-4B97-98E0-2B499F39ACA7}" type="presParOf" srcId="{FCFB7F41-EDCF-4971-AD7F-4F1DB9FB2608}" destId="{3BF8F783-778E-4BB7-B1C8-0D897F7EF1C1}" srcOrd="0" destOrd="0" presId="urn:microsoft.com/office/officeart/2009/3/layout/HorizontalOrganizationChart"/>
    <dgm:cxn modelId="{BFC147AE-7648-42CC-8EC5-ACC3400DD6C9}" type="presParOf" srcId="{FCFB7F41-EDCF-4971-AD7F-4F1DB9FB2608}" destId="{E106B7DA-CA67-4623-A99F-96C7134934F3}" srcOrd="1" destOrd="0" presId="urn:microsoft.com/office/officeart/2009/3/layout/HorizontalOrganizationChart"/>
    <dgm:cxn modelId="{FC55EF50-A3ED-439B-A3A6-2C960AB12885}" type="presParOf" srcId="{2D1DE4F8-4795-4373-8B18-FBAE492D59E2}" destId="{28617A70-5ABE-425F-BCEA-6FD051ADF17D}" srcOrd="1" destOrd="0" presId="urn:microsoft.com/office/officeart/2009/3/layout/HorizontalOrganizationChart"/>
    <dgm:cxn modelId="{8254E8D1-B28D-4366-8CA3-1D2369C50068}" type="presParOf" srcId="{2D1DE4F8-4795-4373-8B18-FBAE492D59E2}" destId="{4EDA0615-1DEA-45E6-982C-7E5CF5CA637D}" srcOrd="2" destOrd="0" presId="urn:microsoft.com/office/officeart/2009/3/layout/HorizontalOrganizationChart"/>
    <dgm:cxn modelId="{BDCD694D-4549-4C29-8F78-70CDC35336E5}" type="presParOf" srcId="{E43337F2-D3CF-4FAC-A21F-1781B3A71176}" destId="{9184051B-60FF-4A9A-863E-77C17A970D96}" srcOrd="1" destOrd="0" presId="urn:microsoft.com/office/officeart/2009/3/layout/HorizontalOrganizationChart"/>
    <dgm:cxn modelId="{6A803A79-3042-486C-9F70-B6600E5A74D1}" type="presParOf" srcId="{9184051B-60FF-4A9A-863E-77C17A970D96}" destId="{6A18248A-E565-4EA1-AC18-BAE4CD216CC3}" srcOrd="0" destOrd="0" presId="urn:microsoft.com/office/officeart/2009/3/layout/HorizontalOrganizationChart"/>
    <dgm:cxn modelId="{048F651F-B17A-4190-BA16-69373528E885}" type="presParOf" srcId="{6A18248A-E565-4EA1-AC18-BAE4CD216CC3}" destId="{6BA89329-4190-4C8E-A968-8484798C8A4F}" srcOrd="0" destOrd="0" presId="urn:microsoft.com/office/officeart/2009/3/layout/HorizontalOrganizationChart"/>
    <dgm:cxn modelId="{5E4F3137-441A-4910-A168-07A84E82FA6E}" type="presParOf" srcId="{6A18248A-E565-4EA1-AC18-BAE4CD216CC3}" destId="{3EE14795-4D3B-4211-A20C-9A9054754A01}" srcOrd="1" destOrd="0" presId="urn:microsoft.com/office/officeart/2009/3/layout/HorizontalOrganizationChart"/>
    <dgm:cxn modelId="{AD7E882B-CA2A-4F0B-BAEF-5D63F90224C5}" type="presParOf" srcId="{9184051B-60FF-4A9A-863E-77C17A970D96}" destId="{79D01FA2-2E37-43F8-93F7-FBF2A50576CA}" srcOrd="1" destOrd="0" presId="urn:microsoft.com/office/officeart/2009/3/layout/HorizontalOrganizationChart"/>
    <dgm:cxn modelId="{471D01B3-01CE-4698-9545-12F4C0E9648F}" type="presParOf" srcId="{79D01FA2-2E37-43F8-93F7-FBF2A50576CA}" destId="{879F2A1E-4A40-429C-A690-668A8B06A6F7}" srcOrd="0" destOrd="0" presId="urn:microsoft.com/office/officeart/2009/3/layout/HorizontalOrganizationChart"/>
    <dgm:cxn modelId="{7C484033-2691-4E36-9B94-C34279483C27}" type="presParOf" srcId="{79D01FA2-2E37-43F8-93F7-FBF2A50576CA}" destId="{2EE3BA31-2901-481E-9C6A-C81AA77894E5}" srcOrd="1" destOrd="0" presId="urn:microsoft.com/office/officeart/2009/3/layout/HorizontalOrganizationChart"/>
    <dgm:cxn modelId="{B7A13019-DBBC-4FE4-ADDD-04E4BD656C1A}" type="presParOf" srcId="{2EE3BA31-2901-481E-9C6A-C81AA77894E5}" destId="{3E832904-A142-4F72-A560-46D2DF165D16}" srcOrd="0" destOrd="0" presId="urn:microsoft.com/office/officeart/2009/3/layout/HorizontalOrganizationChart"/>
    <dgm:cxn modelId="{FB47803D-5267-448E-8ECB-C55BA7496518}" type="presParOf" srcId="{3E832904-A142-4F72-A560-46D2DF165D16}" destId="{15646CC0-CE1E-48A8-99ED-A98C288A2A5B}" srcOrd="0" destOrd="0" presId="urn:microsoft.com/office/officeart/2009/3/layout/HorizontalOrganizationChart"/>
    <dgm:cxn modelId="{C78816BA-5F00-4C4B-A07F-6DD44207A0E4}" type="presParOf" srcId="{3E832904-A142-4F72-A560-46D2DF165D16}" destId="{FD211063-7F5B-4607-BA5A-9F21FA13D9B4}" srcOrd="1" destOrd="0" presId="urn:microsoft.com/office/officeart/2009/3/layout/HorizontalOrganizationChart"/>
    <dgm:cxn modelId="{E4C805D5-222A-49D7-AD1C-82E43E5A3A41}" type="presParOf" srcId="{2EE3BA31-2901-481E-9C6A-C81AA77894E5}" destId="{619FFF4E-7E8D-4C5F-92CA-2D3065B9EBBC}" srcOrd="1" destOrd="0" presId="urn:microsoft.com/office/officeart/2009/3/layout/HorizontalOrganizationChart"/>
    <dgm:cxn modelId="{15DCF3C4-97C2-4815-BF76-EB873A9C60FC}" type="presParOf" srcId="{2EE3BA31-2901-481E-9C6A-C81AA77894E5}" destId="{228F0FD7-97F9-4EBD-99A1-422BFDB827DE}" srcOrd="2" destOrd="0" presId="urn:microsoft.com/office/officeart/2009/3/layout/HorizontalOrganizationChart"/>
    <dgm:cxn modelId="{0C348F1F-A779-4EAC-A833-9BC8F7EB6775}" type="presParOf" srcId="{79D01FA2-2E37-43F8-93F7-FBF2A50576CA}" destId="{B9A597FB-48BF-4437-8428-2D3BF60F84D1}" srcOrd="2" destOrd="0" presId="urn:microsoft.com/office/officeart/2009/3/layout/HorizontalOrganizationChart"/>
    <dgm:cxn modelId="{1A668A81-EF44-4040-98CB-48C8CD4D27C3}" type="presParOf" srcId="{79D01FA2-2E37-43F8-93F7-FBF2A50576CA}" destId="{72EB30A3-0D6F-432A-BDEC-824E61E59AD8}" srcOrd="3" destOrd="0" presId="urn:microsoft.com/office/officeart/2009/3/layout/HorizontalOrganizationChart"/>
    <dgm:cxn modelId="{D68AA191-349F-42E8-BE22-8EE95EE783A9}" type="presParOf" srcId="{72EB30A3-0D6F-432A-BDEC-824E61E59AD8}" destId="{10FD74E4-ABF9-4C0D-B80D-990E5BB2CB29}" srcOrd="0" destOrd="0" presId="urn:microsoft.com/office/officeart/2009/3/layout/HorizontalOrganizationChart"/>
    <dgm:cxn modelId="{A9EBBE8E-BB80-487A-8AA5-794A99E01DC8}" type="presParOf" srcId="{10FD74E4-ABF9-4C0D-B80D-990E5BB2CB29}" destId="{F329937F-2611-47DB-952B-9A6C0A5405E2}" srcOrd="0" destOrd="0" presId="urn:microsoft.com/office/officeart/2009/3/layout/HorizontalOrganizationChart"/>
    <dgm:cxn modelId="{52E0E429-E50B-490E-9F7D-4E8FC3571BA2}" type="presParOf" srcId="{10FD74E4-ABF9-4C0D-B80D-990E5BB2CB29}" destId="{D3FBEB00-8AF9-4C83-8A5C-33BF0EF142A3}" srcOrd="1" destOrd="0" presId="urn:microsoft.com/office/officeart/2009/3/layout/HorizontalOrganizationChart"/>
    <dgm:cxn modelId="{88AAB84E-F979-468A-AF31-DF3FB9883D2E}" type="presParOf" srcId="{72EB30A3-0D6F-432A-BDEC-824E61E59AD8}" destId="{CC6664F3-8A15-4DE2-BDA9-B0534FC70452}" srcOrd="1" destOrd="0" presId="urn:microsoft.com/office/officeart/2009/3/layout/HorizontalOrganizationChart"/>
    <dgm:cxn modelId="{B7694DBF-D768-434C-A9A6-BFA77195E366}" type="presParOf" srcId="{72EB30A3-0D6F-432A-BDEC-824E61E59AD8}" destId="{0BB96CB9-B3AC-4D0E-BBF5-C02AB6517D9D}" srcOrd="2" destOrd="0" presId="urn:microsoft.com/office/officeart/2009/3/layout/HorizontalOrganizationChart"/>
    <dgm:cxn modelId="{5448F79C-ABFC-4DA8-8A5F-FF0C7CEB0F71}" type="presParOf" srcId="{79D01FA2-2E37-43F8-93F7-FBF2A50576CA}" destId="{917A0BD3-71BF-4C47-A3F6-A906474A6116}" srcOrd="4" destOrd="0" presId="urn:microsoft.com/office/officeart/2009/3/layout/HorizontalOrganizationChart"/>
    <dgm:cxn modelId="{F036EDF0-FCE1-4646-B83D-D3724FA1D44F}" type="presParOf" srcId="{79D01FA2-2E37-43F8-93F7-FBF2A50576CA}" destId="{D25F2B6F-8483-4968-93E7-37C07FAFC304}" srcOrd="5" destOrd="0" presId="urn:microsoft.com/office/officeart/2009/3/layout/HorizontalOrganizationChart"/>
    <dgm:cxn modelId="{9DDE123D-F086-486E-9A61-F80178AB352B}" type="presParOf" srcId="{D25F2B6F-8483-4968-93E7-37C07FAFC304}" destId="{E62C8A40-7B83-4626-9AB8-67FE313F11F2}" srcOrd="0" destOrd="0" presId="urn:microsoft.com/office/officeart/2009/3/layout/HorizontalOrganizationChart"/>
    <dgm:cxn modelId="{064CBB36-18DA-45C2-A34A-78885877CA0F}" type="presParOf" srcId="{E62C8A40-7B83-4626-9AB8-67FE313F11F2}" destId="{8A281E5E-35FD-43D3-8E9D-A7017399D360}" srcOrd="0" destOrd="0" presId="urn:microsoft.com/office/officeart/2009/3/layout/HorizontalOrganizationChart"/>
    <dgm:cxn modelId="{9C757DEB-802E-468A-B355-1D7189C868FB}" type="presParOf" srcId="{E62C8A40-7B83-4626-9AB8-67FE313F11F2}" destId="{4D985730-8643-4C11-9269-27B9B507104A}" srcOrd="1" destOrd="0" presId="urn:microsoft.com/office/officeart/2009/3/layout/HorizontalOrganizationChart"/>
    <dgm:cxn modelId="{D01E0AC7-2FF0-460E-879E-9B25BF9A199B}" type="presParOf" srcId="{D25F2B6F-8483-4968-93E7-37C07FAFC304}" destId="{ED4D8B6E-6676-4FAB-9B82-27705FB1261A}" srcOrd="1" destOrd="0" presId="urn:microsoft.com/office/officeart/2009/3/layout/HorizontalOrganizationChart"/>
    <dgm:cxn modelId="{593EB746-4FE8-449B-B0E4-3D36E53A6028}" type="presParOf" srcId="{D25F2B6F-8483-4968-93E7-37C07FAFC304}" destId="{8DBA2A7A-4DFE-4412-BDC4-1B380BA857F5}" srcOrd="2" destOrd="0" presId="urn:microsoft.com/office/officeart/2009/3/layout/HorizontalOrganizationChart"/>
    <dgm:cxn modelId="{7CC1C759-E0E8-4A6C-8BB2-BD420BC3252E}" type="presParOf" srcId="{9184051B-60FF-4A9A-863E-77C17A970D96}" destId="{589EB7DE-E852-4BA4-B420-572F21A459D5}" srcOrd="2" destOrd="0" presId="urn:microsoft.com/office/officeart/2009/3/layout/HorizontalOrganizationChart"/>
    <dgm:cxn modelId="{1DA6D420-4F3E-4674-8D2D-67A74C6ECA67}" type="presParOf" srcId="{E43337F2-D3CF-4FAC-A21F-1781B3A71176}" destId="{3DDCD779-951E-4EDA-AE3D-421CF609CFF9}" srcOrd="2" destOrd="0" presId="urn:microsoft.com/office/officeart/2009/3/layout/HorizontalOrganizationChart"/>
    <dgm:cxn modelId="{4BBCFCA1-E6B3-4F79-AE73-278B8E911982}" type="presParOf" srcId="{3DDCD779-951E-4EDA-AE3D-421CF609CFF9}" destId="{73ECD517-9D53-4147-9565-8C35107E1537}" srcOrd="0" destOrd="0" presId="urn:microsoft.com/office/officeart/2009/3/layout/HorizontalOrganizationChart"/>
    <dgm:cxn modelId="{93D49738-E474-49A3-9A88-4C79BCAA1FCF}" type="presParOf" srcId="{73ECD517-9D53-4147-9565-8C35107E1537}" destId="{80DC2461-49A5-4E6E-8896-C6D4574865BD}" srcOrd="0" destOrd="0" presId="urn:microsoft.com/office/officeart/2009/3/layout/HorizontalOrganizationChart"/>
    <dgm:cxn modelId="{0655FF2B-F2C1-4921-B38F-0027C14DC67F}" type="presParOf" srcId="{73ECD517-9D53-4147-9565-8C35107E1537}" destId="{D8774AC8-5B55-4EE7-A1D7-B26D7D2E16AC}" srcOrd="1" destOrd="0" presId="urn:microsoft.com/office/officeart/2009/3/layout/HorizontalOrganizationChart"/>
    <dgm:cxn modelId="{3B72A504-65B8-4F92-AA48-BE3DB3A06673}" type="presParOf" srcId="{3DDCD779-951E-4EDA-AE3D-421CF609CFF9}" destId="{402FCB9F-5F74-41B0-8197-BC4AAE147C76}" srcOrd="1" destOrd="0" presId="urn:microsoft.com/office/officeart/2009/3/layout/HorizontalOrganizationChart"/>
    <dgm:cxn modelId="{A828F666-BCBE-4EB8-894B-3CEE1C8C6F96}" type="presParOf" srcId="{3DDCD779-951E-4EDA-AE3D-421CF609CFF9}" destId="{E60800BE-587A-4357-B179-1CB933B1D91C}" srcOrd="2" destOrd="0" presId="urn:microsoft.com/office/officeart/2009/3/layout/HorizontalOrganizationChar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6562251B-1A49-4638-86B7-47168B0CC87E}" type="doc">
      <dgm:prSet loTypeId="urn:microsoft.com/office/officeart/2011/layout/CircleProcess" loCatId="process" qsTypeId="urn:microsoft.com/office/officeart/2005/8/quickstyle/simple1" qsCatId="simple" csTypeId="urn:microsoft.com/office/officeart/2005/8/colors/colorful3" csCatId="colorful"/>
      <dgm:spPr/>
      <dgm:t>
        <a:bodyPr/>
        <a:lstStyle/>
        <a:p>
          <a:endParaRPr lang="en-US"/>
        </a:p>
      </dgm:t>
    </dgm:pt>
    <dgm:pt modelId="{018F2CC9-130B-44A6-B12A-740F5750D0A4}">
      <dgm:prSet/>
      <dgm:spPr/>
      <dgm:t>
        <a:bodyPr/>
        <a:lstStyle/>
        <a:p>
          <a:r>
            <a:t>Ankara'da yaya altyapısı ve paylaşımlı hareketlilik ulaşım planlamasının kritik bileşenleridir. Kaldırımlar ve yaya geçitleri de dahil olmak üzere yaya altyapısı, güvenli ve rahat yürüyüşü teşvik etmek ve yoldaki araba sayısını azaltmak için gereklidir. Araba paylaşımı ve bisiklet paylaşımı programları gibi paylaşılan hareketlilik, sakinler için uygun fiyatlı ve esnek bir ulaşım seçeneği sunar.</a:t>
          </a:r>
        </a:p>
      </dgm:t>
    </dgm:pt>
    <dgm:pt modelId="{A083E38D-08EC-40FD-A0A1-47C2DB67A95A}" type="parTrans" cxnId="{41CE7C6A-6BA3-4B4D-828F-5E84B026DF17}">
      <dgm:prSet/>
      <dgm:spPr/>
      <dgm:t>
        <a:bodyPr/>
        <a:lstStyle/>
        <a:p>
          <a:endParaRPr lang="en-US"/>
        </a:p>
      </dgm:t>
    </dgm:pt>
    <dgm:pt modelId="{0162452E-0316-419F-A0D4-08E1503D95E2}" type="sibTrans" cxnId="{41CE7C6A-6BA3-4B4D-828F-5E84B026DF17}">
      <dgm:prSet/>
      <dgm:spPr/>
      <dgm:t>
        <a:bodyPr/>
        <a:lstStyle/>
        <a:p>
          <a:endParaRPr lang="en-US"/>
        </a:p>
      </dgm:t>
    </dgm:pt>
    <dgm:pt modelId="{637092FC-6FEA-41CB-8EE1-246BE3D775C1}">
      <dgm:prSet/>
      <dgm:spPr/>
      <dgm:t>
        <a:bodyPr/>
        <a:lstStyle/>
        <a:p>
          <a:r>
            <a:t>Ankara'da yaya altyapısını ve ortak hareketliliği teşvik etmek için önemli hususlar şunlardır:</a:t>
          </a:r>
        </a:p>
      </dgm:t>
    </dgm:pt>
    <dgm:pt modelId="{7AD41C86-ECD4-47E8-958F-6D484479EEF9}" type="parTrans" cxnId="{47092E49-C545-4873-87DE-BCCFB2A35063}">
      <dgm:prSet/>
      <dgm:spPr/>
      <dgm:t>
        <a:bodyPr/>
        <a:lstStyle/>
        <a:p>
          <a:endParaRPr lang="en-US"/>
        </a:p>
      </dgm:t>
    </dgm:pt>
    <dgm:pt modelId="{863365C4-714B-4AAA-B059-EEAF633905B7}" type="sibTrans" cxnId="{47092E49-C545-4873-87DE-BCCFB2A35063}">
      <dgm:prSet/>
      <dgm:spPr/>
      <dgm:t>
        <a:bodyPr/>
        <a:lstStyle/>
        <a:p>
          <a:endParaRPr lang="en-US"/>
        </a:p>
      </dgm:t>
    </dgm:pt>
    <dgm:pt modelId="{023265FA-EF69-4E26-B095-C6EF53B8407A}">
      <dgm:prSet custT="1"/>
      <dgm:spPr/>
      <dgm:t>
        <a:bodyPr/>
        <a:lstStyle/>
        <a:p>
          <a:pPr>
            <a:defRPr sz="800"/>
          </a:pPr>
          <a:r>
            <a:t>Altyapı tasarımı: Yaya altyapısının güvenli, kullanışlı ve erişilebilir olmasını sağlamak</a:t>
          </a:r>
        </a:p>
      </dgm:t>
    </dgm:pt>
    <dgm:pt modelId="{05B8E06E-C450-4335-AE22-8E1A34E6ECF4}" type="parTrans" cxnId="{8AA4A84A-672D-493C-A99A-A97A4E30EE56}">
      <dgm:prSet/>
      <dgm:spPr/>
      <dgm:t>
        <a:bodyPr/>
        <a:lstStyle/>
        <a:p>
          <a:endParaRPr lang="en-US"/>
        </a:p>
      </dgm:t>
    </dgm:pt>
    <dgm:pt modelId="{0C8316C5-9833-4B37-B7CC-2A71CB57C10B}" type="sibTrans" cxnId="{8AA4A84A-672D-493C-A99A-A97A4E30EE56}">
      <dgm:prSet/>
      <dgm:spPr/>
      <dgm:t>
        <a:bodyPr/>
        <a:lstStyle/>
        <a:p>
          <a:endParaRPr lang="en-US"/>
        </a:p>
      </dgm:t>
    </dgm:pt>
    <dgm:pt modelId="{2A80C0C5-4544-448B-9064-DD1BCABD367F}">
      <dgm:prSet custT="1"/>
      <dgm:spPr/>
      <dgm:t>
        <a:bodyPr/>
        <a:lstStyle/>
        <a:p>
          <a:pPr>
            <a:defRPr sz="800"/>
          </a:pPr>
          <a:r>
            <a:t>Hizmet kalitesi: Paylaşılan mobilite hizmetlerinin kullanıcılar için güvenilir ve uygun olmasını sağlamak</a:t>
          </a:r>
        </a:p>
      </dgm:t>
    </dgm:pt>
    <dgm:pt modelId="{1814F350-1127-4591-8A56-2EAE9A095870}" type="parTrans" cxnId="{B715877F-FDB6-430D-B4DC-15E3F42DE929}">
      <dgm:prSet/>
      <dgm:spPr/>
      <dgm:t>
        <a:bodyPr/>
        <a:lstStyle/>
        <a:p>
          <a:endParaRPr lang="en-US"/>
        </a:p>
      </dgm:t>
    </dgm:pt>
    <dgm:pt modelId="{79FE6607-3E6D-435C-971A-0885C61F317E}" type="sibTrans" cxnId="{B715877F-FDB6-430D-B4DC-15E3F42DE929}">
      <dgm:prSet/>
      <dgm:spPr/>
      <dgm:t>
        <a:bodyPr/>
        <a:lstStyle/>
        <a:p>
          <a:endParaRPr lang="en-US"/>
        </a:p>
      </dgm:t>
    </dgm:pt>
    <dgm:pt modelId="{3625FF44-2DFE-4CAC-8955-0372A2F19B8F}">
      <dgm:prSet custT="1"/>
      <dgm:spPr/>
      <dgm:t>
        <a:bodyPr/>
        <a:lstStyle/>
        <a:p>
          <a:pPr>
            <a:defRPr sz="800"/>
          </a:pPr>
          <a:r>
            <a:t>Kamu bilinci ve eğitimi: Sakinleri yaya altyapısının ve paylaşılan hareketliliğin yararları konusunda eğitmek ve kullanımlarını teşvik etmek</a:t>
          </a:r>
        </a:p>
      </dgm:t>
    </dgm:pt>
    <dgm:pt modelId="{BBE3752F-5C0F-4601-BAAD-59267913BA08}" type="parTrans" cxnId="{7D70D291-79BB-43E0-AAB1-9AB6F9029313}">
      <dgm:prSet/>
      <dgm:spPr/>
      <dgm:t>
        <a:bodyPr/>
        <a:lstStyle/>
        <a:p>
          <a:endParaRPr lang="en-US"/>
        </a:p>
      </dgm:t>
    </dgm:pt>
    <dgm:pt modelId="{02D24155-31CB-4BE7-A48B-92719B020CF3}" type="sibTrans" cxnId="{7D70D291-79BB-43E0-AAB1-9AB6F9029313}">
      <dgm:prSet/>
      <dgm:spPr/>
      <dgm:t>
        <a:bodyPr/>
        <a:lstStyle/>
        <a:p>
          <a:endParaRPr lang="en-US"/>
        </a:p>
      </dgm:t>
    </dgm:pt>
    <dgm:pt modelId="{76E575E6-852C-4E4A-AB3D-209A85C9A822}">
      <dgm:prSet/>
      <dgm:spPr/>
      <dgm:t>
        <a:bodyPr/>
        <a:lstStyle/>
        <a:p>
          <a:r>
            <a:t>Ankara'daki ulaşım planlamacıları, güvenli ve kullanışlı yaya altyapısını teşvik ederek ve uygun fiyatlı paylaşımlı hareketlilik seçenekleri sunarak trafik sıkışıklığını azaltabilir, sürdürülebilir hareketliliği teşvik edebilir ve tüm sakinler için yaşam kalitesini artırabilir.</a:t>
          </a:r>
        </a:p>
      </dgm:t>
    </dgm:pt>
    <dgm:pt modelId="{4881958D-6274-41AB-AF00-9EB66159CB6C}" type="parTrans" cxnId="{D568D893-3808-4D44-B87D-8210AB79101D}">
      <dgm:prSet/>
      <dgm:spPr/>
      <dgm:t>
        <a:bodyPr/>
        <a:lstStyle/>
        <a:p>
          <a:endParaRPr lang="en-US"/>
        </a:p>
      </dgm:t>
    </dgm:pt>
    <dgm:pt modelId="{08128718-C95D-4B77-ACDB-66B90B4C5481}" type="sibTrans" cxnId="{D568D893-3808-4D44-B87D-8210AB79101D}">
      <dgm:prSet/>
      <dgm:spPr/>
      <dgm:t>
        <a:bodyPr/>
        <a:lstStyle/>
        <a:p>
          <a:endParaRPr lang="en-US"/>
        </a:p>
      </dgm:t>
    </dgm:pt>
    <dgm:pt modelId="{1A638040-0B47-42E5-9170-C732B0DF1D9B}" type="pres">
      <dgm:prSet presAssocID="{6562251B-1A49-4638-86B7-47168B0CC87E}" presName="Name0" presStyleCnt="0">
        <dgm:presLayoutVars>
          <dgm:chMax val="11"/>
          <dgm:chPref val="11"/>
          <dgm:dir/>
          <dgm:resizeHandles/>
        </dgm:presLayoutVars>
      </dgm:prSet>
      <dgm:spPr/>
    </dgm:pt>
    <dgm:pt modelId="{57B2D9BE-EE4D-4A72-801D-65D37D73F646}" type="pres">
      <dgm:prSet presAssocID="{76E575E6-852C-4E4A-AB3D-209A85C9A822}" presName="Accent3" presStyleCnt="0"/>
      <dgm:spPr/>
    </dgm:pt>
    <dgm:pt modelId="{463FAE8A-3200-438D-8660-AAB3E1E8CBEF}" type="pres">
      <dgm:prSet presAssocID="{76E575E6-852C-4E4A-AB3D-209A85C9A822}" presName="Accent" presStyleLbl="node1" presStyleIdx="0" presStyleCnt="3"/>
      <dgm:spPr/>
    </dgm:pt>
    <dgm:pt modelId="{8DFB53E4-14A6-417F-90B6-7BF70949E675}" type="pres">
      <dgm:prSet presAssocID="{76E575E6-852C-4E4A-AB3D-209A85C9A822}" presName="ParentBackground3" presStyleCnt="0"/>
      <dgm:spPr/>
    </dgm:pt>
    <dgm:pt modelId="{8950B0C3-527D-47DC-AAEC-A85C7383ED41}" type="pres">
      <dgm:prSet presAssocID="{76E575E6-852C-4E4A-AB3D-209A85C9A822}" presName="ParentBackground" presStyleLbl="fgAcc1" presStyleIdx="0" presStyleCnt="3"/>
      <dgm:spPr/>
    </dgm:pt>
    <dgm:pt modelId="{3BECC28E-E637-4B60-A817-FAF32EEFF062}" type="pres">
      <dgm:prSet presAssocID="{76E575E6-852C-4E4A-AB3D-209A85C9A822}" presName="Parent3" presStyleLbl="revTx" presStyleIdx="0" presStyleCnt="1">
        <dgm:presLayoutVars>
          <dgm:chMax val="1"/>
          <dgm:chPref val="1"/>
          <dgm:bulletEnabled val="1"/>
        </dgm:presLayoutVars>
      </dgm:prSet>
      <dgm:spPr/>
    </dgm:pt>
    <dgm:pt modelId="{484AC890-2E39-443C-B376-0573C696D028}" type="pres">
      <dgm:prSet presAssocID="{637092FC-6FEA-41CB-8EE1-246BE3D775C1}" presName="Accent2" presStyleCnt="0"/>
      <dgm:spPr/>
    </dgm:pt>
    <dgm:pt modelId="{8A1C5D8C-5F5D-4FEC-937B-9F0AA2A9689C}" type="pres">
      <dgm:prSet presAssocID="{637092FC-6FEA-41CB-8EE1-246BE3D775C1}" presName="Accent" presStyleLbl="node1" presStyleIdx="1" presStyleCnt="3"/>
      <dgm:spPr/>
    </dgm:pt>
    <dgm:pt modelId="{B8E8533B-7C6A-4AE8-961D-A365F42B07C4}" type="pres">
      <dgm:prSet presAssocID="{637092FC-6FEA-41CB-8EE1-246BE3D775C1}" presName="ParentBackground2" presStyleCnt="0"/>
      <dgm:spPr/>
    </dgm:pt>
    <dgm:pt modelId="{C4EFAAB4-B993-4E92-96FE-73CFB74FFC15}" type="pres">
      <dgm:prSet presAssocID="{637092FC-6FEA-41CB-8EE1-246BE3D775C1}" presName="ParentBackground" presStyleLbl="fgAcc1" presStyleIdx="1" presStyleCnt="3"/>
      <dgm:spPr/>
    </dgm:pt>
    <dgm:pt modelId="{C783C160-E28F-41F6-892C-8E40F2B11FE2}" type="pres">
      <dgm:prSet presAssocID="{637092FC-6FEA-41CB-8EE1-246BE3D775C1}" presName="Child2" presStyleLbl="revTx" presStyleIdx="0" presStyleCnt="1">
        <dgm:presLayoutVars>
          <dgm:chMax val="0"/>
          <dgm:chPref val="0"/>
          <dgm:bulletEnabled val="1"/>
        </dgm:presLayoutVars>
      </dgm:prSet>
      <dgm:spPr/>
    </dgm:pt>
    <dgm:pt modelId="{526E61C0-A4E8-46F0-B7C9-66E78E3A3F6A}" type="pres">
      <dgm:prSet presAssocID="{637092FC-6FEA-41CB-8EE1-246BE3D775C1}" presName="Parent2" presStyleLbl="revTx" presStyleIdx="0" presStyleCnt="1">
        <dgm:presLayoutVars>
          <dgm:chMax val="1"/>
          <dgm:chPref val="1"/>
          <dgm:bulletEnabled val="1"/>
        </dgm:presLayoutVars>
      </dgm:prSet>
      <dgm:spPr/>
    </dgm:pt>
    <dgm:pt modelId="{E229852C-6016-4EFC-96C3-08297018F33B}" type="pres">
      <dgm:prSet presAssocID="{018F2CC9-130B-44A6-B12A-740F5750D0A4}" presName="Accent1" presStyleCnt="0"/>
      <dgm:spPr/>
    </dgm:pt>
    <dgm:pt modelId="{13A609EC-5DCD-4E75-BD19-61B73498B7BA}" type="pres">
      <dgm:prSet presAssocID="{018F2CC9-130B-44A6-B12A-740F5750D0A4}" presName="Accent" presStyleLbl="node1" presStyleIdx="2" presStyleCnt="3"/>
      <dgm:spPr/>
    </dgm:pt>
    <dgm:pt modelId="{817B9D61-591B-45B0-B0F7-AC261AA5C96A}" type="pres">
      <dgm:prSet presAssocID="{018F2CC9-130B-44A6-B12A-740F5750D0A4}" presName="ParentBackground1" presStyleCnt="0"/>
      <dgm:spPr/>
    </dgm:pt>
    <dgm:pt modelId="{309F96CA-36D2-4061-ABDB-61CC913D5903}" type="pres">
      <dgm:prSet presAssocID="{018F2CC9-130B-44A6-B12A-740F5750D0A4}" presName="ParentBackground" presStyleLbl="fgAcc1" presStyleIdx="2" presStyleCnt="3"/>
      <dgm:spPr/>
    </dgm:pt>
    <dgm:pt modelId="{07536E99-9E9D-44D4-AD71-C12755FD65A8}" type="pres">
      <dgm:prSet presAssocID="{018F2CC9-130B-44A6-B12A-740F5750D0A4}" presName="Parent1" presStyleLbl="revTx" presStyleIdx="0" presStyleCnt="1">
        <dgm:presLayoutVars>
          <dgm:chMax val="1"/>
          <dgm:chPref val="1"/>
          <dgm:bulletEnabled val="1"/>
        </dgm:presLayoutVars>
      </dgm:prSet>
      <dgm:spPr/>
    </dgm:pt>
  </dgm:ptLst>
  <dgm:cxnLst>
    <dgm:cxn modelId="{A6247D1F-5543-47EA-B62D-078572857AD6}" type="presOf" srcId="{3625FF44-2DFE-4CAC-8955-0372A2F19B8F}" destId="{C783C160-E28F-41F6-892C-8E40F2B11FE2}" srcOrd="0" destOrd="2" presId="urn:microsoft.com/office/officeart/2011/layout/CircleProcess"/>
    <dgm:cxn modelId="{B60C1F22-5742-482F-9596-6CAB6FE8DE55}" type="presOf" srcId="{637092FC-6FEA-41CB-8EE1-246BE3D775C1}" destId="{526E61C0-A4E8-46F0-B7C9-66E78E3A3F6A}" srcOrd="1" destOrd="0" presId="urn:microsoft.com/office/officeart/2011/layout/CircleProcess"/>
    <dgm:cxn modelId="{2214233E-A7C3-4346-9D4D-0F5E48DDB40F}" type="presOf" srcId="{018F2CC9-130B-44A6-B12A-740F5750D0A4}" destId="{309F96CA-36D2-4061-ABDB-61CC913D5903}" srcOrd="0" destOrd="0" presId="urn:microsoft.com/office/officeart/2011/layout/CircleProcess"/>
    <dgm:cxn modelId="{94D8A940-BF48-4BC4-AB9C-34E3CF515D1C}" type="presOf" srcId="{76E575E6-852C-4E4A-AB3D-209A85C9A822}" destId="{3BECC28E-E637-4B60-A817-FAF32EEFF062}" srcOrd="1" destOrd="0" presId="urn:microsoft.com/office/officeart/2011/layout/CircleProcess"/>
    <dgm:cxn modelId="{47092E49-C545-4873-87DE-BCCFB2A35063}" srcId="{6562251B-1A49-4638-86B7-47168B0CC87E}" destId="{637092FC-6FEA-41CB-8EE1-246BE3D775C1}" srcOrd="1" destOrd="0" parTransId="{7AD41C86-ECD4-47E8-958F-6D484479EEF9}" sibTransId="{863365C4-714B-4AAA-B059-EEAF633905B7}"/>
    <dgm:cxn modelId="{41CE7C6A-6BA3-4B4D-828F-5E84B026DF17}" srcId="{6562251B-1A49-4638-86B7-47168B0CC87E}" destId="{018F2CC9-130B-44A6-B12A-740F5750D0A4}" srcOrd="0" destOrd="0" parTransId="{A083E38D-08EC-40FD-A0A1-47C2DB67A95A}" sibTransId="{0162452E-0316-419F-A0D4-08E1503D95E2}"/>
    <dgm:cxn modelId="{8AA4A84A-672D-493C-A99A-A97A4E30EE56}" srcId="{637092FC-6FEA-41CB-8EE1-246BE3D775C1}" destId="{023265FA-EF69-4E26-B095-C6EF53B8407A}" srcOrd="0" destOrd="0" parTransId="{05B8E06E-C450-4335-AE22-8E1A34E6ECF4}" sibTransId="{0C8316C5-9833-4B37-B7CC-2A71CB57C10B}"/>
    <dgm:cxn modelId="{FEDAAF51-1191-45C7-A1FC-112CA888B038}" type="presOf" srcId="{018F2CC9-130B-44A6-B12A-740F5750D0A4}" destId="{07536E99-9E9D-44D4-AD71-C12755FD65A8}" srcOrd="1" destOrd="0" presId="urn:microsoft.com/office/officeart/2011/layout/CircleProcess"/>
    <dgm:cxn modelId="{EB04A158-BEAD-4A04-A248-84D89C4E6B45}" type="presOf" srcId="{023265FA-EF69-4E26-B095-C6EF53B8407A}" destId="{C783C160-E28F-41F6-892C-8E40F2B11FE2}" srcOrd="0" destOrd="0" presId="urn:microsoft.com/office/officeart/2011/layout/CircleProcess"/>
    <dgm:cxn modelId="{B715877F-FDB6-430D-B4DC-15E3F42DE929}" srcId="{637092FC-6FEA-41CB-8EE1-246BE3D775C1}" destId="{2A80C0C5-4544-448B-9064-DD1BCABD367F}" srcOrd="1" destOrd="0" parTransId="{1814F350-1127-4591-8A56-2EAE9A095870}" sibTransId="{79FE6607-3E6D-435C-971A-0885C61F317E}"/>
    <dgm:cxn modelId="{0E564389-F9D1-496F-A483-3BFAB4A0C8D7}" type="presOf" srcId="{2A80C0C5-4544-448B-9064-DD1BCABD367F}" destId="{C783C160-E28F-41F6-892C-8E40F2B11FE2}" srcOrd="0" destOrd="1" presId="urn:microsoft.com/office/officeart/2011/layout/CircleProcess"/>
    <dgm:cxn modelId="{7D70D291-79BB-43E0-AAB1-9AB6F9029313}" srcId="{637092FC-6FEA-41CB-8EE1-246BE3D775C1}" destId="{3625FF44-2DFE-4CAC-8955-0372A2F19B8F}" srcOrd="2" destOrd="0" parTransId="{BBE3752F-5C0F-4601-BAAD-59267913BA08}" sibTransId="{02D24155-31CB-4BE7-A48B-92719B020CF3}"/>
    <dgm:cxn modelId="{D568D893-3808-4D44-B87D-8210AB79101D}" srcId="{6562251B-1A49-4638-86B7-47168B0CC87E}" destId="{76E575E6-852C-4E4A-AB3D-209A85C9A822}" srcOrd="2" destOrd="0" parTransId="{4881958D-6274-41AB-AF00-9EB66159CB6C}" sibTransId="{08128718-C95D-4B77-ACDB-66B90B4C5481}"/>
    <dgm:cxn modelId="{EEF44F95-CCBF-4F60-A486-4D1E072C8F8E}" type="presOf" srcId="{6562251B-1A49-4638-86B7-47168B0CC87E}" destId="{1A638040-0B47-42E5-9170-C732B0DF1D9B}" srcOrd="0" destOrd="0" presId="urn:microsoft.com/office/officeart/2011/layout/CircleProcess"/>
    <dgm:cxn modelId="{C148B7E7-9A49-4595-87F4-F29C8DBFB636}" type="presOf" srcId="{637092FC-6FEA-41CB-8EE1-246BE3D775C1}" destId="{C4EFAAB4-B993-4E92-96FE-73CFB74FFC15}" srcOrd="0" destOrd="0" presId="urn:microsoft.com/office/officeart/2011/layout/CircleProcess"/>
    <dgm:cxn modelId="{84A441F2-9976-4191-9955-E08DBB28061C}" type="presOf" srcId="{76E575E6-852C-4E4A-AB3D-209A85C9A822}" destId="{8950B0C3-527D-47DC-AAEC-A85C7383ED41}" srcOrd="0" destOrd="0" presId="urn:microsoft.com/office/officeart/2011/layout/CircleProcess"/>
    <dgm:cxn modelId="{F0889128-0554-4354-8A00-8B3F3EBF5C46}" type="presParOf" srcId="{1A638040-0B47-42E5-9170-C732B0DF1D9B}" destId="{57B2D9BE-EE4D-4A72-801D-65D37D73F646}" srcOrd="0" destOrd="0" presId="urn:microsoft.com/office/officeart/2011/layout/CircleProcess"/>
    <dgm:cxn modelId="{F7A7C015-4D19-4D35-8A49-1E48AB58701D}" type="presParOf" srcId="{57B2D9BE-EE4D-4A72-801D-65D37D73F646}" destId="{463FAE8A-3200-438D-8660-AAB3E1E8CBEF}" srcOrd="0" destOrd="0" presId="urn:microsoft.com/office/officeart/2011/layout/CircleProcess"/>
    <dgm:cxn modelId="{1B00F97F-37E7-4292-9EF1-F0EAE35F6E27}" type="presParOf" srcId="{1A638040-0B47-42E5-9170-C732B0DF1D9B}" destId="{8DFB53E4-14A6-417F-90B6-7BF70949E675}" srcOrd="1" destOrd="0" presId="urn:microsoft.com/office/officeart/2011/layout/CircleProcess"/>
    <dgm:cxn modelId="{10168E2A-4CDE-4D37-B0D0-23CA097145D2}" type="presParOf" srcId="{8DFB53E4-14A6-417F-90B6-7BF70949E675}" destId="{8950B0C3-527D-47DC-AAEC-A85C7383ED41}" srcOrd="0" destOrd="0" presId="urn:microsoft.com/office/officeart/2011/layout/CircleProcess"/>
    <dgm:cxn modelId="{20F9A85E-203A-4C2C-A9F9-DEB45C55D47A}" type="presParOf" srcId="{1A638040-0B47-42E5-9170-C732B0DF1D9B}" destId="{3BECC28E-E637-4B60-A817-FAF32EEFF062}" srcOrd="2" destOrd="0" presId="urn:microsoft.com/office/officeart/2011/layout/CircleProcess"/>
    <dgm:cxn modelId="{05BCA6E9-A494-460A-B1A1-E01DFDC8FF03}" type="presParOf" srcId="{1A638040-0B47-42E5-9170-C732B0DF1D9B}" destId="{484AC890-2E39-443C-B376-0573C696D028}" srcOrd="3" destOrd="0" presId="urn:microsoft.com/office/officeart/2011/layout/CircleProcess"/>
    <dgm:cxn modelId="{8450A2CB-1C1E-4726-9414-BC6703C41FE1}" type="presParOf" srcId="{484AC890-2E39-443C-B376-0573C696D028}" destId="{8A1C5D8C-5F5D-4FEC-937B-9F0AA2A9689C}" srcOrd="0" destOrd="0" presId="urn:microsoft.com/office/officeart/2011/layout/CircleProcess"/>
    <dgm:cxn modelId="{13631310-020B-4D72-BC8D-CE41F8CBB375}" type="presParOf" srcId="{1A638040-0B47-42E5-9170-C732B0DF1D9B}" destId="{B8E8533B-7C6A-4AE8-961D-A365F42B07C4}" srcOrd="4" destOrd="0" presId="urn:microsoft.com/office/officeart/2011/layout/CircleProcess"/>
    <dgm:cxn modelId="{AADDE1DD-0FFE-4BA3-A5E8-9CE4BDDFD28B}" type="presParOf" srcId="{B8E8533B-7C6A-4AE8-961D-A365F42B07C4}" destId="{C4EFAAB4-B993-4E92-96FE-73CFB74FFC15}" srcOrd="0" destOrd="0" presId="urn:microsoft.com/office/officeart/2011/layout/CircleProcess"/>
    <dgm:cxn modelId="{B67D8312-08BB-4363-8A36-6C837108F1DA}" type="presParOf" srcId="{1A638040-0B47-42E5-9170-C732B0DF1D9B}" destId="{C783C160-E28F-41F6-892C-8E40F2B11FE2}" srcOrd="5" destOrd="0" presId="urn:microsoft.com/office/officeart/2011/layout/CircleProcess"/>
    <dgm:cxn modelId="{A28B61B4-93C7-4318-B9A7-C84531458404}" type="presParOf" srcId="{1A638040-0B47-42E5-9170-C732B0DF1D9B}" destId="{526E61C0-A4E8-46F0-B7C9-66E78E3A3F6A}" srcOrd="6" destOrd="0" presId="urn:microsoft.com/office/officeart/2011/layout/CircleProcess"/>
    <dgm:cxn modelId="{4B4DAED1-F5C6-4D0D-8CA6-3DD3FF37E9E7}" type="presParOf" srcId="{1A638040-0B47-42E5-9170-C732B0DF1D9B}" destId="{E229852C-6016-4EFC-96C3-08297018F33B}" srcOrd="7" destOrd="0" presId="urn:microsoft.com/office/officeart/2011/layout/CircleProcess"/>
    <dgm:cxn modelId="{FA8E0E68-58E6-4F3A-A471-C45CEFDC81E5}" type="presParOf" srcId="{E229852C-6016-4EFC-96C3-08297018F33B}" destId="{13A609EC-5DCD-4E75-BD19-61B73498B7BA}" srcOrd="0" destOrd="0" presId="urn:microsoft.com/office/officeart/2011/layout/CircleProcess"/>
    <dgm:cxn modelId="{A553CD82-BB2E-4559-AE9A-D09F3AC31279}" type="presParOf" srcId="{1A638040-0B47-42E5-9170-C732B0DF1D9B}" destId="{817B9D61-591B-45B0-B0F7-AC261AA5C96A}" srcOrd="8" destOrd="0" presId="urn:microsoft.com/office/officeart/2011/layout/CircleProcess"/>
    <dgm:cxn modelId="{741E3A2B-2B5A-419F-B31E-9B06899C6F99}" type="presParOf" srcId="{817B9D61-591B-45B0-B0F7-AC261AA5C96A}" destId="{309F96CA-36D2-4061-ABDB-61CC913D5903}" srcOrd="0" destOrd="0" presId="urn:microsoft.com/office/officeart/2011/layout/CircleProcess"/>
    <dgm:cxn modelId="{64FB9E62-F0C0-471B-A1D3-F745745D1FB1}" type="presParOf" srcId="{1A638040-0B47-42E5-9170-C732B0DF1D9B}" destId="{07536E99-9E9D-44D4-AD71-C12755FD65A8}" srcOrd="9" destOrd="0" presId="urn:microsoft.com/office/officeart/2011/layout/Circle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CA3750B9-E7F2-42D1-A92D-83504580D5C5}" type="doc">
      <dgm:prSet loTypeId="urn:microsoft.com/office/officeart/2005/8/layout/lProcess2" loCatId="list" qsTypeId="urn:microsoft.com/office/officeart/2005/8/quickstyle/simple1" qsCatId="simple" csTypeId="urn:microsoft.com/office/officeart/2005/8/colors/colorful2" csCatId="colorful"/>
      <dgm:spPr/>
      <dgm:t>
        <a:bodyPr/>
        <a:lstStyle/>
        <a:p>
          <a:endParaRPr lang="en-US"/>
        </a:p>
      </dgm:t>
    </dgm:pt>
    <dgm:pt modelId="{8AD0C9ED-44C0-4BF9-B0A7-5776DCF18C35}">
      <dgm:prSet/>
      <dgm:spPr/>
      <dgm:t>
        <a:bodyPr/>
        <a:lstStyle/>
        <a:p>
          <a:r>
            <a:t>Etkin park yönetimi, trafik sıkışıklığını azaltmak, hava kalitesini iyileştirmek ve Ankara'daki genel yaşam kalitesini artırmak için kritik öneme sahiptir. Aşağıdaki park yönetimi stratejileri kullanılabilir:</a:t>
          </a:r>
        </a:p>
      </dgm:t>
    </dgm:pt>
    <dgm:pt modelId="{1A6FB9B7-0854-4D62-9FD0-715F62D2CC51}" type="parTrans" cxnId="{E5329285-A846-4180-B350-C68DC61B708A}">
      <dgm:prSet/>
      <dgm:spPr/>
      <dgm:t>
        <a:bodyPr/>
        <a:lstStyle/>
        <a:p>
          <a:endParaRPr lang="en-US"/>
        </a:p>
      </dgm:t>
    </dgm:pt>
    <dgm:pt modelId="{51D3A528-3275-45D0-9D80-6049C58955FC}" type="sibTrans" cxnId="{E5329285-A846-4180-B350-C68DC61B708A}">
      <dgm:prSet/>
      <dgm:spPr/>
      <dgm:t>
        <a:bodyPr/>
        <a:lstStyle/>
        <a:p>
          <a:endParaRPr lang="en-US"/>
        </a:p>
      </dgm:t>
    </dgm:pt>
    <dgm:pt modelId="{D3B47229-7B48-4F33-A859-D54545CB1E0E}">
      <dgm:prSet/>
      <dgm:spPr/>
      <dgm:t>
        <a:bodyPr/>
        <a:lstStyle/>
        <a:p>
          <a:r>
            <a:t>Fiyatlandırma: Otopark cirosunu teşvik etmek ve talebi azaltmak için yoğun saatlerde daha fazla ücret alan dinamik fiyatlandırma.</a:t>
          </a:r>
        </a:p>
      </dgm:t>
    </dgm:pt>
    <dgm:pt modelId="{1FBBFA7D-263B-43C1-BD90-53C165800FC4}" type="parTrans" cxnId="{D42709B5-2F89-45F5-A3FB-B51D4ED39752}">
      <dgm:prSet/>
      <dgm:spPr/>
      <dgm:t>
        <a:bodyPr/>
        <a:lstStyle/>
        <a:p>
          <a:endParaRPr lang="en-US"/>
        </a:p>
      </dgm:t>
    </dgm:pt>
    <dgm:pt modelId="{70C53F6D-2E18-4453-B1BD-91030AE1DA31}" type="sibTrans" cxnId="{D42709B5-2F89-45F5-A3FB-B51D4ED39752}">
      <dgm:prSet/>
      <dgm:spPr/>
      <dgm:t>
        <a:bodyPr/>
        <a:lstStyle/>
        <a:p>
          <a:endParaRPr lang="en-US"/>
        </a:p>
      </dgm:t>
    </dgm:pt>
    <dgm:pt modelId="{C003A293-0606-420A-AD18-DFA8EFCE413C}">
      <dgm:prSet/>
      <dgm:spPr/>
      <dgm:t>
        <a:bodyPr/>
        <a:lstStyle/>
        <a:p>
          <a:r>
            <a:t>Tedarik yönetimi: Sürüşü caydırmak ve alternatif ulaşımı teşvik etmek için şehir merkezleri gibi belirli alanlarda mevcut olan park alanlarının sayısını sınırlamak.</a:t>
          </a:r>
        </a:p>
      </dgm:t>
    </dgm:pt>
    <dgm:pt modelId="{68B93733-D956-486C-8955-211CDFC89D38}" type="parTrans" cxnId="{1AD3C9B2-0E75-4229-A763-914A52C2E211}">
      <dgm:prSet/>
      <dgm:spPr/>
      <dgm:t>
        <a:bodyPr/>
        <a:lstStyle/>
        <a:p>
          <a:endParaRPr lang="en-US"/>
        </a:p>
      </dgm:t>
    </dgm:pt>
    <dgm:pt modelId="{9F58C936-C785-4155-AD6B-02C5C9DF627B}" type="sibTrans" cxnId="{1AD3C9B2-0E75-4229-A763-914A52C2E211}">
      <dgm:prSet/>
      <dgm:spPr/>
      <dgm:t>
        <a:bodyPr/>
        <a:lstStyle/>
        <a:p>
          <a:endParaRPr lang="en-US"/>
        </a:p>
      </dgm:t>
    </dgm:pt>
    <dgm:pt modelId="{2577F9B2-338B-423F-BF02-9169FA10722E}">
      <dgm:prSet/>
      <dgm:spPr/>
      <dgm:t>
        <a:bodyPr/>
        <a:lstStyle/>
        <a:p>
          <a:r>
            <a:t>Zaman sınırları: Ciroyu teşvik etmek ve uzun süre sokaklarda park edilen araba sayısını azaltmak için park için zaman sınırları oluşturulması.</a:t>
          </a:r>
        </a:p>
      </dgm:t>
    </dgm:pt>
    <dgm:pt modelId="{4F323729-7535-4AEF-8F05-15A267ACB59B}" type="parTrans" cxnId="{8C5E7625-7F40-4559-8A88-9288E282EEFB}">
      <dgm:prSet/>
      <dgm:spPr/>
      <dgm:t>
        <a:bodyPr/>
        <a:lstStyle/>
        <a:p>
          <a:endParaRPr lang="en-US"/>
        </a:p>
      </dgm:t>
    </dgm:pt>
    <dgm:pt modelId="{9D1C6027-67EA-4DC5-8D0C-9262F96F6575}" type="sibTrans" cxnId="{8C5E7625-7F40-4559-8A88-9288E282EEFB}">
      <dgm:prSet/>
      <dgm:spPr/>
      <dgm:t>
        <a:bodyPr/>
        <a:lstStyle/>
        <a:p>
          <a:endParaRPr lang="en-US"/>
        </a:p>
      </dgm:t>
    </dgm:pt>
    <dgm:pt modelId="{4564A37B-EF54-49C1-BF7F-AB11C74C19BF}">
      <dgm:prSet/>
      <dgm:spPr/>
      <dgm:t>
        <a:bodyPr/>
        <a:lstStyle/>
        <a:p>
          <a:r>
            <a:t>Teşvikler: Toplu taşıma veya bisiklet paylaşım programlarında indirimler gibi alternatif ulaşım modlarını kullanmak için teşvikler sunmak.</a:t>
          </a:r>
        </a:p>
      </dgm:t>
    </dgm:pt>
    <dgm:pt modelId="{0726CCD4-DF42-497C-8228-8DB952506B71}" type="parTrans" cxnId="{F7D16551-7CE9-4DF9-AEFA-5E79E0E04AFF}">
      <dgm:prSet/>
      <dgm:spPr/>
      <dgm:t>
        <a:bodyPr/>
        <a:lstStyle/>
        <a:p>
          <a:endParaRPr lang="en-US"/>
        </a:p>
      </dgm:t>
    </dgm:pt>
    <dgm:pt modelId="{0E07F5B3-18D1-41E7-8BD2-029C79F544F6}" type="sibTrans" cxnId="{F7D16551-7CE9-4DF9-AEFA-5E79E0E04AFF}">
      <dgm:prSet/>
      <dgm:spPr/>
      <dgm:t>
        <a:bodyPr/>
        <a:lstStyle/>
        <a:p>
          <a:endParaRPr lang="en-US"/>
        </a:p>
      </dgm:t>
    </dgm:pt>
    <dgm:pt modelId="{0D6D50D3-C635-462D-A10B-BE03039C865F}">
      <dgm:prSet/>
      <dgm:spPr/>
      <dgm:t>
        <a:bodyPr/>
        <a:lstStyle/>
        <a:p>
          <a:r>
            <a:t>Etkili park yönetimi, sokaklardaki tıkanıklığı önemli ölçüde azaltabilir ve Ankara'daki genel ulaşım sistemini iyileştirebilir. Ücretlendirme, otopark alanlarının planlanması ve teknolojik çözümler gibi otopark stratejileri uygulanarak, şehirde park talebi daha iyi yönetilebilir ve böylece herkesin hareketliliği artabilir.</a:t>
          </a:r>
        </a:p>
      </dgm:t>
    </dgm:pt>
    <dgm:pt modelId="{81D698E7-B6DE-44C5-BA39-D36DDF168A46}" type="parTrans" cxnId="{A82004AD-944D-4799-967B-61E07E38B13D}">
      <dgm:prSet/>
      <dgm:spPr/>
      <dgm:t>
        <a:bodyPr/>
        <a:lstStyle/>
        <a:p>
          <a:endParaRPr lang="en-US"/>
        </a:p>
      </dgm:t>
    </dgm:pt>
    <dgm:pt modelId="{745A81FC-AA22-4B14-BD67-A1CDCD6AF08D}" type="sibTrans" cxnId="{A82004AD-944D-4799-967B-61E07E38B13D}">
      <dgm:prSet/>
      <dgm:spPr/>
      <dgm:t>
        <a:bodyPr/>
        <a:lstStyle/>
        <a:p>
          <a:endParaRPr lang="en-US"/>
        </a:p>
      </dgm:t>
    </dgm:pt>
    <dgm:pt modelId="{DCC9CB18-8743-44BF-A85E-B95EB202AE73}" type="pres">
      <dgm:prSet presAssocID="{CA3750B9-E7F2-42D1-A92D-83504580D5C5}" presName="theList" presStyleCnt="0">
        <dgm:presLayoutVars>
          <dgm:dir/>
          <dgm:animLvl val="lvl"/>
          <dgm:resizeHandles val="exact"/>
        </dgm:presLayoutVars>
      </dgm:prSet>
      <dgm:spPr/>
    </dgm:pt>
    <dgm:pt modelId="{5B2BBF9A-1DC5-40F9-A1BF-43BB59635EAA}" type="pres">
      <dgm:prSet presAssocID="{8AD0C9ED-44C0-4BF9-B0A7-5776DCF18C35}" presName="compNode" presStyleCnt="0"/>
      <dgm:spPr/>
    </dgm:pt>
    <dgm:pt modelId="{B04BE5A8-78E7-44CA-BAB3-4443E0800255}" type="pres">
      <dgm:prSet presAssocID="{8AD0C9ED-44C0-4BF9-B0A7-5776DCF18C35}" presName="aNode" presStyleLbl="bgShp" presStyleIdx="0" presStyleCnt="2"/>
      <dgm:spPr/>
    </dgm:pt>
    <dgm:pt modelId="{EFBA1E3B-6FDD-445B-BB72-54D152E91D2F}" type="pres">
      <dgm:prSet presAssocID="{8AD0C9ED-44C0-4BF9-B0A7-5776DCF18C35}" presName="textNode" presStyleLbl="bgShp" presStyleIdx="0" presStyleCnt="2"/>
      <dgm:spPr/>
    </dgm:pt>
    <dgm:pt modelId="{D2770760-AC05-49A1-A949-EFF5BAC70E63}" type="pres">
      <dgm:prSet presAssocID="{8AD0C9ED-44C0-4BF9-B0A7-5776DCF18C35}" presName="compChildNode" presStyleCnt="0"/>
      <dgm:spPr/>
    </dgm:pt>
    <dgm:pt modelId="{6B182807-4E2F-4381-BDCE-9FCEF203C827}" type="pres">
      <dgm:prSet presAssocID="{8AD0C9ED-44C0-4BF9-B0A7-5776DCF18C35}" presName="theInnerList" presStyleCnt="0"/>
      <dgm:spPr/>
    </dgm:pt>
    <dgm:pt modelId="{CDBAA88F-3073-4F5E-8976-99E7564119E0}" type="pres">
      <dgm:prSet presAssocID="{D3B47229-7B48-4F33-A859-D54545CB1E0E}" presName="childNode" presStyleLbl="node1" presStyleIdx="0" presStyleCnt="4">
        <dgm:presLayoutVars>
          <dgm:bulletEnabled val="1"/>
        </dgm:presLayoutVars>
      </dgm:prSet>
      <dgm:spPr/>
    </dgm:pt>
    <dgm:pt modelId="{AC3B2B29-0128-49F6-8DB5-CFDCDD91DD11}" type="pres">
      <dgm:prSet presAssocID="{D3B47229-7B48-4F33-A859-D54545CB1E0E}" presName="aSpace2" presStyleCnt="0"/>
      <dgm:spPr/>
    </dgm:pt>
    <dgm:pt modelId="{4034C98F-3F12-4697-9D67-2A992992F69A}" type="pres">
      <dgm:prSet presAssocID="{C003A293-0606-420A-AD18-DFA8EFCE413C}" presName="childNode" presStyleLbl="node1" presStyleIdx="1" presStyleCnt="4">
        <dgm:presLayoutVars>
          <dgm:bulletEnabled val="1"/>
        </dgm:presLayoutVars>
      </dgm:prSet>
      <dgm:spPr/>
    </dgm:pt>
    <dgm:pt modelId="{83D29E2E-4DD8-4979-B17F-8EA07B38690F}" type="pres">
      <dgm:prSet presAssocID="{C003A293-0606-420A-AD18-DFA8EFCE413C}" presName="aSpace2" presStyleCnt="0"/>
      <dgm:spPr/>
    </dgm:pt>
    <dgm:pt modelId="{814AD0AA-8D60-44E1-A8A2-AE3F46B33B70}" type="pres">
      <dgm:prSet presAssocID="{2577F9B2-338B-423F-BF02-9169FA10722E}" presName="childNode" presStyleLbl="node1" presStyleIdx="2" presStyleCnt="4">
        <dgm:presLayoutVars>
          <dgm:bulletEnabled val="1"/>
        </dgm:presLayoutVars>
      </dgm:prSet>
      <dgm:spPr/>
    </dgm:pt>
    <dgm:pt modelId="{2E6B30F9-774F-4C8A-A9F4-5DCCBA9C0BED}" type="pres">
      <dgm:prSet presAssocID="{2577F9B2-338B-423F-BF02-9169FA10722E}" presName="aSpace2" presStyleCnt="0"/>
      <dgm:spPr/>
    </dgm:pt>
    <dgm:pt modelId="{645D386F-6F46-4A9E-B940-36FA79E424AE}" type="pres">
      <dgm:prSet presAssocID="{4564A37B-EF54-49C1-BF7F-AB11C74C19BF}" presName="childNode" presStyleLbl="node1" presStyleIdx="3" presStyleCnt="4">
        <dgm:presLayoutVars>
          <dgm:bulletEnabled val="1"/>
        </dgm:presLayoutVars>
      </dgm:prSet>
      <dgm:spPr/>
    </dgm:pt>
    <dgm:pt modelId="{9C6858D5-F0D3-4B31-B9E9-3EF8DEE89337}" type="pres">
      <dgm:prSet presAssocID="{8AD0C9ED-44C0-4BF9-B0A7-5776DCF18C35}" presName="aSpace" presStyleCnt="0"/>
      <dgm:spPr/>
    </dgm:pt>
    <dgm:pt modelId="{E6EC7B2A-C5EF-41ED-A799-E4C6EB2BC726}" type="pres">
      <dgm:prSet presAssocID="{0D6D50D3-C635-462D-A10B-BE03039C865F}" presName="compNode" presStyleCnt="0"/>
      <dgm:spPr/>
    </dgm:pt>
    <dgm:pt modelId="{6F3297B6-0ED8-401B-AF83-5FCBC24F5D2C}" type="pres">
      <dgm:prSet presAssocID="{0D6D50D3-C635-462D-A10B-BE03039C865F}" presName="aNode" presStyleLbl="bgShp" presStyleIdx="1" presStyleCnt="2"/>
      <dgm:spPr/>
    </dgm:pt>
    <dgm:pt modelId="{FFBDEDB2-BC25-4151-9E66-DDF281EB125B}" type="pres">
      <dgm:prSet presAssocID="{0D6D50D3-C635-462D-A10B-BE03039C865F}" presName="textNode" presStyleLbl="bgShp" presStyleIdx="1" presStyleCnt="2"/>
      <dgm:spPr/>
    </dgm:pt>
    <dgm:pt modelId="{BC0D5058-ECF9-4014-99BF-DC7D2DE7B771}" type="pres">
      <dgm:prSet presAssocID="{0D6D50D3-C635-462D-A10B-BE03039C865F}" presName="compChildNode" presStyleCnt="0"/>
      <dgm:spPr/>
    </dgm:pt>
    <dgm:pt modelId="{18A5D552-8A6C-40BC-9412-A2D07B168139}" type="pres">
      <dgm:prSet presAssocID="{0D6D50D3-C635-462D-A10B-BE03039C865F}" presName="theInnerList" presStyleCnt="0"/>
      <dgm:spPr/>
    </dgm:pt>
  </dgm:ptLst>
  <dgm:cxnLst>
    <dgm:cxn modelId="{8C5E7625-7F40-4559-8A88-9288E282EEFB}" srcId="{8AD0C9ED-44C0-4BF9-B0A7-5776DCF18C35}" destId="{2577F9B2-338B-423F-BF02-9169FA10722E}" srcOrd="2" destOrd="0" parTransId="{4F323729-7535-4AEF-8F05-15A267ACB59B}" sibTransId="{9D1C6027-67EA-4DC5-8D0C-9262F96F6575}"/>
    <dgm:cxn modelId="{D6480D3F-84D0-40C0-844B-A359983AB624}" type="presOf" srcId="{CA3750B9-E7F2-42D1-A92D-83504580D5C5}" destId="{DCC9CB18-8743-44BF-A85E-B95EB202AE73}" srcOrd="0" destOrd="0" presId="urn:microsoft.com/office/officeart/2005/8/layout/lProcess2"/>
    <dgm:cxn modelId="{39E3F05C-F493-46A9-9E5C-F59F5BE92B73}" type="presOf" srcId="{0D6D50D3-C635-462D-A10B-BE03039C865F}" destId="{FFBDEDB2-BC25-4151-9E66-DDF281EB125B}" srcOrd="1" destOrd="0" presId="urn:microsoft.com/office/officeart/2005/8/layout/lProcess2"/>
    <dgm:cxn modelId="{8CCFC049-FCBE-41C3-812B-00A6178CDF91}" type="presOf" srcId="{8AD0C9ED-44C0-4BF9-B0A7-5776DCF18C35}" destId="{EFBA1E3B-6FDD-445B-BB72-54D152E91D2F}" srcOrd="1" destOrd="0" presId="urn:microsoft.com/office/officeart/2005/8/layout/lProcess2"/>
    <dgm:cxn modelId="{F7D16551-7CE9-4DF9-AEFA-5E79E0E04AFF}" srcId="{8AD0C9ED-44C0-4BF9-B0A7-5776DCF18C35}" destId="{4564A37B-EF54-49C1-BF7F-AB11C74C19BF}" srcOrd="3" destOrd="0" parTransId="{0726CCD4-DF42-497C-8228-8DB952506B71}" sibTransId="{0E07F5B3-18D1-41E7-8BD2-029C79F544F6}"/>
    <dgm:cxn modelId="{6B704372-62EC-47B7-BF70-372065FBD371}" type="presOf" srcId="{D3B47229-7B48-4F33-A859-D54545CB1E0E}" destId="{CDBAA88F-3073-4F5E-8976-99E7564119E0}" srcOrd="0" destOrd="0" presId="urn:microsoft.com/office/officeart/2005/8/layout/lProcess2"/>
    <dgm:cxn modelId="{BFAE2078-FCC8-4CD1-BE88-6EA878D76728}" type="presOf" srcId="{2577F9B2-338B-423F-BF02-9169FA10722E}" destId="{814AD0AA-8D60-44E1-A8A2-AE3F46B33B70}" srcOrd="0" destOrd="0" presId="urn:microsoft.com/office/officeart/2005/8/layout/lProcess2"/>
    <dgm:cxn modelId="{E5329285-A846-4180-B350-C68DC61B708A}" srcId="{CA3750B9-E7F2-42D1-A92D-83504580D5C5}" destId="{8AD0C9ED-44C0-4BF9-B0A7-5776DCF18C35}" srcOrd="0" destOrd="0" parTransId="{1A6FB9B7-0854-4D62-9FD0-715F62D2CC51}" sibTransId="{51D3A528-3275-45D0-9D80-6049C58955FC}"/>
    <dgm:cxn modelId="{A82004AD-944D-4799-967B-61E07E38B13D}" srcId="{CA3750B9-E7F2-42D1-A92D-83504580D5C5}" destId="{0D6D50D3-C635-462D-A10B-BE03039C865F}" srcOrd="1" destOrd="0" parTransId="{81D698E7-B6DE-44C5-BA39-D36DDF168A46}" sibTransId="{745A81FC-AA22-4B14-BD67-A1CDCD6AF08D}"/>
    <dgm:cxn modelId="{1AD3C9B2-0E75-4229-A763-914A52C2E211}" srcId="{8AD0C9ED-44C0-4BF9-B0A7-5776DCF18C35}" destId="{C003A293-0606-420A-AD18-DFA8EFCE413C}" srcOrd="1" destOrd="0" parTransId="{68B93733-D956-486C-8955-211CDFC89D38}" sibTransId="{9F58C936-C785-4155-AD6B-02C5C9DF627B}"/>
    <dgm:cxn modelId="{D42709B5-2F89-45F5-A3FB-B51D4ED39752}" srcId="{8AD0C9ED-44C0-4BF9-B0A7-5776DCF18C35}" destId="{D3B47229-7B48-4F33-A859-D54545CB1E0E}" srcOrd="0" destOrd="0" parTransId="{1FBBFA7D-263B-43C1-BD90-53C165800FC4}" sibTransId="{70C53F6D-2E18-4453-B1BD-91030AE1DA31}"/>
    <dgm:cxn modelId="{3A065FC0-D4A0-463C-98FB-6C1FAB28D317}" type="presOf" srcId="{8AD0C9ED-44C0-4BF9-B0A7-5776DCF18C35}" destId="{B04BE5A8-78E7-44CA-BAB3-4443E0800255}" srcOrd="0" destOrd="0" presId="urn:microsoft.com/office/officeart/2005/8/layout/lProcess2"/>
    <dgm:cxn modelId="{DD35B9D8-8F81-43C4-A6E7-3BD3A17F9893}" type="presOf" srcId="{0D6D50D3-C635-462D-A10B-BE03039C865F}" destId="{6F3297B6-0ED8-401B-AF83-5FCBC24F5D2C}" srcOrd="0" destOrd="0" presId="urn:microsoft.com/office/officeart/2005/8/layout/lProcess2"/>
    <dgm:cxn modelId="{BC91E9E6-424B-4A34-9390-6D7E83F249E2}" type="presOf" srcId="{C003A293-0606-420A-AD18-DFA8EFCE413C}" destId="{4034C98F-3F12-4697-9D67-2A992992F69A}" srcOrd="0" destOrd="0" presId="urn:microsoft.com/office/officeart/2005/8/layout/lProcess2"/>
    <dgm:cxn modelId="{45621AFD-893A-47A1-B126-3889C8631EEA}" type="presOf" srcId="{4564A37B-EF54-49C1-BF7F-AB11C74C19BF}" destId="{645D386F-6F46-4A9E-B940-36FA79E424AE}" srcOrd="0" destOrd="0" presId="urn:microsoft.com/office/officeart/2005/8/layout/lProcess2"/>
    <dgm:cxn modelId="{A2F5F2D2-B8E9-4DE7-BF45-1768A9087255}" type="presParOf" srcId="{DCC9CB18-8743-44BF-A85E-B95EB202AE73}" destId="{5B2BBF9A-1DC5-40F9-A1BF-43BB59635EAA}" srcOrd="0" destOrd="0" presId="urn:microsoft.com/office/officeart/2005/8/layout/lProcess2"/>
    <dgm:cxn modelId="{E5EC9D66-3B4E-4036-8374-2CB683E6A7EB}" type="presParOf" srcId="{5B2BBF9A-1DC5-40F9-A1BF-43BB59635EAA}" destId="{B04BE5A8-78E7-44CA-BAB3-4443E0800255}" srcOrd="0" destOrd="0" presId="urn:microsoft.com/office/officeart/2005/8/layout/lProcess2"/>
    <dgm:cxn modelId="{8547A240-19D7-4019-9549-AC4F05750662}" type="presParOf" srcId="{5B2BBF9A-1DC5-40F9-A1BF-43BB59635EAA}" destId="{EFBA1E3B-6FDD-445B-BB72-54D152E91D2F}" srcOrd="1" destOrd="0" presId="urn:microsoft.com/office/officeart/2005/8/layout/lProcess2"/>
    <dgm:cxn modelId="{678FEC2F-B738-4EE8-A525-5086336CD99F}" type="presParOf" srcId="{5B2BBF9A-1DC5-40F9-A1BF-43BB59635EAA}" destId="{D2770760-AC05-49A1-A949-EFF5BAC70E63}" srcOrd="2" destOrd="0" presId="urn:microsoft.com/office/officeart/2005/8/layout/lProcess2"/>
    <dgm:cxn modelId="{B9C4DF89-80FD-4EB3-8A1B-335AA4C858C2}" type="presParOf" srcId="{D2770760-AC05-49A1-A949-EFF5BAC70E63}" destId="{6B182807-4E2F-4381-BDCE-9FCEF203C827}" srcOrd="0" destOrd="0" presId="urn:microsoft.com/office/officeart/2005/8/layout/lProcess2"/>
    <dgm:cxn modelId="{3D4EC3AD-5A3A-4272-B6F1-10595B9D8CD6}" type="presParOf" srcId="{6B182807-4E2F-4381-BDCE-9FCEF203C827}" destId="{CDBAA88F-3073-4F5E-8976-99E7564119E0}" srcOrd="0" destOrd="0" presId="urn:microsoft.com/office/officeart/2005/8/layout/lProcess2"/>
    <dgm:cxn modelId="{C9A73158-46EE-4771-9AC4-81B768EAF113}" type="presParOf" srcId="{6B182807-4E2F-4381-BDCE-9FCEF203C827}" destId="{AC3B2B29-0128-49F6-8DB5-CFDCDD91DD11}" srcOrd="1" destOrd="0" presId="urn:microsoft.com/office/officeart/2005/8/layout/lProcess2"/>
    <dgm:cxn modelId="{3D506A47-EDE8-4700-B428-BABD4FD85E07}" type="presParOf" srcId="{6B182807-4E2F-4381-BDCE-9FCEF203C827}" destId="{4034C98F-3F12-4697-9D67-2A992992F69A}" srcOrd="2" destOrd="0" presId="urn:microsoft.com/office/officeart/2005/8/layout/lProcess2"/>
    <dgm:cxn modelId="{5BAA7061-ED7F-4A68-A356-F2489C697D03}" type="presParOf" srcId="{6B182807-4E2F-4381-BDCE-9FCEF203C827}" destId="{83D29E2E-4DD8-4979-B17F-8EA07B38690F}" srcOrd="3" destOrd="0" presId="urn:microsoft.com/office/officeart/2005/8/layout/lProcess2"/>
    <dgm:cxn modelId="{90C3EE14-8FA6-494E-B9DD-02D9F61EBFA4}" type="presParOf" srcId="{6B182807-4E2F-4381-BDCE-9FCEF203C827}" destId="{814AD0AA-8D60-44E1-A8A2-AE3F46B33B70}" srcOrd="4" destOrd="0" presId="urn:microsoft.com/office/officeart/2005/8/layout/lProcess2"/>
    <dgm:cxn modelId="{65218E7A-2522-4F87-BC6A-F037DDE15F43}" type="presParOf" srcId="{6B182807-4E2F-4381-BDCE-9FCEF203C827}" destId="{2E6B30F9-774F-4C8A-A9F4-5DCCBA9C0BED}" srcOrd="5" destOrd="0" presId="urn:microsoft.com/office/officeart/2005/8/layout/lProcess2"/>
    <dgm:cxn modelId="{4478FE77-33F1-426A-A257-51FFE3FFDD29}" type="presParOf" srcId="{6B182807-4E2F-4381-BDCE-9FCEF203C827}" destId="{645D386F-6F46-4A9E-B940-36FA79E424AE}" srcOrd="6" destOrd="0" presId="urn:microsoft.com/office/officeart/2005/8/layout/lProcess2"/>
    <dgm:cxn modelId="{4D7D63B8-E062-4A59-894D-7B2B5B6906B6}" type="presParOf" srcId="{DCC9CB18-8743-44BF-A85E-B95EB202AE73}" destId="{9C6858D5-F0D3-4B31-B9E9-3EF8DEE89337}" srcOrd="1" destOrd="0" presId="urn:microsoft.com/office/officeart/2005/8/layout/lProcess2"/>
    <dgm:cxn modelId="{3F248FEA-A53E-48CA-9B4E-9D254625082D}" type="presParOf" srcId="{DCC9CB18-8743-44BF-A85E-B95EB202AE73}" destId="{E6EC7B2A-C5EF-41ED-A799-E4C6EB2BC726}" srcOrd="2" destOrd="0" presId="urn:microsoft.com/office/officeart/2005/8/layout/lProcess2"/>
    <dgm:cxn modelId="{9209F2AA-BBBC-4171-B09C-8ED50B58CAA5}" type="presParOf" srcId="{E6EC7B2A-C5EF-41ED-A799-E4C6EB2BC726}" destId="{6F3297B6-0ED8-401B-AF83-5FCBC24F5D2C}" srcOrd="0" destOrd="0" presId="urn:microsoft.com/office/officeart/2005/8/layout/lProcess2"/>
    <dgm:cxn modelId="{44446ABF-92DA-4003-AFB7-6BA00CBD6224}" type="presParOf" srcId="{E6EC7B2A-C5EF-41ED-A799-E4C6EB2BC726}" destId="{FFBDEDB2-BC25-4151-9E66-DDF281EB125B}" srcOrd="1" destOrd="0" presId="urn:microsoft.com/office/officeart/2005/8/layout/lProcess2"/>
    <dgm:cxn modelId="{B3772E81-0D1E-4EE9-A728-02F0260C541C}" type="presParOf" srcId="{E6EC7B2A-C5EF-41ED-A799-E4C6EB2BC726}" destId="{BC0D5058-ECF9-4014-99BF-DC7D2DE7B771}" srcOrd="2" destOrd="0" presId="urn:microsoft.com/office/officeart/2005/8/layout/lProcess2"/>
    <dgm:cxn modelId="{C742278D-77B2-48E5-AE28-EE605254BC19}" type="presParOf" srcId="{BC0D5058-ECF9-4014-99BF-DC7D2DE7B771}" destId="{18A5D552-8A6C-40BC-9412-A2D07B168139}" srcOrd="0" destOrd="0" presId="urn:microsoft.com/office/officeart/2005/8/layout/lProcess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8D0C4FB9-1865-4FC4-B6DB-98AAAA5EA484}" type="doc">
      <dgm:prSet loTypeId="urn:microsoft.com/office/officeart/2018/2/layout/IconLabelList" loCatId="icon" qsTypeId="urn:microsoft.com/office/officeart/2005/8/quickstyle/simple1" qsCatId="simple" csTypeId="urn:microsoft.com/office/officeart/2018/5/colors/Iconchunking_neutralbg_colorful1" csCatId="colorful" phldr="1"/>
      <dgm:spPr/>
      <dgm:t>
        <a:bodyPr/>
        <a:lstStyle/>
        <a:p>
          <a:endParaRPr lang="en-US"/>
        </a:p>
      </dgm:t>
    </dgm:pt>
    <dgm:pt modelId="{B07E81FD-BBE3-4F2E-A46C-D32A914A24CB}">
      <dgm:prSet/>
      <dgm:spPr/>
      <dgm:t>
        <a:bodyPr/>
        <a:lstStyle/>
        <a:p>
          <a:pPr>
            <a:lnSpc>
              <a:spcPct val="100000"/>
            </a:lnSpc>
          </a:pPr>
          <a:r>
            <a:t>Ankara'daki ulaşım planlamacılarının şehrin park ihtiyaçlarını doğru bir şekilde değerlendirmeleri ve etkili park yönetimi stratejileri geliştirmeleri için kapsamlı bir park arz ve talep analizi gereklidir. Bu analiz, şehirdeki mevcut park arzının değerlendirilmesini, gelecekteki park talebinin tahmin edilmesini ve potansiyel park eksikliği veya fazlalığı alanlarının belirlenmesini içerir.</a:t>
          </a:r>
        </a:p>
      </dgm:t>
    </dgm:pt>
    <dgm:pt modelId="{3A4395A3-BAF6-4E6E-AE40-17647032388A}" type="parTrans" cxnId="{EA0E84F5-7AD3-4BDA-B063-8158ECF8EC51}">
      <dgm:prSet/>
      <dgm:spPr/>
      <dgm:t>
        <a:bodyPr/>
        <a:lstStyle/>
        <a:p>
          <a:endParaRPr lang="en-US"/>
        </a:p>
      </dgm:t>
    </dgm:pt>
    <dgm:pt modelId="{40D9E3AE-6C23-4B94-8631-129F1948392D}" type="sibTrans" cxnId="{EA0E84F5-7AD3-4BDA-B063-8158ECF8EC51}">
      <dgm:prSet/>
      <dgm:spPr/>
      <dgm:t>
        <a:bodyPr/>
        <a:lstStyle/>
        <a:p>
          <a:endParaRPr lang="en-US"/>
        </a:p>
      </dgm:t>
    </dgm:pt>
    <dgm:pt modelId="{0E0336BE-0450-4DDD-BD9F-CC0D035AAF9F}">
      <dgm:prSet/>
      <dgm:spPr/>
      <dgm:t>
        <a:bodyPr/>
        <a:lstStyle/>
        <a:p>
          <a:pPr>
            <a:lnSpc>
              <a:spcPct val="100000"/>
            </a:lnSpc>
          </a:pPr>
          <a:r>
            <a:t>Otopark arz ve talep analizi, ticari veya konut geliştirme gibi arazi kullanımının park talebi üzerindeki etkisini de dikkate almaktadır. Bu analizi yaparak, ulaşım planlamacıları şehrin farklı bölgeleri için uygun park arzını belirleyebilir ve park eksikliklerini gidermek için hedeflenen park yönetimi stratejileri geliştirebilirler.</a:t>
          </a:r>
        </a:p>
      </dgm:t>
    </dgm:pt>
    <dgm:pt modelId="{18197C31-D438-4E00-8540-2D051D81D5AF}" type="parTrans" cxnId="{1E96120A-C1B1-4D09-99EC-F1800E70DC65}">
      <dgm:prSet/>
      <dgm:spPr/>
      <dgm:t>
        <a:bodyPr/>
        <a:lstStyle/>
        <a:p>
          <a:endParaRPr lang="en-US"/>
        </a:p>
      </dgm:t>
    </dgm:pt>
    <dgm:pt modelId="{6B2718BB-768E-40F5-BC05-E27B3F29BB32}" type="sibTrans" cxnId="{1E96120A-C1B1-4D09-99EC-F1800E70DC65}">
      <dgm:prSet/>
      <dgm:spPr/>
      <dgm:t>
        <a:bodyPr/>
        <a:lstStyle/>
        <a:p>
          <a:endParaRPr lang="en-US"/>
        </a:p>
      </dgm:t>
    </dgm:pt>
    <dgm:pt modelId="{97BD38CB-61B8-4A57-9165-980DD834B09D}">
      <dgm:prSet/>
      <dgm:spPr/>
      <dgm:t>
        <a:bodyPr/>
        <a:lstStyle/>
        <a:p>
          <a:pPr>
            <a:lnSpc>
              <a:spcPct val="100000"/>
            </a:lnSpc>
          </a:pPr>
          <a:r>
            <a:t>Etkin park yönetimi, tıkanıklığı azaltabilir, aktif ulaşımı teşvik edebilir ve Ankara'da sürdürülebilir hareketliliği teşvik edebilir. Bu nedenle, ulaşım planlamacılarının genel ulaşım planlama süreçlerinin bir parçası olarak kapsamlı bir park arz ve talep analizi yapmaları çok önemlidir.</a:t>
          </a:r>
        </a:p>
      </dgm:t>
    </dgm:pt>
    <dgm:pt modelId="{2B9B8ADF-BA16-4C7B-8D24-A82433B28086}" type="parTrans" cxnId="{40D767C9-E849-4177-9518-0386B907B750}">
      <dgm:prSet/>
      <dgm:spPr/>
      <dgm:t>
        <a:bodyPr/>
        <a:lstStyle/>
        <a:p>
          <a:endParaRPr lang="en-US"/>
        </a:p>
      </dgm:t>
    </dgm:pt>
    <dgm:pt modelId="{FDC24D97-774A-4D6B-814D-BEFEB82A8779}" type="sibTrans" cxnId="{40D767C9-E849-4177-9518-0386B907B750}">
      <dgm:prSet/>
      <dgm:spPr/>
      <dgm:t>
        <a:bodyPr/>
        <a:lstStyle/>
        <a:p>
          <a:endParaRPr lang="en-US"/>
        </a:p>
      </dgm:t>
    </dgm:pt>
    <dgm:pt modelId="{62833E49-3C16-4CAC-80B8-B6AB9006BA05}" type="pres">
      <dgm:prSet presAssocID="{8D0C4FB9-1865-4FC4-B6DB-98AAAA5EA484}" presName="root" presStyleCnt="0">
        <dgm:presLayoutVars>
          <dgm:dir/>
          <dgm:resizeHandles val="exact"/>
        </dgm:presLayoutVars>
      </dgm:prSet>
      <dgm:spPr/>
    </dgm:pt>
    <dgm:pt modelId="{3AC7907A-1E82-44C7-B45F-83D983CFED0F}" type="pres">
      <dgm:prSet presAssocID="{B07E81FD-BBE3-4F2E-A46C-D32A914A24CB}" presName="compNode" presStyleCnt="0"/>
      <dgm:spPr/>
    </dgm:pt>
    <dgm:pt modelId="{9C94C1DA-D007-4463-8F00-EF8CB621AF09}" type="pres">
      <dgm:prSet presAssocID="{B07E81FD-BBE3-4F2E-A46C-D32A914A24CB}"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Car"/>
        </a:ext>
      </dgm:extLst>
    </dgm:pt>
    <dgm:pt modelId="{BA16BB56-CEB3-48DD-A502-265BCC5B731B}" type="pres">
      <dgm:prSet presAssocID="{B07E81FD-BBE3-4F2E-A46C-D32A914A24CB}" presName="spaceRect" presStyleCnt="0"/>
      <dgm:spPr/>
    </dgm:pt>
    <dgm:pt modelId="{0878F970-6AEC-471A-99D0-0B782833A6FA}" type="pres">
      <dgm:prSet presAssocID="{B07E81FD-BBE3-4F2E-A46C-D32A914A24CB}" presName="textRect" presStyleLbl="revTx" presStyleIdx="0" presStyleCnt="3">
        <dgm:presLayoutVars>
          <dgm:chMax val="1"/>
          <dgm:chPref val="1"/>
        </dgm:presLayoutVars>
      </dgm:prSet>
      <dgm:spPr/>
    </dgm:pt>
    <dgm:pt modelId="{3549C8A9-640F-4C0C-B9A5-5AA2E94EEE67}" type="pres">
      <dgm:prSet presAssocID="{40D9E3AE-6C23-4B94-8631-129F1948392D}" presName="sibTrans" presStyleCnt="0"/>
      <dgm:spPr/>
    </dgm:pt>
    <dgm:pt modelId="{EBC7C305-549F-4D37-A6A0-41A4F0C559F2}" type="pres">
      <dgm:prSet presAssocID="{0E0336BE-0450-4DDD-BD9F-CC0D035AAF9F}" presName="compNode" presStyleCnt="0"/>
      <dgm:spPr/>
    </dgm:pt>
    <dgm:pt modelId="{86925EDA-FE17-4B64-9DA0-52BC850CED1A}" type="pres">
      <dgm:prSet presAssocID="{0E0336BE-0450-4DDD-BD9F-CC0D035AAF9F}"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City"/>
        </a:ext>
      </dgm:extLst>
    </dgm:pt>
    <dgm:pt modelId="{BE76C85F-6D4B-456E-8335-04F7F247D099}" type="pres">
      <dgm:prSet presAssocID="{0E0336BE-0450-4DDD-BD9F-CC0D035AAF9F}" presName="spaceRect" presStyleCnt="0"/>
      <dgm:spPr/>
    </dgm:pt>
    <dgm:pt modelId="{2F029DAB-FD8A-4322-A4CD-695C90FA332F}" type="pres">
      <dgm:prSet presAssocID="{0E0336BE-0450-4DDD-BD9F-CC0D035AAF9F}" presName="textRect" presStyleLbl="revTx" presStyleIdx="1" presStyleCnt="3">
        <dgm:presLayoutVars>
          <dgm:chMax val="1"/>
          <dgm:chPref val="1"/>
        </dgm:presLayoutVars>
      </dgm:prSet>
      <dgm:spPr/>
    </dgm:pt>
    <dgm:pt modelId="{10248173-9504-4EC8-89C8-4230EBD40F94}" type="pres">
      <dgm:prSet presAssocID="{6B2718BB-768E-40F5-BC05-E27B3F29BB32}" presName="sibTrans" presStyleCnt="0"/>
      <dgm:spPr/>
    </dgm:pt>
    <dgm:pt modelId="{A7C3F0BF-7FF9-4677-9482-D8AD6D4C1468}" type="pres">
      <dgm:prSet presAssocID="{97BD38CB-61B8-4A57-9165-980DD834B09D}" presName="compNode" presStyleCnt="0"/>
      <dgm:spPr/>
    </dgm:pt>
    <dgm:pt modelId="{8972F22C-2345-47A7-8085-CC329DB60EF9}" type="pres">
      <dgm:prSet presAssocID="{97BD38CB-61B8-4A57-9165-980DD834B09D}"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Bus"/>
        </a:ext>
      </dgm:extLst>
    </dgm:pt>
    <dgm:pt modelId="{FAE0D621-D79C-4947-A240-54A7AFB8A48C}" type="pres">
      <dgm:prSet presAssocID="{97BD38CB-61B8-4A57-9165-980DD834B09D}" presName="spaceRect" presStyleCnt="0"/>
      <dgm:spPr/>
    </dgm:pt>
    <dgm:pt modelId="{6B170BE1-385E-4F06-B2D7-801F93C835F2}" type="pres">
      <dgm:prSet presAssocID="{97BD38CB-61B8-4A57-9165-980DD834B09D}" presName="textRect" presStyleLbl="revTx" presStyleIdx="2" presStyleCnt="3">
        <dgm:presLayoutVars>
          <dgm:chMax val="1"/>
          <dgm:chPref val="1"/>
        </dgm:presLayoutVars>
      </dgm:prSet>
      <dgm:spPr/>
    </dgm:pt>
  </dgm:ptLst>
  <dgm:cxnLst>
    <dgm:cxn modelId="{096F8C02-7DBD-4528-9237-34F4481495A4}" type="presOf" srcId="{8D0C4FB9-1865-4FC4-B6DB-98AAAA5EA484}" destId="{62833E49-3C16-4CAC-80B8-B6AB9006BA05}" srcOrd="0" destOrd="0" presId="urn:microsoft.com/office/officeart/2018/2/layout/IconLabelList"/>
    <dgm:cxn modelId="{1E96120A-C1B1-4D09-99EC-F1800E70DC65}" srcId="{8D0C4FB9-1865-4FC4-B6DB-98AAAA5EA484}" destId="{0E0336BE-0450-4DDD-BD9F-CC0D035AAF9F}" srcOrd="1" destOrd="0" parTransId="{18197C31-D438-4E00-8540-2D051D81D5AF}" sibTransId="{6B2718BB-768E-40F5-BC05-E27B3F29BB32}"/>
    <dgm:cxn modelId="{B40F9D64-374D-4CE8-B7ED-826B93FCCD6D}" type="presOf" srcId="{B07E81FD-BBE3-4F2E-A46C-D32A914A24CB}" destId="{0878F970-6AEC-471A-99D0-0B782833A6FA}" srcOrd="0" destOrd="0" presId="urn:microsoft.com/office/officeart/2018/2/layout/IconLabelList"/>
    <dgm:cxn modelId="{D38F50B5-787A-42E7-A575-E6DBB05340D5}" type="presOf" srcId="{97BD38CB-61B8-4A57-9165-980DD834B09D}" destId="{6B170BE1-385E-4F06-B2D7-801F93C835F2}" srcOrd="0" destOrd="0" presId="urn:microsoft.com/office/officeart/2018/2/layout/IconLabelList"/>
    <dgm:cxn modelId="{40D767C9-E849-4177-9518-0386B907B750}" srcId="{8D0C4FB9-1865-4FC4-B6DB-98AAAA5EA484}" destId="{97BD38CB-61B8-4A57-9165-980DD834B09D}" srcOrd="2" destOrd="0" parTransId="{2B9B8ADF-BA16-4C7B-8D24-A82433B28086}" sibTransId="{FDC24D97-774A-4D6B-814D-BEFEB82A8779}"/>
    <dgm:cxn modelId="{35715FCE-BC7D-4C01-8F31-27CBEA735F91}" type="presOf" srcId="{0E0336BE-0450-4DDD-BD9F-CC0D035AAF9F}" destId="{2F029DAB-FD8A-4322-A4CD-695C90FA332F}" srcOrd="0" destOrd="0" presId="urn:microsoft.com/office/officeart/2018/2/layout/IconLabelList"/>
    <dgm:cxn modelId="{EA0E84F5-7AD3-4BDA-B063-8158ECF8EC51}" srcId="{8D0C4FB9-1865-4FC4-B6DB-98AAAA5EA484}" destId="{B07E81FD-BBE3-4F2E-A46C-D32A914A24CB}" srcOrd="0" destOrd="0" parTransId="{3A4395A3-BAF6-4E6E-AE40-17647032388A}" sibTransId="{40D9E3AE-6C23-4B94-8631-129F1948392D}"/>
    <dgm:cxn modelId="{B53B7A84-4D4D-4488-967F-43225800226A}" type="presParOf" srcId="{62833E49-3C16-4CAC-80B8-B6AB9006BA05}" destId="{3AC7907A-1E82-44C7-B45F-83D983CFED0F}" srcOrd="0" destOrd="0" presId="urn:microsoft.com/office/officeart/2018/2/layout/IconLabelList"/>
    <dgm:cxn modelId="{C57E02D7-5815-4D4D-9086-61F4A04FAB30}" type="presParOf" srcId="{3AC7907A-1E82-44C7-B45F-83D983CFED0F}" destId="{9C94C1DA-D007-4463-8F00-EF8CB621AF09}" srcOrd="0" destOrd="0" presId="urn:microsoft.com/office/officeart/2018/2/layout/IconLabelList"/>
    <dgm:cxn modelId="{45939A94-8749-49D3-9F81-4BD2859DD2DD}" type="presParOf" srcId="{3AC7907A-1E82-44C7-B45F-83D983CFED0F}" destId="{BA16BB56-CEB3-48DD-A502-265BCC5B731B}" srcOrd="1" destOrd="0" presId="urn:microsoft.com/office/officeart/2018/2/layout/IconLabelList"/>
    <dgm:cxn modelId="{332FFCA0-C4B3-41DD-BED3-5BD0AB569261}" type="presParOf" srcId="{3AC7907A-1E82-44C7-B45F-83D983CFED0F}" destId="{0878F970-6AEC-471A-99D0-0B782833A6FA}" srcOrd="2" destOrd="0" presId="urn:microsoft.com/office/officeart/2018/2/layout/IconLabelList"/>
    <dgm:cxn modelId="{2F9F0200-8FFD-4163-8FA3-0867F02198FC}" type="presParOf" srcId="{62833E49-3C16-4CAC-80B8-B6AB9006BA05}" destId="{3549C8A9-640F-4C0C-B9A5-5AA2E94EEE67}" srcOrd="1" destOrd="0" presId="urn:microsoft.com/office/officeart/2018/2/layout/IconLabelList"/>
    <dgm:cxn modelId="{4B2EB98F-E937-460D-ABB6-426A1FD7F2BB}" type="presParOf" srcId="{62833E49-3C16-4CAC-80B8-B6AB9006BA05}" destId="{EBC7C305-549F-4D37-A6A0-41A4F0C559F2}" srcOrd="2" destOrd="0" presId="urn:microsoft.com/office/officeart/2018/2/layout/IconLabelList"/>
    <dgm:cxn modelId="{4A7A19D7-4122-4D8F-8A2C-5ECFF54AC6BD}" type="presParOf" srcId="{EBC7C305-549F-4D37-A6A0-41A4F0C559F2}" destId="{86925EDA-FE17-4B64-9DA0-52BC850CED1A}" srcOrd="0" destOrd="0" presId="urn:microsoft.com/office/officeart/2018/2/layout/IconLabelList"/>
    <dgm:cxn modelId="{B74166B4-5E23-4525-B395-2033EB0E64A6}" type="presParOf" srcId="{EBC7C305-549F-4D37-A6A0-41A4F0C559F2}" destId="{BE76C85F-6D4B-456E-8335-04F7F247D099}" srcOrd="1" destOrd="0" presId="urn:microsoft.com/office/officeart/2018/2/layout/IconLabelList"/>
    <dgm:cxn modelId="{6519D523-8E8B-4BAF-93C2-C4F4DB5A775F}" type="presParOf" srcId="{EBC7C305-549F-4D37-A6A0-41A4F0C559F2}" destId="{2F029DAB-FD8A-4322-A4CD-695C90FA332F}" srcOrd="2" destOrd="0" presId="urn:microsoft.com/office/officeart/2018/2/layout/IconLabelList"/>
    <dgm:cxn modelId="{B87E7DC0-9015-4BD9-A053-E371C9152EBC}" type="presParOf" srcId="{62833E49-3C16-4CAC-80B8-B6AB9006BA05}" destId="{10248173-9504-4EC8-89C8-4230EBD40F94}" srcOrd="3" destOrd="0" presId="urn:microsoft.com/office/officeart/2018/2/layout/IconLabelList"/>
    <dgm:cxn modelId="{293903E4-D8BF-450B-A6AD-62379834C011}" type="presParOf" srcId="{62833E49-3C16-4CAC-80B8-B6AB9006BA05}" destId="{A7C3F0BF-7FF9-4677-9482-D8AD6D4C1468}" srcOrd="4" destOrd="0" presId="urn:microsoft.com/office/officeart/2018/2/layout/IconLabelList"/>
    <dgm:cxn modelId="{3C308758-0DA0-4C73-BD3A-3B7827367565}" type="presParOf" srcId="{A7C3F0BF-7FF9-4677-9482-D8AD6D4C1468}" destId="{8972F22C-2345-47A7-8085-CC329DB60EF9}" srcOrd="0" destOrd="0" presId="urn:microsoft.com/office/officeart/2018/2/layout/IconLabelList"/>
    <dgm:cxn modelId="{B217A672-448C-4DBD-8D86-C58D8B92A4CB}" type="presParOf" srcId="{A7C3F0BF-7FF9-4677-9482-D8AD6D4C1468}" destId="{FAE0D621-D79C-4947-A240-54A7AFB8A48C}" srcOrd="1" destOrd="0" presId="urn:microsoft.com/office/officeart/2018/2/layout/IconLabelList"/>
    <dgm:cxn modelId="{53E643FB-88C0-4027-8C76-242DC2B35C8C}" type="presParOf" srcId="{A7C3F0BF-7FF9-4677-9482-D8AD6D4C1468}" destId="{6B170BE1-385E-4F06-B2D7-801F93C835F2}" srcOrd="2" destOrd="0" presId="urn:microsoft.com/office/officeart/2018/2/layout/IconLabel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966E5DF0-A10F-47AB-8390-E9203E7A913D}" type="doc">
      <dgm:prSet loTypeId="urn:microsoft.com/office/officeart/2005/8/layout/vList5" loCatId="list" qsTypeId="urn:microsoft.com/office/officeart/2005/8/quickstyle/simple3" qsCatId="simple" csTypeId="urn:microsoft.com/office/officeart/2005/8/colors/colorful1" csCatId="colorful" phldr="1"/>
      <dgm:spPr/>
      <dgm:t>
        <a:bodyPr/>
        <a:lstStyle/>
        <a:p>
          <a:endParaRPr lang="en-US"/>
        </a:p>
      </dgm:t>
    </dgm:pt>
    <dgm:pt modelId="{390884B5-8FF6-4197-964C-BA9B39AC5F57}">
      <dgm:prSet/>
      <dgm:spPr/>
      <dgm:t>
        <a:bodyPr/>
        <a:lstStyle/>
        <a:p>
          <a:r>
            <a:t>Park standartları ve kuralları, farklı arazi kullanımlarında park etmek için minimum gereksinimleri belirler ve park arzının talebe uygun olmasını sağlamaya yardımcı olur. Park standartları belirlenirken aşağıdaki faktörler göz önünde bulundurulur:</a:t>
          </a:r>
        </a:p>
      </dgm:t>
    </dgm:pt>
    <dgm:pt modelId="{6EC5BC92-3705-457F-A1F9-0D4BE9A944A8}" type="parTrans" cxnId="{2DC86A09-5C15-435B-8129-3CE1AE2E41DE}">
      <dgm:prSet/>
      <dgm:spPr/>
      <dgm:t>
        <a:bodyPr/>
        <a:lstStyle/>
        <a:p>
          <a:endParaRPr lang="en-US"/>
        </a:p>
      </dgm:t>
    </dgm:pt>
    <dgm:pt modelId="{5CE7C6CE-C932-45B9-9AAE-4DD7FFE28D1B}" type="sibTrans" cxnId="{2DC86A09-5C15-435B-8129-3CE1AE2E41DE}">
      <dgm:prSet/>
      <dgm:spPr/>
      <dgm:t>
        <a:bodyPr/>
        <a:lstStyle/>
        <a:p>
          <a:endParaRPr lang="en-US"/>
        </a:p>
      </dgm:t>
    </dgm:pt>
    <dgm:pt modelId="{1E8408FC-B2AA-45EA-AA76-DF406D788D5E}">
      <dgm:prSet/>
      <dgm:spPr/>
      <dgm:t>
        <a:bodyPr/>
        <a:lstStyle/>
        <a:p>
          <a:r>
            <a:t>Arazi kullanımı: Farklı arazi kullanımlarının farklı otopark ihtiyaçları vardır. Örneğin, yerleşim alanları tipik olarak ticari alanlardan daha fazla park yeri gerektirir.</a:t>
          </a:r>
        </a:p>
      </dgm:t>
    </dgm:pt>
    <dgm:pt modelId="{51AC4D60-0E72-45B4-B524-641843160EC5}" type="parTrans" cxnId="{6D8307D9-AE61-4DF8-B460-153D14B3C62A}">
      <dgm:prSet/>
      <dgm:spPr/>
      <dgm:t>
        <a:bodyPr/>
        <a:lstStyle/>
        <a:p>
          <a:endParaRPr lang="en-US"/>
        </a:p>
      </dgm:t>
    </dgm:pt>
    <dgm:pt modelId="{6A86EC0F-C859-41F1-A158-EDC90F4E3C2A}" type="sibTrans" cxnId="{6D8307D9-AE61-4DF8-B460-153D14B3C62A}">
      <dgm:prSet/>
      <dgm:spPr/>
      <dgm:t>
        <a:bodyPr/>
        <a:lstStyle/>
        <a:p>
          <a:endParaRPr lang="en-US"/>
        </a:p>
      </dgm:t>
    </dgm:pt>
    <dgm:pt modelId="{BA9C8403-5AB2-4568-B68C-4969293A206D}">
      <dgm:prSet/>
      <dgm:spPr/>
      <dgm:t>
        <a:bodyPr/>
        <a:lstStyle/>
        <a:p>
          <a:r>
            <a:t>Erişilebilirlik: Engelliler de dahil olmak üzere tüm kullanıcılar için park olanaklarının erişilebilirliğinin dikkate alınması.</a:t>
          </a:r>
        </a:p>
      </dgm:t>
    </dgm:pt>
    <dgm:pt modelId="{4678FACB-37C8-4F4C-9F11-DE51D2C6A75E}" type="parTrans" cxnId="{294AE59B-A9CB-4404-8384-730F79ADCAB9}">
      <dgm:prSet/>
      <dgm:spPr/>
      <dgm:t>
        <a:bodyPr/>
        <a:lstStyle/>
        <a:p>
          <a:endParaRPr lang="en-US"/>
        </a:p>
      </dgm:t>
    </dgm:pt>
    <dgm:pt modelId="{0865A1B9-D583-4546-96BA-497AB6ADDDD8}" type="sibTrans" cxnId="{294AE59B-A9CB-4404-8384-730F79ADCAB9}">
      <dgm:prSet/>
      <dgm:spPr/>
      <dgm:t>
        <a:bodyPr/>
        <a:lstStyle/>
        <a:p>
          <a:endParaRPr lang="en-US"/>
        </a:p>
      </dgm:t>
    </dgm:pt>
    <dgm:pt modelId="{6E9332CF-ECA6-4426-8FEE-CB0C996965BD}">
      <dgm:prSet/>
      <dgm:spPr/>
      <dgm:t>
        <a:bodyPr/>
        <a:lstStyle/>
        <a:p>
          <a:r>
            <a:t>Transit kullanılabilirliği: Toplu taşıma kullanımını teşvik etmek için iyi toplu taşıma bağlantılarına sahip alanlarda daha az park yeri sağlanması.</a:t>
          </a:r>
        </a:p>
      </dgm:t>
    </dgm:pt>
    <dgm:pt modelId="{A6A0A979-589C-42DC-AD02-639D94BD3255}" type="parTrans" cxnId="{6E3213D0-6EF4-4DD0-A4FD-F14A82468CF2}">
      <dgm:prSet/>
      <dgm:spPr/>
      <dgm:t>
        <a:bodyPr/>
        <a:lstStyle/>
        <a:p>
          <a:endParaRPr lang="en-US"/>
        </a:p>
      </dgm:t>
    </dgm:pt>
    <dgm:pt modelId="{3C261B45-F876-44B8-8BCD-9BF0AF14BA25}" type="sibTrans" cxnId="{6E3213D0-6EF4-4DD0-A4FD-F14A82468CF2}">
      <dgm:prSet/>
      <dgm:spPr/>
      <dgm:t>
        <a:bodyPr/>
        <a:lstStyle/>
        <a:p>
          <a:endParaRPr lang="en-US"/>
        </a:p>
      </dgm:t>
    </dgm:pt>
    <dgm:pt modelId="{34862B2D-84AE-4F5D-A96C-5982C88661DB}">
      <dgm:prSet/>
      <dgm:spPr/>
      <dgm:t>
        <a:bodyPr/>
        <a:lstStyle/>
        <a:p>
          <a:r>
            <a:t>Teknoloji: Park rehberlik sistemleri gibi teknolojiler, park yerinin kullanımını optimize etmeye ve park yeri aramak için harcanan zamanı azaltmaya yardımcı olabilir.</a:t>
          </a:r>
        </a:p>
      </dgm:t>
    </dgm:pt>
    <dgm:pt modelId="{41A0C3DB-04F7-4EFA-BB86-D8A052EA01D8}" type="parTrans" cxnId="{1D008E7A-DC23-4E62-B770-A3C7732C0A6F}">
      <dgm:prSet/>
      <dgm:spPr/>
      <dgm:t>
        <a:bodyPr/>
        <a:lstStyle/>
        <a:p>
          <a:endParaRPr lang="en-US"/>
        </a:p>
      </dgm:t>
    </dgm:pt>
    <dgm:pt modelId="{741BEC36-5AD9-4D80-814D-D770C026F458}" type="sibTrans" cxnId="{1D008E7A-DC23-4E62-B770-A3C7732C0A6F}">
      <dgm:prSet/>
      <dgm:spPr/>
      <dgm:t>
        <a:bodyPr/>
        <a:lstStyle/>
        <a:p>
          <a:endParaRPr lang="en-US"/>
        </a:p>
      </dgm:t>
    </dgm:pt>
    <dgm:pt modelId="{4F5AC1BC-931C-4AA1-8F1C-EA61164BA2A0}">
      <dgm:prSet/>
      <dgm:spPr/>
      <dgm:t>
        <a:bodyPr/>
        <a:lstStyle/>
        <a:p>
          <a:r>
            <a:t>Otopark arzının talebe uygun olmasını sağlamak ve Ankara sokaklarında park etmenin olumsuz etkilerini en aza indirmek için etkili park standartlarının ve kurallarının oluşturulması çok önemlidir. Bu, otopark fiyatlandırma politikalarının uygulanmasını, alternatif ulaşım yöntemlerinin kullanımını teşvik etmeyi ve yüksek talep gören alanlarda park tesislerinin geliştirilmesini teşvik etmeyi içerebilir. Şehir, otopark yönetimine kapsamlı bir yaklaşım benimseyerek sakinleri için daha verimli ve sürdürülebilir bir ulaşım sistemi oluşturabilir.</a:t>
          </a:r>
        </a:p>
      </dgm:t>
    </dgm:pt>
    <dgm:pt modelId="{34DA8AC0-4F80-42C5-9F8F-E68089829EAC}" type="parTrans" cxnId="{AE7A8A41-483F-4D88-BD08-871B87547380}">
      <dgm:prSet/>
      <dgm:spPr/>
      <dgm:t>
        <a:bodyPr/>
        <a:lstStyle/>
        <a:p>
          <a:endParaRPr lang="en-US"/>
        </a:p>
      </dgm:t>
    </dgm:pt>
    <dgm:pt modelId="{D2F88837-DD54-42A5-BBD9-CA6CC6BE7338}" type="sibTrans" cxnId="{AE7A8A41-483F-4D88-BD08-871B87547380}">
      <dgm:prSet/>
      <dgm:spPr/>
      <dgm:t>
        <a:bodyPr/>
        <a:lstStyle/>
        <a:p>
          <a:endParaRPr lang="en-US"/>
        </a:p>
      </dgm:t>
    </dgm:pt>
    <dgm:pt modelId="{41666468-3C9B-43A6-B5FD-48E82C0ECA0D}" type="pres">
      <dgm:prSet presAssocID="{966E5DF0-A10F-47AB-8390-E9203E7A913D}" presName="Name0" presStyleCnt="0">
        <dgm:presLayoutVars>
          <dgm:dir/>
          <dgm:animLvl val="lvl"/>
          <dgm:resizeHandles val="exact"/>
        </dgm:presLayoutVars>
      </dgm:prSet>
      <dgm:spPr/>
    </dgm:pt>
    <dgm:pt modelId="{E5E007B9-86E7-4E3A-B8A7-E1C46061F208}" type="pres">
      <dgm:prSet presAssocID="{390884B5-8FF6-4197-964C-BA9B39AC5F57}" presName="linNode" presStyleCnt="0"/>
      <dgm:spPr/>
    </dgm:pt>
    <dgm:pt modelId="{E81BA328-5755-49D5-A013-9942F9DB4B41}" type="pres">
      <dgm:prSet presAssocID="{390884B5-8FF6-4197-964C-BA9B39AC5F57}" presName="parentText" presStyleLbl="node1" presStyleIdx="0" presStyleCnt="2">
        <dgm:presLayoutVars>
          <dgm:chMax val="1"/>
          <dgm:bulletEnabled val="1"/>
        </dgm:presLayoutVars>
      </dgm:prSet>
      <dgm:spPr/>
    </dgm:pt>
    <dgm:pt modelId="{46B139AF-CA4F-4C1D-B022-C4A0B36207A0}" type="pres">
      <dgm:prSet presAssocID="{390884B5-8FF6-4197-964C-BA9B39AC5F57}" presName="descendantText" presStyleLbl="alignAccFollowNode1" presStyleIdx="0" presStyleCnt="1">
        <dgm:presLayoutVars>
          <dgm:bulletEnabled val="1"/>
        </dgm:presLayoutVars>
      </dgm:prSet>
      <dgm:spPr/>
    </dgm:pt>
    <dgm:pt modelId="{4EC689D8-70AC-414A-9163-D42C89C343BF}" type="pres">
      <dgm:prSet presAssocID="{5CE7C6CE-C932-45B9-9AAE-4DD7FFE28D1B}" presName="sp" presStyleCnt="0"/>
      <dgm:spPr/>
    </dgm:pt>
    <dgm:pt modelId="{4FB74934-DC92-4EE7-8EDC-A81CC194D20A}" type="pres">
      <dgm:prSet presAssocID="{4F5AC1BC-931C-4AA1-8F1C-EA61164BA2A0}" presName="linNode" presStyleCnt="0"/>
      <dgm:spPr/>
    </dgm:pt>
    <dgm:pt modelId="{736EEBFA-0D0D-47A8-80A7-4332F69C90F2}" type="pres">
      <dgm:prSet presAssocID="{4F5AC1BC-931C-4AA1-8F1C-EA61164BA2A0}" presName="parentText" presStyleLbl="node1" presStyleIdx="1" presStyleCnt="2">
        <dgm:presLayoutVars>
          <dgm:chMax val="1"/>
          <dgm:bulletEnabled val="1"/>
        </dgm:presLayoutVars>
      </dgm:prSet>
      <dgm:spPr/>
    </dgm:pt>
  </dgm:ptLst>
  <dgm:cxnLst>
    <dgm:cxn modelId="{2DC86A09-5C15-435B-8129-3CE1AE2E41DE}" srcId="{966E5DF0-A10F-47AB-8390-E9203E7A913D}" destId="{390884B5-8FF6-4197-964C-BA9B39AC5F57}" srcOrd="0" destOrd="0" parTransId="{6EC5BC92-3705-457F-A1F9-0D4BE9A944A8}" sibTransId="{5CE7C6CE-C932-45B9-9AAE-4DD7FFE28D1B}"/>
    <dgm:cxn modelId="{8C551E24-DDCD-48C8-886C-021D203E60C2}" type="presOf" srcId="{390884B5-8FF6-4197-964C-BA9B39AC5F57}" destId="{E81BA328-5755-49D5-A013-9942F9DB4B41}" srcOrd="0" destOrd="0" presId="urn:microsoft.com/office/officeart/2005/8/layout/vList5"/>
    <dgm:cxn modelId="{F516EC2F-4F2C-457F-AB5E-BA4589440C0F}" type="presOf" srcId="{4F5AC1BC-931C-4AA1-8F1C-EA61164BA2A0}" destId="{736EEBFA-0D0D-47A8-80A7-4332F69C90F2}" srcOrd="0" destOrd="0" presId="urn:microsoft.com/office/officeart/2005/8/layout/vList5"/>
    <dgm:cxn modelId="{17243B35-6CE7-40A3-AE60-9A4A0FCA835C}" type="presOf" srcId="{1E8408FC-B2AA-45EA-AA76-DF406D788D5E}" destId="{46B139AF-CA4F-4C1D-B022-C4A0B36207A0}" srcOrd="0" destOrd="0" presId="urn:microsoft.com/office/officeart/2005/8/layout/vList5"/>
    <dgm:cxn modelId="{0EC1C13A-0771-4590-81F5-DB220DD29111}" type="presOf" srcId="{6E9332CF-ECA6-4426-8FEE-CB0C996965BD}" destId="{46B139AF-CA4F-4C1D-B022-C4A0B36207A0}" srcOrd="0" destOrd="2" presId="urn:microsoft.com/office/officeart/2005/8/layout/vList5"/>
    <dgm:cxn modelId="{AE7A8A41-483F-4D88-BD08-871B87547380}" srcId="{966E5DF0-A10F-47AB-8390-E9203E7A913D}" destId="{4F5AC1BC-931C-4AA1-8F1C-EA61164BA2A0}" srcOrd="1" destOrd="0" parTransId="{34DA8AC0-4F80-42C5-9F8F-E68089829EAC}" sibTransId="{D2F88837-DD54-42A5-BBD9-CA6CC6BE7338}"/>
    <dgm:cxn modelId="{1D008E7A-DC23-4E62-B770-A3C7732C0A6F}" srcId="{390884B5-8FF6-4197-964C-BA9B39AC5F57}" destId="{34862B2D-84AE-4F5D-A96C-5982C88661DB}" srcOrd="3" destOrd="0" parTransId="{41A0C3DB-04F7-4EFA-BB86-D8A052EA01D8}" sibTransId="{741BEC36-5AD9-4D80-814D-D770C026F458}"/>
    <dgm:cxn modelId="{294AE59B-A9CB-4404-8384-730F79ADCAB9}" srcId="{390884B5-8FF6-4197-964C-BA9B39AC5F57}" destId="{BA9C8403-5AB2-4568-B68C-4969293A206D}" srcOrd="1" destOrd="0" parTransId="{4678FACB-37C8-4F4C-9F11-DE51D2C6A75E}" sibTransId="{0865A1B9-D583-4546-96BA-497AB6ADDDD8}"/>
    <dgm:cxn modelId="{F8504AA3-BC5E-4BF3-88CC-4118D22A59E6}" type="presOf" srcId="{BA9C8403-5AB2-4568-B68C-4969293A206D}" destId="{46B139AF-CA4F-4C1D-B022-C4A0B36207A0}" srcOrd="0" destOrd="1" presId="urn:microsoft.com/office/officeart/2005/8/layout/vList5"/>
    <dgm:cxn modelId="{3F31B4A3-5DCF-4EB7-BCA3-DCBABE03E99F}" type="presOf" srcId="{34862B2D-84AE-4F5D-A96C-5982C88661DB}" destId="{46B139AF-CA4F-4C1D-B022-C4A0B36207A0}" srcOrd="0" destOrd="3" presId="urn:microsoft.com/office/officeart/2005/8/layout/vList5"/>
    <dgm:cxn modelId="{6E3213D0-6EF4-4DD0-A4FD-F14A82468CF2}" srcId="{390884B5-8FF6-4197-964C-BA9B39AC5F57}" destId="{6E9332CF-ECA6-4426-8FEE-CB0C996965BD}" srcOrd="2" destOrd="0" parTransId="{A6A0A979-589C-42DC-AD02-639D94BD3255}" sibTransId="{3C261B45-F876-44B8-8BCD-9BF0AF14BA25}"/>
    <dgm:cxn modelId="{238BF9D5-A084-4775-BE92-EDB0741AE1E1}" type="presOf" srcId="{966E5DF0-A10F-47AB-8390-E9203E7A913D}" destId="{41666468-3C9B-43A6-B5FD-48E82C0ECA0D}" srcOrd="0" destOrd="0" presId="urn:microsoft.com/office/officeart/2005/8/layout/vList5"/>
    <dgm:cxn modelId="{6D8307D9-AE61-4DF8-B460-153D14B3C62A}" srcId="{390884B5-8FF6-4197-964C-BA9B39AC5F57}" destId="{1E8408FC-B2AA-45EA-AA76-DF406D788D5E}" srcOrd="0" destOrd="0" parTransId="{51AC4D60-0E72-45B4-B524-641843160EC5}" sibTransId="{6A86EC0F-C859-41F1-A158-EDC90F4E3C2A}"/>
    <dgm:cxn modelId="{072FED3A-4E7F-4C29-8D14-E07A69F72F0D}" type="presParOf" srcId="{41666468-3C9B-43A6-B5FD-48E82C0ECA0D}" destId="{E5E007B9-86E7-4E3A-B8A7-E1C46061F208}" srcOrd="0" destOrd="0" presId="urn:microsoft.com/office/officeart/2005/8/layout/vList5"/>
    <dgm:cxn modelId="{0EAA6293-AF18-4DC4-8FDA-A0F1F6D749B2}" type="presParOf" srcId="{E5E007B9-86E7-4E3A-B8A7-E1C46061F208}" destId="{E81BA328-5755-49D5-A013-9942F9DB4B41}" srcOrd="0" destOrd="0" presId="urn:microsoft.com/office/officeart/2005/8/layout/vList5"/>
    <dgm:cxn modelId="{3480E772-C290-46EA-8376-754F9B8FEB5D}" type="presParOf" srcId="{E5E007B9-86E7-4E3A-B8A7-E1C46061F208}" destId="{46B139AF-CA4F-4C1D-B022-C4A0B36207A0}" srcOrd="1" destOrd="0" presId="urn:microsoft.com/office/officeart/2005/8/layout/vList5"/>
    <dgm:cxn modelId="{C050509B-B67D-4658-9D9E-46AC89EA6455}" type="presParOf" srcId="{41666468-3C9B-43A6-B5FD-48E82C0ECA0D}" destId="{4EC689D8-70AC-414A-9163-D42C89C343BF}" srcOrd="1" destOrd="0" presId="urn:microsoft.com/office/officeart/2005/8/layout/vList5"/>
    <dgm:cxn modelId="{F165E66B-FA24-4DBA-B455-2C44D68021FE}" type="presParOf" srcId="{41666468-3C9B-43A6-B5FD-48E82C0ECA0D}" destId="{4FB74934-DC92-4EE7-8EDC-A81CC194D20A}" srcOrd="2" destOrd="0" presId="urn:microsoft.com/office/officeart/2005/8/layout/vList5"/>
    <dgm:cxn modelId="{44F78C15-9AD0-4C23-BFC8-258F20939419}" type="presParOf" srcId="{4FB74934-DC92-4EE7-8EDC-A81CC194D20A}" destId="{736EEBFA-0D0D-47A8-80A7-4332F69C90F2}" srcOrd="0" destOrd="0" presId="urn:microsoft.com/office/officeart/2005/8/layout/vList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BD08B7D3-E69A-4755-B5C9-A852259E979C}" type="doc">
      <dgm:prSet loTypeId="urn:microsoft.com/office/officeart/2005/8/layout/hierarchy1" loCatId="hierarchy" qsTypeId="urn:microsoft.com/office/officeart/2005/8/quickstyle/simple5" qsCatId="simple" csTypeId="urn:microsoft.com/office/officeart/2005/8/colors/colorful3" csCatId="colorful" phldr="1"/>
      <dgm:spPr/>
      <dgm:t>
        <a:bodyPr/>
        <a:lstStyle/>
        <a:p>
          <a:endParaRPr lang="en-US"/>
        </a:p>
      </dgm:t>
    </dgm:pt>
    <dgm:pt modelId="{A0DAC917-D547-49AD-B134-068C1E3F2A77}">
      <dgm:prSet/>
      <dgm:spPr/>
      <dgm:t>
        <a:bodyPr/>
        <a:lstStyle/>
        <a:p>
          <a:r>
            <a:t>Park alanı kullanımını optimize etmek için sensörler ve diğer teknolojileri kullanan akıllı park sistemleri, trafik sıkışıklığını azaltmaya ve Ankara'daki genel park deneyimini iyileştirmeye yardımcı olabilir. İşte akıllı park sistemlerinin bazı önemli avantajları:</a:t>
          </a:r>
        </a:p>
      </dgm:t>
    </dgm:pt>
    <dgm:pt modelId="{EBC946A4-26E3-4081-9FE4-A4290FE561E9}" type="parTrans" cxnId="{51A87069-5D0A-4117-A8DD-C5E3979A96C7}">
      <dgm:prSet/>
      <dgm:spPr/>
      <dgm:t>
        <a:bodyPr/>
        <a:lstStyle/>
        <a:p>
          <a:endParaRPr lang="en-US"/>
        </a:p>
      </dgm:t>
    </dgm:pt>
    <dgm:pt modelId="{F3CFF41C-B663-43B3-A48A-21ABD0E00200}" type="sibTrans" cxnId="{51A87069-5D0A-4117-A8DD-C5E3979A96C7}">
      <dgm:prSet/>
      <dgm:spPr/>
      <dgm:t>
        <a:bodyPr/>
        <a:lstStyle/>
        <a:p>
          <a:endParaRPr lang="en-US"/>
        </a:p>
      </dgm:t>
    </dgm:pt>
    <dgm:pt modelId="{0E78DF01-D317-4AB1-95DF-95555E6A631E}">
      <dgm:prSet/>
      <dgm:spPr/>
      <dgm:t>
        <a:bodyPr/>
        <a:lstStyle/>
        <a:p>
          <a:r>
            <a:t>Trafik akışını iyileştirebilen ve emisyonları azaltabilen park alanlarını aramak için harcanan zamanın azaltılması</a:t>
          </a:r>
        </a:p>
      </dgm:t>
    </dgm:pt>
    <dgm:pt modelId="{49C1D67A-FEDE-42A9-9183-4899349A14D1}" type="parTrans" cxnId="{3EAF8AE5-C4AE-4BE2-84CC-C333EF489775}">
      <dgm:prSet/>
      <dgm:spPr/>
      <dgm:t>
        <a:bodyPr/>
        <a:lstStyle/>
        <a:p>
          <a:endParaRPr lang="en-US"/>
        </a:p>
      </dgm:t>
    </dgm:pt>
    <dgm:pt modelId="{83E4F0D5-B2EE-4FB8-B323-020D30BAF3E1}" type="sibTrans" cxnId="{3EAF8AE5-C4AE-4BE2-84CC-C333EF489775}">
      <dgm:prSet/>
      <dgm:spPr/>
      <dgm:t>
        <a:bodyPr/>
        <a:lstStyle/>
        <a:p>
          <a:endParaRPr lang="en-US"/>
        </a:p>
      </dgm:t>
    </dgm:pt>
    <dgm:pt modelId="{5F14AB09-9E53-48E2-A918-D84D8338B5A2}">
      <dgm:prSet/>
      <dgm:spPr/>
      <dgm:t>
        <a:bodyPr/>
        <a:lstStyle/>
        <a:p>
          <a:r>
            <a:t>Park alanlarının daha iyi kullanılması, yeni park altyapısına olan ihtiyacı azaltabilir</a:t>
          </a:r>
        </a:p>
      </dgm:t>
    </dgm:pt>
    <dgm:pt modelId="{1244A28D-1E98-44D0-92DE-2FF2F15D71BA}" type="parTrans" cxnId="{1893D6E6-D8E3-490A-8995-BB1F3368055A}">
      <dgm:prSet/>
      <dgm:spPr/>
      <dgm:t>
        <a:bodyPr/>
        <a:lstStyle/>
        <a:p>
          <a:endParaRPr lang="en-US"/>
        </a:p>
      </dgm:t>
    </dgm:pt>
    <dgm:pt modelId="{101F218B-3E66-4892-957C-2D3E6DA2626B}" type="sibTrans" cxnId="{1893D6E6-D8E3-490A-8995-BB1F3368055A}">
      <dgm:prSet/>
      <dgm:spPr/>
      <dgm:t>
        <a:bodyPr/>
        <a:lstStyle/>
        <a:p>
          <a:endParaRPr lang="en-US"/>
        </a:p>
      </dgm:t>
    </dgm:pt>
    <dgm:pt modelId="{52EC28D6-0137-4019-B6E3-4E24F73F4804}">
      <dgm:prSet/>
      <dgm:spPr/>
      <dgm:t>
        <a:bodyPr/>
        <a:lstStyle/>
        <a:p>
          <a:r>
            <a:t>Sürücülerin yolculuklarını daha verimli bir şekilde planlamalarına yardımcı olabilecek gerçek zamanlı park yeri kullanılabilirliği verileri</a:t>
          </a:r>
        </a:p>
      </dgm:t>
    </dgm:pt>
    <dgm:pt modelId="{039C000F-040E-4760-BC8F-E946E51E0B31}" type="parTrans" cxnId="{5860313E-9F2C-4997-9060-5C78BA1AF52B}">
      <dgm:prSet/>
      <dgm:spPr/>
      <dgm:t>
        <a:bodyPr/>
        <a:lstStyle/>
        <a:p>
          <a:endParaRPr lang="en-US"/>
        </a:p>
      </dgm:t>
    </dgm:pt>
    <dgm:pt modelId="{ADF7CBAF-C591-4154-812D-9F7659D10D04}" type="sibTrans" cxnId="{5860313E-9F2C-4997-9060-5C78BA1AF52B}">
      <dgm:prSet/>
      <dgm:spPr/>
      <dgm:t>
        <a:bodyPr/>
        <a:lstStyle/>
        <a:p>
          <a:endParaRPr lang="en-US"/>
        </a:p>
      </dgm:t>
    </dgm:pt>
    <dgm:pt modelId="{91A0376D-8B40-4408-99BA-DE30E47FAC53}">
      <dgm:prSet/>
      <dgm:spPr/>
      <dgm:t>
        <a:bodyPr/>
        <a:lstStyle/>
        <a:p>
          <a:r>
            <a:t>Akıllı park sistemleri park ihlallerini otomatik olarak algılayabildiğinden ve para cezaları verebildiğinden, park ihlalleri ve uygulama maliyetlerinin azaltılması</a:t>
          </a:r>
        </a:p>
      </dgm:t>
    </dgm:pt>
    <dgm:pt modelId="{5537430A-5F7B-4F3A-8353-36418C1350C2}" type="parTrans" cxnId="{14F4194C-D276-4154-AEE1-CC98915E671C}">
      <dgm:prSet/>
      <dgm:spPr/>
      <dgm:t>
        <a:bodyPr/>
        <a:lstStyle/>
        <a:p>
          <a:endParaRPr lang="en-US"/>
        </a:p>
      </dgm:t>
    </dgm:pt>
    <dgm:pt modelId="{3DEF4C59-989B-42AA-9174-B63CA19E8578}" type="sibTrans" cxnId="{14F4194C-D276-4154-AEE1-CC98915E671C}">
      <dgm:prSet/>
      <dgm:spPr/>
      <dgm:t>
        <a:bodyPr/>
        <a:lstStyle/>
        <a:p>
          <a:endParaRPr lang="en-US"/>
        </a:p>
      </dgm:t>
    </dgm:pt>
    <dgm:pt modelId="{AB7BBF35-086F-4662-861A-888C7BD4ECEA}" type="pres">
      <dgm:prSet presAssocID="{BD08B7D3-E69A-4755-B5C9-A852259E979C}" presName="hierChild1" presStyleCnt="0">
        <dgm:presLayoutVars>
          <dgm:chPref val="1"/>
          <dgm:dir/>
          <dgm:animOne val="branch"/>
          <dgm:animLvl val="lvl"/>
          <dgm:resizeHandles/>
        </dgm:presLayoutVars>
      </dgm:prSet>
      <dgm:spPr/>
    </dgm:pt>
    <dgm:pt modelId="{5FB3DC26-7528-4B3C-88C7-5E3BAF606AB9}" type="pres">
      <dgm:prSet presAssocID="{A0DAC917-D547-49AD-B134-068C1E3F2A77}" presName="hierRoot1" presStyleCnt="0"/>
      <dgm:spPr/>
    </dgm:pt>
    <dgm:pt modelId="{CFE33583-42BD-4D58-A1AB-D4015E3D4F28}" type="pres">
      <dgm:prSet presAssocID="{A0DAC917-D547-49AD-B134-068C1E3F2A77}" presName="composite" presStyleCnt="0"/>
      <dgm:spPr/>
    </dgm:pt>
    <dgm:pt modelId="{324B1DA0-579E-40E1-A4FF-9072181E76C2}" type="pres">
      <dgm:prSet presAssocID="{A0DAC917-D547-49AD-B134-068C1E3F2A77}" presName="background" presStyleLbl="node0" presStyleIdx="0" presStyleCnt="1"/>
      <dgm:spPr/>
    </dgm:pt>
    <dgm:pt modelId="{269C531C-89DF-46CB-A229-3485B59F5E3D}" type="pres">
      <dgm:prSet presAssocID="{A0DAC917-D547-49AD-B134-068C1E3F2A77}" presName="text" presStyleLbl="fgAcc0" presStyleIdx="0" presStyleCnt="1">
        <dgm:presLayoutVars>
          <dgm:chPref val="3"/>
        </dgm:presLayoutVars>
      </dgm:prSet>
      <dgm:spPr/>
    </dgm:pt>
    <dgm:pt modelId="{A8C0F152-33D3-436C-8470-D5D94FC00850}" type="pres">
      <dgm:prSet presAssocID="{A0DAC917-D547-49AD-B134-068C1E3F2A77}" presName="hierChild2" presStyleCnt="0"/>
      <dgm:spPr/>
    </dgm:pt>
    <dgm:pt modelId="{4E7E34CA-D0FA-4ED1-AD7C-EF95FA034EBF}" type="pres">
      <dgm:prSet presAssocID="{49C1D67A-FEDE-42A9-9183-4899349A14D1}" presName="Name10" presStyleLbl="parChTrans1D2" presStyleIdx="0" presStyleCnt="4"/>
      <dgm:spPr/>
    </dgm:pt>
    <dgm:pt modelId="{EDBD2843-C955-444D-A3D1-63DDA94470E1}" type="pres">
      <dgm:prSet presAssocID="{0E78DF01-D317-4AB1-95DF-95555E6A631E}" presName="hierRoot2" presStyleCnt="0"/>
      <dgm:spPr/>
    </dgm:pt>
    <dgm:pt modelId="{590D04D2-159D-4418-A832-9C5E22267D27}" type="pres">
      <dgm:prSet presAssocID="{0E78DF01-D317-4AB1-95DF-95555E6A631E}" presName="composite2" presStyleCnt="0"/>
      <dgm:spPr/>
    </dgm:pt>
    <dgm:pt modelId="{6C825AB4-1BFA-40B1-A7E4-5927035E09B1}" type="pres">
      <dgm:prSet presAssocID="{0E78DF01-D317-4AB1-95DF-95555E6A631E}" presName="background2" presStyleLbl="node2" presStyleIdx="0" presStyleCnt="4"/>
      <dgm:spPr/>
    </dgm:pt>
    <dgm:pt modelId="{8CFEF260-1484-47DA-991B-7FA3DD7BF575}" type="pres">
      <dgm:prSet presAssocID="{0E78DF01-D317-4AB1-95DF-95555E6A631E}" presName="text2" presStyleLbl="fgAcc2" presStyleIdx="0" presStyleCnt="4">
        <dgm:presLayoutVars>
          <dgm:chPref val="3"/>
        </dgm:presLayoutVars>
      </dgm:prSet>
      <dgm:spPr/>
    </dgm:pt>
    <dgm:pt modelId="{D4A693D5-6EAF-4161-B475-8CAD4B86E6AC}" type="pres">
      <dgm:prSet presAssocID="{0E78DF01-D317-4AB1-95DF-95555E6A631E}" presName="hierChild3" presStyleCnt="0"/>
      <dgm:spPr/>
    </dgm:pt>
    <dgm:pt modelId="{CD2AB2F0-F43F-4CE2-A635-9C0C0BB609E4}" type="pres">
      <dgm:prSet presAssocID="{1244A28D-1E98-44D0-92DE-2FF2F15D71BA}" presName="Name10" presStyleLbl="parChTrans1D2" presStyleIdx="1" presStyleCnt="4"/>
      <dgm:spPr/>
    </dgm:pt>
    <dgm:pt modelId="{13853E5E-1A18-4FA2-864D-BF1B3BDA12F4}" type="pres">
      <dgm:prSet presAssocID="{5F14AB09-9E53-48E2-A918-D84D8338B5A2}" presName="hierRoot2" presStyleCnt="0"/>
      <dgm:spPr/>
    </dgm:pt>
    <dgm:pt modelId="{240730B5-54DC-418E-A73E-4D77F44BBA9B}" type="pres">
      <dgm:prSet presAssocID="{5F14AB09-9E53-48E2-A918-D84D8338B5A2}" presName="composite2" presStyleCnt="0"/>
      <dgm:spPr/>
    </dgm:pt>
    <dgm:pt modelId="{6F05D0DA-B546-4C52-8E9B-E271AD6BD074}" type="pres">
      <dgm:prSet presAssocID="{5F14AB09-9E53-48E2-A918-D84D8338B5A2}" presName="background2" presStyleLbl="node2" presStyleIdx="1" presStyleCnt="4"/>
      <dgm:spPr/>
    </dgm:pt>
    <dgm:pt modelId="{32AEED57-91D2-4FAD-ACC1-06C45C0AA460}" type="pres">
      <dgm:prSet presAssocID="{5F14AB09-9E53-48E2-A918-D84D8338B5A2}" presName="text2" presStyleLbl="fgAcc2" presStyleIdx="1" presStyleCnt="4">
        <dgm:presLayoutVars>
          <dgm:chPref val="3"/>
        </dgm:presLayoutVars>
      </dgm:prSet>
      <dgm:spPr/>
    </dgm:pt>
    <dgm:pt modelId="{4FF0EC2F-9997-414E-8F2D-8F07FD1A5684}" type="pres">
      <dgm:prSet presAssocID="{5F14AB09-9E53-48E2-A918-D84D8338B5A2}" presName="hierChild3" presStyleCnt="0"/>
      <dgm:spPr/>
    </dgm:pt>
    <dgm:pt modelId="{913A4C73-AEF4-40C0-BDDA-C6BA2AC4714E}" type="pres">
      <dgm:prSet presAssocID="{039C000F-040E-4760-BC8F-E946E51E0B31}" presName="Name10" presStyleLbl="parChTrans1D2" presStyleIdx="2" presStyleCnt="4"/>
      <dgm:spPr/>
    </dgm:pt>
    <dgm:pt modelId="{4C7810C8-8E3F-4525-8FFD-8349A845453D}" type="pres">
      <dgm:prSet presAssocID="{52EC28D6-0137-4019-B6E3-4E24F73F4804}" presName="hierRoot2" presStyleCnt="0"/>
      <dgm:spPr/>
    </dgm:pt>
    <dgm:pt modelId="{E084B61C-E1AE-4577-B8C3-3619BB179252}" type="pres">
      <dgm:prSet presAssocID="{52EC28D6-0137-4019-B6E3-4E24F73F4804}" presName="composite2" presStyleCnt="0"/>
      <dgm:spPr/>
    </dgm:pt>
    <dgm:pt modelId="{2BDA2752-1646-4029-9D48-08560D9A678B}" type="pres">
      <dgm:prSet presAssocID="{52EC28D6-0137-4019-B6E3-4E24F73F4804}" presName="background2" presStyleLbl="node2" presStyleIdx="2" presStyleCnt="4"/>
      <dgm:spPr/>
    </dgm:pt>
    <dgm:pt modelId="{59341B47-E25B-44CC-A360-8BD1C4473F80}" type="pres">
      <dgm:prSet presAssocID="{52EC28D6-0137-4019-B6E3-4E24F73F4804}" presName="text2" presStyleLbl="fgAcc2" presStyleIdx="2" presStyleCnt="4">
        <dgm:presLayoutVars>
          <dgm:chPref val="3"/>
        </dgm:presLayoutVars>
      </dgm:prSet>
      <dgm:spPr/>
    </dgm:pt>
    <dgm:pt modelId="{EB2A7A3B-14F7-4420-A535-0DB1B04CA15B}" type="pres">
      <dgm:prSet presAssocID="{52EC28D6-0137-4019-B6E3-4E24F73F4804}" presName="hierChild3" presStyleCnt="0"/>
      <dgm:spPr/>
    </dgm:pt>
    <dgm:pt modelId="{0534DACF-3E99-4A7A-861D-27528A2AC06D}" type="pres">
      <dgm:prSet presAssocID="{5537430A-5F7B-4F3A-8353-36418C1350C2}" presName="Name10" presStyleLbl="parChTrans1D2" presStyleIdx="3" presStyleCnt="4"/>
      <dgm:spPr/>
    </dgm:pt>
    <dgm:pt modelId="{F8D73039-CD9B-4085-B447-034E53017992}" type="pres">
      <dgm:prSet presAssocID="{91A0376D-8B40-4408-99BA-DE30E47FAC53}" presName="hierRoot2" presStyleCnt="0"/>
      <dgm:spPr/>
    </dgm:pt>
    <dgm:pt modelId="{CF276938-098E-4033-86CF-27319041B73A}" type="pres">
      <dgm:prSet presAssocID="{91A0376D-8B40-4408-99BA-DE30E47FAC53}" presName="composite2" presStyleCnt="0"/>
      <dgm:spPr/>
    </dgm:pt>
    <dgm:pt modelId="{8E8B25A1-D4DF-451C-9B52-C746FD0259DD}" type="pres">
      <dgm:prSet presAssocID="{91A0376D-8B40-4408-99BA-DE30E47FAC53}" presName="background2" presStyleLbl="node2" presStyleIdx="3" presStyleCnt="4"/>
      <dgm:spPr/>
    </dgm:pt>
    <dgm:pt modelId="{111FF97F-B37C-4B70-BE37-A0234D3AE317}" type="pres">
      <dgm:prSet presAssocID="{91A0376D-8B40-4408-99BA-DE30E47FAC53}" presName="text2" presStyleLbl="fgAcc2" presStyleIdx="3" presStyleCnt="4">
        <dgm:presLayoutVars>
          <dgm:chPref val="3"/>
        </dgm:presLayoutVars>
      </dgm:prSet>
      <dgm:spPr/>
    </dgm:pt>
    <dgm:pt modelId="{8BE12B12-4B23-4EE4-93CE-6CD273E8B87F}" type="pres">
      <dgm:prSet presAssocID="{91A0376D-8B40-4408-99BA-DE30E47FAC53}" presName="hierChild3" presStyleCnt="0"/>
      <dgm:spPr/>
    </dgm:pt>
  </dgm:ptLst>
  <dgm:cxnLst>
    <dgm:cxn modelId="{358DD423-7854-4231-A9EB-B1554D2ED759}" type="presOf" srcId="{5537430A-5F7B-4F3A-8353-36418C1350C2}" destId="{0534DACF-3E99-4A7A-861D-27528A2AC06D}" srcOrd="0" destOrd="0" presId="urn:microsoft.com/office/officeart/2005/8/layout/hierarchy1"/>
    <dgm:cxn modelId="{5860313E-9F2C-4997-9060-5C78BA1AF52B}" srcId="{A0DAC917-D547-49AD-B134-068C1E3F2A77}" destId="{52EC28D6-0137-4019-B6E3-4E24F73F4804}" srcOrd="2" destOrd="0" parTransId="{039C000F-040E-4760-BC8F-E946E51E0B31}" sibTransId="{ADF7CBAF-C591-4154-812D-9F7659D10D04}"/>
    <dgm:cxn modelId="{B364F268-2EDC-4B77-8F82-B0232FA27DB9}" type="presOf" srcId="{5F14AB09-9E53-48E2-A918-D84D8338B5A2}" destId="{32AEED57-91D2-4FAD-ACC1-06C45C0AA460}" srcOrd="0" destOrd="0" presId="urn:microsoft.com/office/officeart/2005/8/layout/hierarchy1"/>
    <dgm:cxn modelId="{51A87069-5D0A-4117-A8DD-C5E3979A96C7}" srcId="{BD08B7D3-E69A-4755-B5C9-A852259E979C}" destId="{A0DAC917-D547-49AD-B134-068C1E3F2A77}" srcOrd="0" destOrd="0" parTransId="{EBC946A4-26E3-4081-9FE4-A4290FE561E9}" sibTransId="{F3CFF41C-B663-43B3-A48A-21ABD0E00200}"/>
    <dgm:cxn modelId="{14F4194C-D276-4154-AEE1-CC98915E671C}" srcId="{A0DAC917-D547-49AD-B134-068C1E3F2A77}" destId="{91A0376D-8B40-4408-99BA-DE30E47FAC53}" srcOrd="3" destOrd="0" parTransId="{5537430A-5F7B-4F3A-8353-36418C1350C2}" sibTransId="{3DEF4C59-989B-42AA-9174-B63CA19E8578}"/>
    <dgm:cxn modelId="{36EC7154-65F6-4335-A482-D3263371F81E}" type="presOf" srcId="{91A0376D-8B40-4408-99BA-DE30E47FAC53}" destId="{111FF97F-B37C-4B70-BE37-A0234D3AE317}" srcOrd="0" destOrd="0" presId="urn:microsoft.com/office/officeart/2005/8/layout/hierarchy1"/>
    <dgm:cxn modelId="{93CD7794-8F6E-4E8A-8C86-6BE2998815D7}" type="presOf" srcId="{BD08B7D3-E69A-4755-B5C9-A852259E979C}" destId="{AB7BBF35-086F-4662-861A-888C7BD4ECEA}" srcOrd="0" destOrd="0" presId="urn:microsoft.com/office/officeart/2005/8/layout/hierarchy1"/>
    <dgm:cxn modelId="{6ECFFB99-4306-4E86-8FC2-64A324A50E38}" type="presOf" srcId="{039C000F-040E-4760-BC8F-E946E51E0B31}" destId="{913A4C73-AEF4-40C0-BDDA-C6BA2AC4714E}" srcOrd="0" destOrd="0" presId="urn:microsoft.com/office/officeart/2005/8/layout/hierarchy1"/>
    <dgm:cxn modelId="{F4C5F19A-9B6A-47F8-9E8C-3063C3C3E6AE}" type="presOf" srcId="{A0DAC917-D547-49AD-B134-068C1E3F2A77}" destId="{269C531C-89DF-46CB-A229-3485B59F5E3D}" srcOrd="0" destOrd="0" presId="urn:microsoft.com/office/officeart/2005/8/layout/hierarchy1"/>
    <dgm:cxn modelId="{671260A3-E67C-4E6A-86F9-E5B5BCF62B11}" type="presOf" srcId="{49C1D67A-FEDE-42A9-9183-4899349A14D1}" destId="{4E7E34CA-D0FA-4ED1-AD7C-EF95FA034EBF}" srcOrd="0" destOrd="0" presId="urn:microsoft.com/office/officeart/2005/8/layout/hierarchy1"/>
    <dgm:cxn modelId="{DE3473BB-76C1-4412-BC6F-7594F0D3A8A1}" type="presOf" srcId="{0E78DF01-D317-4AB1-95DF-95555E6A631E}" destId="{8CFEF260-1484-47DA-991B-7FA3DD7BF575}" srcOrd="0" destOrd="0" presId="urn:microsoft.com/office/officeart/2005/8/layout/hierarchy1"/>
    <dgm:cxn modelId="{2E5AABC0-CF21-47F5-A9A7-A994FB5A85D4}" type="presOf" srcId="{1244A28D-1E98-44D0-92DE-2FF2F15D71BA}" destId="{CD2AB2F0-F43F-4CE2-A635-9C0C0BB609E4}" srcOrd="0" destOrd="0" presId="urn:microsoft.com/office/officeart/2005/8/layout/hierarchy1"/>
    <dgm:cxn modelId="{EBAB98C7-D973-472C-ACB4-3BB91C2110AC}" type="presOf" srcId="{52EC28D6-0137-4019-B6E3-4E24F73F4804}" destId="{59341B47-E25B-44CC-A360-8BD1C4473F80}" srcOrd="0" destOrd="0" presId="urn:microsoft.com/office/officeart/2005/8/layout/hierarchy1"/>
    <dgm:cxn modelId="{3EAF8AE5-C4AE-4BE2-84CC-C333EF489775}" srcId="{A0DAC917-D547-49AD-B134-068C1E3F2A77}" destId="{0E78DF01-D317-4AB1-95DF-95555E6A631E}" srcOrd="0" destOrd="0" parTransId="{49C1D67A-FEDE-42A9-9183-4899349A14D1}" sibTransId="{83E4F0D5-B2EE-4FB8-B323-020D30BAF3E1}"/>
    <dgm:cxn modelId="{1893D6E6-D8E3-490A-8995-BB1F3368055A}" srcId="{A0DAC917-D547-49AD-B134-068C1E3F2A77}" destId="{5F14AB09-9E53-48E2-A918-D84D8338B5A2}" srcOrd="1" destOrd="0" parTransId="{1244A28D-1E98-44D0-92DE-2FF2F15D71BA}" sibTransId="{101F218B-3E66-4892-957C-2D3E6DA2626B}"/>
    <dgm:cxn modelId="{AF8A4380-BE18-4722-939A-66097AF6DC56}" type="presParOf" srcId="{AB7BBF35-086F-4662-861A-888C7BD4ECEA}" destId="{5FB3DC26-7528-4B3C-88C7-5E3BAF606AB9}" srcOrd="0" destOrd="0" presId="urn:microsoft.com/office/officeart/2005/8/layout/hierarchy1"/>
    <dgm:cxn modelId="{AB51C68D-66C0-4048-B20C-2DF47E240A4A}" type="presParOf" srcId="{5FB3DC26-7528-4B3C-88C7-5E3BAF606AB9}" destId="{CFE33583-42BD-4D58-A1AB-D4015E3D4F28}" srcOrd="0" destOrd="0" presId="urn:microsoft.com/office/officeart/2005/8/layout/hierarchy1"/>
    <dgm:cxn modelId="{DEC58DAF-F41D-488A-ABA2-342DC24D55A7}" type="presParOf" srcId="{CFE33583-42BD-4D58-A1AB-D4015E3D4F28}" destId="{324B1DA0-579E-40E1-A4FF-9072181E76C2}" srcOrd="0" destOrd="0" presId="urn:microsoft.com/office/officeart/2005/8/layout/hierarchy1"/>
    <dgm:cxn modelId="{9F062EFD-4050-4F47-BB9E-87921546F6A3}" type="presParOf" srcId="{CFE33583-42BD-4D58-A1AB-D4015E3D4F28}" destId="{269C531C-89DF-46CB-A229-3485B59F5E3D}" srcOrd="1" destOrd="0" presId="urn:microsoft.com/office/officeart/2005/8/layout/hierarchy1"/>
    <dgm:cxn modelId="{637634B5-8C07-4E99-9823-E13283111C14}" type="presParOf" srcId="{5FB3DC26-7528-4B3C-88C7-5E3BAF606AB9}" destId="{A8C0F152-33D3-436C-8470-D5D94FC00850}" srcOrd="1" destOrd="0" presId="urn:microsoft.com/office/officeart/2005/8/layout/hierarchy1"/>
    <dgm:cxn modelId="{F7938195-BA2B-402B-AF0C-9F6E0A01DD84}" type="presParOf" srcId="{A8C0F152-33D3-436C-8470-D5D94FC00850}" destId="{4E7E34CA-D0FA-4ED1-AD7C-EF95FA034EBF}" srcOrd="0" destOrd="0" presId="urn:microsoft.com/office/officeart/2005/8/layout/hierarchy1"/>
    <dgm:cxn modelId="{7D0E05EF-EC88-4C53-8781-53FE33A51732}" type="presParOf" srcId="{A8C0F152-33D3-436C-8470-D5D94FC00850}" destId="{EDBD2843-C955-444D-A3D1-63DDA94470E1}" srcOrd="1" destOrd="0" presId="urn:microsoft.com/office/officeart/2005/8/layout/hierarchy1"/>
    <dgm:cxn modelId="{F0BEA32E-CD99-4198-8C62-EA7DF86DF4CE}" type="presParOf" srcId="{EDBD2843-C955-444D-A3D1-63DDA94470E1}" destId="{590D04D2-159D-4418-A832-9C5E22267D27}" srcOrd="0" destOrd="0" presId="urn:microsoft.com/office/officeart/2005/8/layout/hierarchy1"/>
    <dgm:cxn modelId="{58270BAF-D086-477B-8099-2325C7E67ECB}" type="presParOf" srcId="{590D04D2-159D-4418-A832-9C5E22267D27}" destId="{6C825AB4-1BFA-40B1-A7E4-5927035E09B1}" srcOrd="0" destOrd="0" presId="urn:microsoft.com/office/officeart/2005/8/layout/hierarchy1"/>
    <dgm:cxn modelId="{14E0F21C-5023-456D-BFF0-4C333B254A4B}" type="presParOf" srcId="{590D04D2-159D-4418-A832-9C5E22267D27}" destId="{8CFEF260-1484-47DA-991B-7FA3DD7BF575}" srcOrd="1" destOrd="0" presId="urn:microsoft.com/office/officeart/2005/8/layout/hierarchy1"/>
    <dgm:cxn modelId="{BF6A296D-4DE6-411D-8461-C7CDB11CF572}" type="presParOf" srcId="{EDBD2843-C955-444D-A3D1-63DDA94470E1}" destId="{D4A693D5-6EAF-4161-B475-8CAD4B86E6AC}" srcOrd="1" destOrd="0" presId="urn:microsoft.com/office/officeart/2005/8/layout/hierarchy1"/>
    <dgm:cxn modelId="{5566203D-A5AD-409D-82E9-726B11018F42}" type="presParOf" srcId="{A8C0F152-33D3-436C-8470-D5D94FC00850}" destId="{CD2AB2F0-F43F-4CE2-A635-9C0C0BB609E4}" srcOrd="2" destOrd="0" presId="urn:microsoft.com/office/officeart/2005/8/layout/hierarchy1"/>
    <dgm:cxn modelId="{92088E77-CCB7-4055-B2D7-CEE978BEFBD0}" type="presParOf" srcId="{A8C0F152-33D3-436C-8470-D5D94FC00850}" destId="{13853E5E-1A18-4FA2-864D-BF1B3BDA12F4}" srcOrd="3" destOrd="0" presId="urn:microsoft.com/office/officeart/2005/8/layout/hierarchy1"/>
    <dgm:cxn modelId="{1A8DB5DF-1CEA-4D2B-9CE4-DEEB0E55DBF3}" type="presParOf" srcId="{13853E5E-1A18-4FA2-864D-BF1B3BDA12F4}" destId="{240730B5-54DC-418E-A73E-4D77F44BBA9B}" srcOrd="0" destOrd="0" presId="urn:microsoft.com/office/officeart/2005/8/layout/hierarchy1"/>
    <dgm:cxn modelId="{7A520682-B26F-40C5-BAC4-228AB9A9B8FD}" type="presParOf" srcId="{240730B5-54DC-418E-A73E-4D77F44BBA9B}" destId="{6F05D0DA-B546-4C52-8E9B-E271AD6BD074}" srcOrd="0" destOrd="0" presId="urn:microsoft.com/office/officeart/2005/8/layout/hierarchy1"/>
    <dgm:cxn modelId="{AAB96573-569D-4797-820B-00F7D8BAB97C}" type="presParOf" srcId="{240730B5-54DC-418E-A73E-4D77F44BBA9B}" destId="{32AEED57-91D2-4FAD-ACC1-06C45C0AA460}" srcOrd="1" destOrd="0" presId="urn:microsoft.com/office/officeart/2005/8/layout/hierarchy1"/>
    <dgm:cxn modelId="{C9CECC51-BB1D-4EF1-9102-8F7D77F6CAB1}" type="presParOf" srcId="{13853E5E-1A18-4FA2-864D-BF1B3BDA12F4}" destId="{4FF0EC2F-9997-414E-8F2D-8F07FD1A5684}" srcOrd="1" destOrd="0" presId="urn:microsoft.com/office/officeart/2005/8/layout/hierarchy1"/>
    <dgm:cxn modelId="{0D79C0A0-7934-4AED-9037-C358FCDB9A23}" type="presParOf" srcId="{A8C0F152-33D3-436C-8470-D5D94FC00850}" destId="{913A4C73-AEF4-40C0-BDDA-C6BA2AC4714E}" srcOrd="4" destOrd="0" presId="urn:microsoft.com/office/officeart/2005/8/layout/hierarchy1"/>
    <dgm:cxn modelId="{19BE6082-F9C7-4580-92E1-0852DE2FF072}" type="presParOf" srcId="{A8C0F152-33D3-436C-8470-D5D94FC00850}" destId="{4C7810C8-8E3F-4525-8FFD-8349A845453D}" srcOrd="5" destOrd="0" presId="urn:microsoft.com/office/officeart/2005/8/layout/hierarchy1"/>
    <dgm:cxn modelId="{DE0CC5D3-88B6-4DEF-8745-E63628685296}" type="presParOf" srcId="{4C7810C8-8E3F-4525-8FFD-8349A845453D}" destId="{E084B61C-E1AE-4577-B8C3-3619BB179252}" srcOrd="0" destOrd="0" presId="urn:microsoft.com/office/officeart/2005/8/layout/hierarchy1"/>
    <dgm:cxn modelId="{5C0E8E5E-745C-4161-AEDE-170F25FC091E}" type="presParOf" srcId="{E084B61C-E1AE-4577-B8C3-3619BB179252}" destId="{2BDA2752-1646-4029-9D48-08560D9A678B}" srcOrd="0" destOrd="0" presId="urn:microsoft.com/office/officeart/2005/8/layout/hierarchy1"/>
    <dgm:cxn modelId="{E97985B5-D637-4336-B0B5-4324A52509E7}" type="presParOf" srcId="{E084B61C-E1AE-4577-B8C3-3619BB179252}" destId="{59341B47-E25B-44CC-A360-8BD1C4473F80}" srcOrd="1" destOrd="0" presId="urn:microsoft.com/office/officeart/2005/8/layout/hierarchy1"/>
    <dgm:cxn modelId="{BF353E1A-A963-4B1C-B462-ABA0F05DF5A5}" type="presParOf" srcId="{4C7810C8-8E3F-4525-8FFD-8349A845453D}" destId="{EB2A7A3B-14F7-4420-A535-0DB1B04CA15B}" srcOrd="1" destOrd="0" presId="urn:microsoft.com/office/officeart/2005/8/layout/hierarchy1"/>
    <dgm:cxn modelId="{CC392A98-7FED-4096-AFB9-61CF6DFBCFED}" type="presParOf" srcId="{A8C0F152-33D3-436C-8470-D5D94FC00850}" destId="{0534DACF-3E99-4A7A-861D-27528A2AC06D}" srcOrd="6" destOrd="0" presId="urn:microsoft.com/office/officeart/2005/8/layout/hierarchy1"/>
    <dgm:cxn modelId="{AA9AAD5F-7413-4E82-9B40-BAE6BF8A1D81}" type="presParOf" srcId="{A8C0F152-33D3-436C-8470-D5D94FC00850}" destId="{F8D73039-CD9B-4085-B447-034E53017992}" srcOrd="7" destOrd="0" presId="urn:microsoft.com/office/officeart/2005/8/layout/hierarchy1"/>
    <dgm:cxn modelId="{0BEE3D8F-BBFE-4930-A7BE-4F2BF1B3206F}" type="presParOf" srcId="{F8D73039-CD9B-4085-B447-034E53017992}" destId="{CF276938-098E-4033-86CF-27319041B73A}" srcOrd="0" destOrd="0" presId="urn:microsoft.com/office/officeart/2005/8/layout/hierarchy1"/>
    <dgm:cxn modelId="{2C0CE9A4-C40F-4D17-A550-56CF13E4B8DE}" type="presParOf" srcId="{CF276938-098E-4033-86CF-27319041B73A}" destId="{8E8B25A1-D4DF-451C-9B52-C746FD0259DD}" srcOrd="0" destOrd="0" presId="urn:microsoft.com/office/officeart/2005/8/layout/hierarchy1"/>
    <dgm:cxn modelId="{09944472-B8B3-4151-8673-BCC013E7BD4A}" type="presParOf" srcId="{CF276938-098E-4033-86CF-27319041B73A}" destId="{111FF97F-B37C-4B70-BE37-A0234D3AE317}" srcOrd="1" destOrd="0" presId="urn:microsoft.com/office/officeart/2005/8/layout/hierarchy1"/>
    <dgm:cxn modelId="{8D7857E9-BAFF-46CC-A5E0-9D8ACA6C4814}" type="presParOf" srcId="{F8D73039-CD9B-4085-B447-034E53017992}" destId="{8BE12B12-4B23-4EE4-93CE-6CD273E8B87F}" srcOrd="1" destOrd="0" presId="urn:microsoft.com/office/officeart/2005/8/layout/hierarchy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9E806CAF-75C4-4878-AE72-7B406B305BA8}" type="doc">
      <dgm:prSet loTypeId="urn:microsoft.com/office/officeart/2008/layout/AccentedPicture" loCatId="picture" qsTypeId="urn:microsoft.com/office/officeart/2005/8/quickstyle/simple1" qsCatId="simple" csTypeId="urn:microsoft.com/office/officeart/2005/8/colors/accent1_2" csCatId="accent1" phldr="1"/>
      <dgm:spPr/>
    </dgm:pt>
    <dgm:pt modelId="{18A63674-1783-4421-800D-0A92C2010396}">
      <dgm:prSet phldrT="[Text]"/>
      <dgm:spPr/>
      <dgm:t>
        <a:bodyPr/>
        <a:lstStyle/>
        <a:p>
          <a:r>
            <a:t>.</a:t>
          </a:r>
          <a:endParaRPr lang="en-US" dirty="0"/>
        </a:p>
      </dgm:t>
    </dgm:pt>
    <dgm:pt modelId="{DF66E82C-C06B-4963-8B8A-A5BCEDDA43E8}" type="sibTrans" cxnId="{505A8B01-76B0-474F-B344-DE7EEC25D0A2}">
      <dgm:prSet/>
      <dgm:spPr>
        <a:blipFill>
          <a:blip xmlns:r="http://schemas.openxmlformats.org/officeDocument/2006/relationships" r:embed="rId1"/>
          <a:srcRect/>
          <a:stretch>
            <a:fillRect l="-14000" r="-14000"/>
          </a:stretch>
        </a:blipFill>
      </dgm:spPr>
      <dgm:t>
        <a:bodyPr/>
        <a:lstStyle/>
        <a:p>
          <a:endParaRPr lang="en-US"/>
        </a:p>
      </dgm:t>
      <dgm:extLst>
        <a:ext uri="{E40237B7-FDA0-4F09-8148-C483321AD2D9}">
          <dgm14:cNvPr xmlns:dgm14="http://schemas.microsoft.com/office/drawing/2010/diagram" id="0" name="" descr="A hand with a smart watch pointing at a parking location  Description automatically generated with low confidence">
            <a:extLst>
              <a:ext uri="{FF2B5EF4-FFF2-40B4-BE49-F238E27FC236}">
                <a16:creationId xmlns:a16="http://schemas.microsoft.com/office/drawing/2014/main" id="{33211F55-7F12-3D5B-BAED-EB321DF27AF4}"/>
              </a:ext>
            </a:extLst>
          </dgm14:cNvPr>
        </a:ext>
      </dgm:extLst>
    </dgm:pt>
    <dgm:pt modelId="{4D013748-880F-4F9E-BECB-70D8F10B0F95}" type="parTrans" cxnId="{505A8B01-76B0-474F-B344-DE7EEC25D0A2}">
      <dgm:prSet/>
      <dgm:spPr/>
      <dgm:t>
        <a:bodyPr/>
        <a:lstStyle/>
        <a:p>
          <a:endParaRPr lang="en-US"/>
        </a:p>
      </dgm:t>
    </dgm:pt>
    <dgm:pt modelId="{57AAA8CD-19F6-4B99-94BC-FA51749CCE7D}" type="pres">
      <dgm:prSet presAssocID="{9E806CAF-75C4-4878-AE72-7B406B305BA8}" presName="Name0" presStyleCnt="0">
        <dgm:presLayoutVars>
          <dgm:dir/>
        </dgm:presLayoutVars>
      </dgm:prSet>
      <dgm:spPr/>
    </dgm:pt>
    <dgm:pt modelId="{0C94573C-CE0C-48CB-A9C2-BC99A5D5F5C7}" type="pres">
      <dgm:prSet presAssocID="{DF66E82C-C06B-4963-8B8A-A5BCEDDA43E8}" presName="picture_1" presStyleLbl="bgImgPlace1" presStyleIdx="0" presStyleCnt="1" custAng="20685884"/>
      <dgm:spPr/>
    </dgm:pt>
    <dgm:pt modelId="{5F50DAD3-01E6-4F19-AE02-8F6829F3A5EB}" type="pres">
      <dgm:prSet presAssocID="{18A63674-1783-4421-800D-0A92C2010396}" presName="text_1" presStyleLbl="node1" presStyleIdx="0" presStyleCnt="0" custLinFactY="31312" custLinFactNeighborX="-23085" custLinFactNeighborY="100000">
        <dgm:presLayoutVars>
          <dgm:bulletEnabled val="1"/>
        </dgm:presLayoutVars>
      </dgm:prSet>
      <dgm:spPr/>
    </dgm:pt>
    <dgm:pt modelId="{A91A5A9B-ADB5-42A9-A42B-5D886DFF8DB4}" type="pres">
      <dgm:prSet presAssocID="{9E806CAF-75C4-4878-AE72-7B406B305BA8}" presName="maxNode" presStyleCnt="0"/>
      <dgm:spPr/>
    </dgm:pt>
    <dgm:pt modelId="{63E9F886-97B4-489A-9144-3B13E1D4899D}" type="pres">
      <dgm:prSet presAssocID="{9E806CAF-75C4-4878-AE72-7B406B305BA8}" presName="Name33" presStyleCnt="0"/>
      <dgm:spPr/>
    </dgm:pt>
  </dgm:ptLst>
  <dgm:cxnLst>
    <dgm:cxn modelId="{505A8B01-76B0-474F-B344-DE7EEC25D0A2}" srcId="{9E806CAF-75C4-4878-AE72-7B406B305BA8}" destId="{18A63674-1783-4421-800D-0A92C2010396}" srcOrd="0" destOrd="0" parTransId="{4D013748-880F-4F9E-BECB-70D8F10B0F95}" sibTransId="{DF66E82C-C06B-4963-8B8A-A5BCEDDA43E8}"/>
    <dgm:cxn modelId="{80B9FA77-ACAB-4188-ABCE-FB4D0F4B8ADE}" type="presOf" srcId="{18A63674-1783-4421-800D-0A92C2010396}" destId="{5F50DAD3-01E6-4F19-AE02-8F6829F3A5EB}" srcOrd="0" destOrd="0" presId="urn:microsoft.com/office/officeart/2008/layout/AccentedPicture"/>
    <dgm:cxn modelId="{E19690A2-882D-494E-9AA6-A20E17B229F6}" type="presOf" srcId="{9E806CAF-75C4-4878-AE72-7B406B305BA8}" destId="{57AAA8CD-19F6-4B99-94BC-FA51749CCE7D}" srcOrd="0" destOrd="0" presId="urn:microsoft.com/office/officeart/2008/layout/AccentedPicture"/>
    <dgm:cxn modelId="{2D5B68A3-0A0D-4E52-B8F4-0EF62C5F6247}" type="presOf" srcId="{DF66E82C-C06B-4963-8B8A-A5BCEDDA43E8}" destId="{0C94573C-CE0C-48CB-A9C2-BC99A5D5F5C7}" srcOrd="0" destOrd="0" presId="urn:microsoft.com/office/officeart/2008/layout/AccentedPicture"/>
    <dgm:cxn modelId="{5DB9E128-A87F-4281-BD6D-31D929F8610D}" type="presParOf" srcId="{57AAA8CD-19F6-4B99-94BC-FA51749CCE7D}" destId="{0C94573C-CE0C-48CB-A9C2-BC99A5D5F5C7}" srcOrd="0" destOrd="0" presId="urn:microsoft.com/office/officeart/2008/layout/AccentedPicture"/>
    <dgm:cxn modelId="{50F0CE4E-3261-4C83-9018-99915912402D}" type="presParOf" srcId="{57AAA8CD-19F6-4B99-94BC-FA51749CCE7D}" destId="{5F50DAD3-01E6-4F19-AE02-8F6829F3A5EB}" srcOrd="1" destOrd="0" presId="urn:microsoft.com/office/officeart/2008/layout/AccentedPicture"/>
    <dgm:cxn modelId="{422F5BAB-29AA-40EF-9D38-C54D74C5EC8E}" type="presParOf" srcId="{57AAA8CD-19F6-4B99-94BC-FA51749CCE7D}" destId="{A91A5A9B-ADB5-42A9-A42B-5D886DFF8DB4}" srcOrd="2" destOrd="0" presId="urn:microsoft.com/office/officeart/2008/layout/AccentedPicture"/>
    <dgm:cxn modelId="{9C11DD99-D48D-4250-8952-91AF3E82EC6E}" type="presParOf" srcId="{A91A5A9B-ADB5-42A9-A42B-5D886DFF8DB4}" destId="{63E9F886-97B4-489A-9144-3B13E1D4899D}" srcOrd="0" destOrd="0" presId="urn:microsoft.com/office/officeart/2008/layout/AccentedPicture"/>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CFCFCBB-2FDD-44F1-B2F9-533AA9981390}" type="doc">
      <dgm:prSet loTypeId="urn:microsoft.com/office/officeart/2008/layout/VerticalAccentList" loCatId="list" qsTypeId="urn:microsoft.com/office/officeart/2005/8/quickstyle/simple1" qsCatId="simple" csTypeId="urn:microsoft.com/office/officeart/2005/8/colors/accent1_2" csCatId="accent1"/>
      <dgm:spPr/>
      <dgm:t>
        <a:bodyPr/>
        <a:lstStyle/>
        <a:p>
          <a:endParaRPr lang="en-US"/>
        </a:p>
      </dgm:t>
    </dgm:pt>
    <dgm:pt modelId="{AEA56DBF-8770-42C2-B105-93A576CEFDB3}">
      <dgm:prSet custT="1"/>
      <dgm:spPr/>
      <dgm:t>
        <a:bodyPr/>
        <a:lstStyle/>
        <a:p>
          <a:pPr>
            <a:defRPr sz="1100"/>
          </a:pPr>
          <a:r>
            <a:rPr sz="1200" dirty="0" err="1"/>
            <a:t>Sorun</a:t>
          </a:r>
          <a:r>
            <a:rPr sz="1200" dirty="0"/>
            <a:t> 1: </a:t>
          </a:r>
          <a:r>
            <a:rPr sz="1200" dirty="0" err="1"/>
            <a:t>Trafik</a:t>
          </a:r>
          <a:r>
            <a:rPr sz="1200" dirty="0"/>
            <a:t> </a:t>
          </a:r>
          <a:r>
            <a:rPr sz="1200" dirty="0" err="1"/>
            <a:t>Sıkışıklığı</a:t>
          </a:r>
          <a:r>
            <a:rPr sz="1200" dirty="0"/>
            <a:t> </a:t>
          </a:r>
          <a:r>
            <a:rPr sz="1200" dirty="0" err="1"/>
            <a:t>ve</a:t>
          </a:r>
          <a:r>
            <a:rPr sz="1200" dirty="0"/>
            <a:t> </a:t>
          </a:r>
          <a:r>
            <a:rPr sz="1200" dirty="0" err="1"/>
            <a:t>Trafik</a:t>
          </a:r>
          <a:r>
            <a:rPr sz="1200" dirty="0"/>
            <a:t> </a:t>
          </a:r>
          <a:r>
            <a:rPr sz="1200" dirty="0" err="1"/>
            <a:t>Darboğazları</a:t>
          </a:r>
          <a:endParaRPr sz="1200" dirty="0"/>
        </a:p>
      </dgm:t>
    </dgm:pt>
    <dgm:pt modelId="{7BA93C6C-6B4C-464F-9B4E-DE6DCB04F466}" type="parTrans" cxnId="{85F832B4-F980-44FB-AE14-BDAA573E4B9F}">
      <dgm:prSet/>
      <dgm:spPr/>
      <dgm:t>
        <a:bodyPr/>
        <a:lstStyle/>
        <a:p>
          <a:endParaRPr lang="en-US"/>
        </a:p>
      </dgm:t>
    </dgm:pt>
    <dgm:pt modelId="{AE636D12-06DE-427A-83A8-7E655FB05CA2}" type="sibTrans" cxnId="{85F832B4-F980-44FB-AE14-BDAA573E4B9F}">
      <dgm:prSet/>
      <dgm:spPr/>
      <dgm:t>
        <a:bodyPr/>
        <a:lstStyle/>
        <a:p>
          <a:endParaRPr lang="en-US"/>
        </a:p>
      </dgm:t>
    </dgm:pt>
    <dgm:pt modelId="{D82FA894-A052-47FB-9567-FF05BA8F572D}">
      <dgm:prSet custT="1"/>
      <dgm:spPr/>
      <dgm:t>
        <a:bodyPr/>
        <a:lstStyle/>
        <a:p>
          <a:pPr marL="0" lvl="0" indent="0" algn="just" defTabSz="444500">
            <a:lnSpc>
              <a:spcPct val="90000"/>
            </a:lnSpc>
            <a:spcBef>
              <a:spcPct val="0"/>
            </a:spcBef>
            <a:spcAft>
              <a:spcPct val="35000"/>
            </a:spcAft>
            <a:buNone/>
            <a:defRPr sz="1000" kern="1200">
              <a:solidFill>
                <a:prstClr val="black">
                  <a:hueOff val="0"/>
                  <a:satOff val="0"/>
                  <a:lumOff val="0"/>
                  <a:alphaOff val="0"/>
                </a:prstClr>
              </a:solidFill>
              <a:latin typeface="Calibri" panose="020F0502020204030204"/>
              <a:ea typeface="+mn-ea"/>
              <a:cs typeface="+mn-cs"/>
            </a:defRPr>
          </a:pPr>
          <a:r>
            <a:rPr lang="tr-TR" sz="1000" noProof="0" dirty="0"/>
            <a:t>Çözüm: Sinyal optimizasyonu, akıllı ulaşım sistemleri ve stratejik yol kapasitesi iyileştirmeleri gibi trafik yönetimi tedbirlerini uygulayın. </a:t>
          </a:r>
        </a:p>
      </dgm:t>
    </dgm:pt>
    <dgm:pt modelId="{6D3FED99-24F1-4CBA-B7BF-97E6D125E35B}" type="parTrans" cxnId="{68F7A74D-314F-4546-B5BC-79DEA6E78F29}">
      <dgm:prSet/>
      <dgm:spPr/>
      <dgm:t>
        <a:bodyPr/>
        <a:lstStyle/>
        <a:p>
          <a:endParaRPr lang="en-US"/>
        </a:p>
      </dgm:t>
    </dgm:pt>
    <dgm:pt modelId="{CDC21A5E-9323-4A47-90DC-E30A17E965F5}" type="sibTrans" cxnId="{68F7A74D-314F-4546-B5BC-79DEA6E78F29}">
      <dgm:prSet/>
      <dgm:spPr/>
      <dgm:t>
        <a:bodyPr/>
        <a:lstStyle/>
        <a:p>
          <a:endParaRPr lang="en-US"/>
        </a:p>
      </dgm:t>
    </dgm:pt>
    <dgm:pt modelId="{D8423B32-4FD7-427F-9580-9E0412180EAA}" type="pres">
      <dgm:prSet presAssocID="{BCFCFCBB-2FDD-44F1-B2F9-533AA9981390}" presName="Name0" presStyleCnt="0">
        <dgm:presLayoutVars>
          <dgm:chMax/>
          <dgm:chPref/>
          <dgm:dir/>
        </dgm:presLayoutVars>
      </dgm:prSet>
      <dgm:spPr/>
    </dgm:pt>
    <dgm:pt modelId="{6303D0AF-164A-4760-81D7-79B5C12C4D06}" type="pres">
      <dgm:prSet presAssocID="{AEA56DBF-8770-42C2-B105-93A576CEFDB3}" presName="parenttextcomposite" presStyleCnt="0"/>
      <dgm:spPr/>
    </dgm:pt>
    <dgm:pt modelId="{91023063-89B5-4D2F-99A5-12B87D236C18}" type="pres">
      <dgm:prSet presAssocID="{AEA56DBF-8770-42C2-B105-93A576CEFDB3}" presName="parenttext" presStyleLbl="revTx" presStyleIdx="0" presStyleCnt="1">
        <dgm:presLayoutVars>
          <dgm:chMax/>
          <dgm:chPref val="2"/>
          <dgm:bulletEnabled val="1"/>
        </dgm:presLayoutVars>
      </dgm:prSet>
      <dgm:spPr/>
    </dgm:pt>
    <dgm:pt modelId="{40EEEB2C-EFF6-4A9C-88A7-E3701D8C360E}" type="pres">
      <dgm:prSet presAssocID="{AEA56DBF-8770-42C2-B105-93A576CEFDB3}" presName="composite" presStyleCnt="0"/>
      <dgm:spPr/>
    </dgm:pt>
    <dgm:pt modelId="{F4902223-41C0-4291-8BB5-E81EB2FEC95C}" type="pres">
      <dgm:prSet presAssocID="{AEA56DBF-8770-42C2-B105-93A576CEFDB3}" presName="chevron1" presStyleLbl="alignNode1" presStyleIdx="0" presStyleCnt="7"/>
      <dgm:spPr/>
    </dgm:pt>
    <dgm:pt modelId="{7C566A8E-B103-4925-9B70-70C453AAE42C}" type="pres">
      <dgm:prSet presAssocID="{AEA56DBF-8770-42C2-B105-93A576CEFDB3}" presName="chevron2" presStyleLbl="alignNode1" presStyleIdx="1" presStyleCnt="7"/>
      <dgm:spPr/>
    </dgm:pt>
    <dgm:pt modelId="{1A795FA7-82A2-44F9-95EB-7FB5C4D9EBFF}" type="pres">
      <dgm:prSet presAssocID="{AEA56DBF-8770-42C2-B105-93A576CEFDB3}" presName="chevron3" presStyleLbl="alignNode1" presStyleIdx="2" presStyleCnt="7"/>
      <dgm:spPr/>
    </dgm:pt>
    <dgm:pt modelId="{78FB486C-29CA-4C68-B171-56C1F277810A}" type="pres">
      <dgm:prSet presAssocID="{AEA56DBF-8770-42C2-B105-93A576CEFDB3}" presName="chevron4" presStyleLbl="alignNode1" presStyleIdx="3" presStyleCnt="7"/>
      <dgm:spPr/>
    </dgm:pt>
    <dgm:pt modelId="{F68A89EC-3132-403C-9EF2-16D53590E70B}" type="pres">
      <dgm:prSet presAssocID="{AEA56DBF-8770-42C2-B105-93A576CEFDB3}" presName="chevron5" presStyleLbl="alignNode1" presStyleIdx="4" presStyleCnt="7"/>
      <dgm:spPr/>
    </dgm:pt>
    <dgm:pt modelId="{BA321DCE-E785-4A19-B5AF-E516FED82E84}" type="pres">
      <dgm:prSet presAssocID="{AEA56DBF-8770-42C2-B105-93A576CEFDB3}" presName="chevron6" presStyleLbl="alignNode1" presStyleIdx="5" presStyleCnt="7"/>
      <dgm:spPr/>
    </dgm:pt>
    <dgm:pt modelId="{BD189AD8-F08D-44BC-ADBD-92D1EE93308C}" type="pres">
      <dgm:prSet presAssocID="{AEA56DBF-8770-42C2-B105-93A576CEFDB3}" presName="chevron7" presStyleLbl="alignNode1" presStyleIdx="6" presStyleCnt="7"/>
      <dgm:spPr/>
    </dgm:pt>
    <dgm:pt modelId="{B84D7B0E-9FB7-470F-BC55-46C6F338481E}" type="pres">
      <dgm:prSet presAssocID="{AEA56DBF-8770-42C2-B105-93A576CEFDB3}" presName="childtext" presStyleLbl="solidFgAcc1" presStyleIdx="0" presStyleCnt="1">
        <dgm:presLayoutVars>
          <dgm:chMax/>
          <dgm:chPref val="0"/>
          <dgm:bulletEnabled val="1"/>
        </dgm:presLayoutVars>
      </dgm:prSet>
      <dgm:spPr/>
    </dgm:pt>
  </dgm:ptLst>
  <dgm:cxnLst>
    <dgm:cxn modelId="{A0B92160-7106-42D5-A122-A19CAB8687E6}" type="presOf" srcId="{AEA56DBF-8770-42C2-B105-93A576CEFDB3}" destId="{91023063-89B5-4D2F-99A5-12B87D236C18}" srcOrd="0" destOrd="0" presId="urn:microsoft.com/office/officeart/2008/layout/VerticalAccentList"/>
    <dgm:cxn modelId="{68F7A74D-314F-4546-B5BC-79DEA6E78F29}" srcId="{AEA56DBF-8770-42C2-B105-93A576CEFDB3}" destId="{D82FA894-A052-47FB-9567-FF05BA8F572D}" srcOrd="0" destOrd="0" parTransId="{6D3FED99-24F1-4CBA-B7BF-97E6D125E35B}" sibTransId="{CDC21A5E-9323-4A47-90DC-E30A17E965F5}"/>
    <dgm:cxn modelId="{CAF8294F-37DD-472E-8D37-704E03AF8477}" type="presOf" srcId="{D82FA894-A052-47FB-9567-FF05BA8F572D}" destId="{B84D7B0E-9FB7-470F-BC55-46C6F338481E}" srcOrd="0" destOrd="0" presId="urn:microsoft.com/office/officeart/2008/layout/VerticalAccentList"/>
    <dgm:cxn modelId="{50CD6DAA-FDD5-4B36-9993-F66BE6899B16}" type="presOf" srcId="{BCFCFCBB-2FDD-44F1-B2F9-533AA9981390}" destId="{D8423B32-4FD7-427F-9580-9E0412180EAA}" srcOrd="0" destOrd="0" presId="urn:microsoft.com/office/officeart/2008/layout/VerticalAccentList"/>
    <dgm:cxn modelId="{85F832B4-F980-44FB-AE14-BDAA573E4B9F}" srcId="{BCFCFCBB-2FDD-44F1-B2F9-533AA9981390}" destId="{AEA56DBF-8770-42C2-B105-93A576CEFDB3}" srcOrd="0" destOrd="0" parTransId="{7BA93C6C-6B4C-464F-9B4E-DE6DCB04F466}" sibTransId="{AE636D12-06DE-427A-83A8-7E655FB05CA2}"/>
    <dgm:cxn modelId="{CEB81CB0-63FC-4425-927A-78C615174F44}" type="presParOf" srcId="{D8423B32-4FD7-427F-9580-9E0412180EAA}" destId="{6303D0AF-164A-4760-81D7-79B5C12C4D06}" srcOrd="0" destOrd="0" presId="urn:microsoft.com/office/officeart/2008/layout/VerticalAccentList"/>
    <dgm:cxn modelId="{E6D301B2-C16D-468D-A935-CF7DACA703AF}" type="presParOf" srcId="{6303D0AF-164A-4760-81D7-79B5C12C4D06}" destId="{91023063-89B5-4D2F-99A5-12B87D236C18}" srcOrd="0" destOrd="0" presId="urn:microsoft.com/office/officeart/2008/layout/VerticalAccentList"/>
    <dgm:cxn modelId="{AE3E103C-A84E-45AC-B6B0-47F90E28EF96}" type="presParOf" srcId="{D8423B32-4FD7-427F-9580-9E0412180EAA}" destId="{40EEEB2C-EFF6-4A9C-88A7-E3701D8C360E}" srcOrd="1" destOrd="0" presId="urn:microsoft.com/office/officeart/2008/layout/VerticalAccentList"/>
    <dgm:cxn modelId="{2453BEB8-959E-4D93-BD85-35A4B77F2978}" type="presParOf" srcId="{40EEEB2C-EFF6-4A9C-88A7-E3701D8C360E}" destId="{F4902223-41C0-4291-8BB5-E81EB2FEC95C}" srcOrd="0" destOrd="0" presId="urn:microsoft.com/office/officeart/2008/layout/VerticalAccentList"/>
    <dgm:cxn modelId="{9DA8DA41-3264-43AC-8BD5-B7D8DF5EB06A}" type="presParOf" srcId="{40EEEB2C-EFF6-4A9C-88A7-E3701D8C360E}" destId="{7C566A8E-B103-4925-9B70-70C453AAE42C}" srcOrd="1" destOrd="0" presId="urn:microsoft.com/office/officeart/2008/layout/VerticalAccentList"/>
    <dgm:cxn modelId="{CF790DB8-A4D4-4448-B338-13BCE6C0BFA8}" type="presParOf" srcId="{40EEEB2C-EFF6-4A9C-88A7-E3701D8C360E}" destId="{1A795FA7-82A2-44F9-95EB-7FB5C4D9EBFF}" srcOrd="2" destOrd="0" presId="urn:microsoft.com/office/officeart/2008/layout/VerticalAccentList"/>
    <dgm:cxn modelId="{2C4D860C-6F63-400F-BE9D-F94DC1C774F3}" type="presParOf" srcId="{40EEEB2C-EFF6-4A9C-88A7-E3701D8C360E}" destId="{78FB486C-29CA-4C68-B171-56C1F277810A}" srcOrd="3" destOrd="0" presId="urn:microsoft.com/office/officeart/2008/layout/VerticalAccentList"/>
    <dgm:cxn modelId="{D97D466B-A9B4-4314-A07C-D04CA846047C}" type="presParOf" srcId="{40EEEB2C-EFF6-4A9C-88A7-E3701D8C360E}" destId="{F68A89EC-3132-403C-9EF2-16D53590E70B}" srcOrd="4" destOrd="0" presId="urn:microsoft.com/office/officeart/2008/layout/VerticalAccentList"/>
    <dgm:cxn modelId="{72DB4278-609A-4371-9C97-97135C0CBDBE}" type="presParOf" srcId="{40EEEB2C-EFF6-4A9C-88A7-E3701D8C360E}" destId="{BA321DCE-E785-4A19-B5AF-E516FED82E84}" srcOrd="5" destOrd="0" presId="urn:microsoft.com/office/officeart/2008/layout/VerticalAccentList"/>
    <dgm:cxn modelId="{E807941F-1B80-48C7-8ED0-C3EACC002080}" type="presParOf" srcId="{40EEEB2C-EFF6-4A9C-88A7-E3701D8C360E}" destId="{BD189AD8-F08D-44BC-ADBD-92D1EE93308C}" srcOrd="6" destOrd="0" presId="urn:microsoft.com/office/officeart/2008/layout/VerticalAccentList"/>
    <dgm:cxn modelId="{E1D8052D-4AE9-48AA-9DA0-EEFF67840B0E}" type="presParOf" srcId="{40EEEB2C-EFF6-4A9C-88A7-E3701D8C360E}" destId="{B84D7B0E-9FB7-470F-BC55-46C6F338481E}" srcOrd="7" destOrd="0" presId="urn:microsoft.com/office/officeart/2008/layout/VerticalAccentList"/>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372DBD8A-E69B-4907-90E5-721739ECE8C9}" type="doc">
      <dgm:prSet loTypeId="urn:microsoft.com/office/officeart/2009/3/layout/SubStepProcess" loCatId="process" qsTypeId="urn:microsoft.com/office/officeart/2005/8/quickstyle/simple1" qsCatId="simple" csTypeId="urn:microsoft.com/office/officeart/2005/8/colors/colorful2" csCatId="colorful"/>
      <dgm:spPr/>
      <dgm:t>
        <a:bodyPr/>
        <a:lstStyle/>
        <a:p>
          <a:endParaRPr lang="en-US"/>
        </a:p>
      </dgm:t>
    </dgm:pt>
    <dgm:pt modelId="{99A0F7A2-CDE7-4382-BD0B-C565120FDD55}">
      <dgm:prSet/>
      <dgm:spPr/>
      <dgm:t>
        <a:bodyPr/>
        <a:lstStyle/>
        <a:p>
          <a:r>
            <a:t>Daha sağlıklı ve yaşanabilir bir şehir için aktif ulaşımı ve sürdürülebilir hareketliliği teşvik etmek gerekir. Bu hedefe ulaşmak için ulaşım plancıları bisiklet kullanıcıları için park yeri tasarlarken aşağıdaki hususları dikkate almalıdır:</a:t>
          </a:r>
        </a:p>
      </dgm:t>
    </dgm:pt>
    <dgm:pt modelId="{B89DD8E0-F4E5-4EE8-9882-8E811CD5C2BF}" type="parTrans" cxnId="{5DBFE4BA-8CA1-4473-8878-63BA59F936DD}">
      <dgm:prSet/>
      <dgm:spPr/>
      <dgm:t>
        <a:bodyPr/>
        <a:lstStyle/>
        <a:p>
          <a:endParaRPr lang="en-US"/>
        </a:p>
      </dgm:t>
    </dgm:pt>
    <dgm:pt modelId="{475E0FE6-F2F6-4ECA-AF0E-88E9365A1C75}" type="sibTrans" cxnId="{5DBFE4BA-8CA1-4473-8878-63BA59F936DD}">
      <dgm:prSet/>
      <dgm:spPr/>
      <dgm:t>
        <a:bodyPr/>
        <a:lstStyle/>
        <a:p>
          <a:endParaRPr lang="en-US"/>
        </a:p>
      </dgm:t>
    </dgm:pt>
    <dgm:pt modelId="{D046630F-3C6D-4720-AC39-90A00DA8B3DE}">
      <dgm:prSet/>
      <dgm:spPr/>
      <dgm:t>
        <a:bodyPr/>
        <a:lstStyle/>
        <a:p>
          <a:r>
            <a:t>Kargo bisikletleri ve ulaşım amaçlı kullanılan diğer büyük bisikletler için belirlenmiş park yeri sağlanması</a:t>
          </a:r>
        </a:p>
      </dgm:t>
    </dgm:pt>
    <dgm:pt modelId="{8A5077F8-10A8-48DE-8E72-3A1E8BA450AE}" type="parTrans" cxnId="{9F02618A-FD77-48C2-B655-1B398EE679D1}">
      <dgm:prSet/>
      <dgm:spPr/>
      <dgm:t>
        <a:bodyPr/>
        <a:lstStyle/>
        <a:p>
          <a:endParaRPr lang="en-US"/>
        </a:p>
      </dgm:t>
    </dgm:pt>
    <dgm:pt modelId="{7CE72D63-0C4E-41DA-BFEA-6169FED87AA0}" type="sibTrans" cxnId="{9F02618A-FD77-48C2-B655-1B398EE679D1}">
      <dgm:prSet/>
      <dgm:spPr/>
      <dgm:t>
        <a:bodyPr/>
        <a:lstStyle/>
        <a:p>
          <a:endParaRPr lang="en-US"/>
        </a:p>
      </dgm:t>
    </dgm:pt>
    <dgm:pt modelId="{B5F83645-1D0D-40AA-930A-62760A5420E2}">
      <dgm:prSet/>
      <dgm:spPr/>
      <dgm:t>
        <a:bodyPr/>
        <a:lstStyle/>
        <a:p>
          <a:r>
            <a:t>Bisikletlerin çalınmasını ve bisikletlere zarar verilmesini önlemek amacıyla güvenlik kameralarının yerleştirilmesi ve bisikletli polislerin devriye gezmesi gibi önlemlerin alınması</a:t>
          </a:r>
        </a:p>
      </dgm:t>
    </dgm:pt>
    <dgm:pt modelId="{E08BC68D-C546-4664-8DB9-90FF2BA0167C}" type="parTrans" cxnId="{7CB3E7A1-FC7A-44EB-BB87-E9AAECB752B4}">
      <dgm:prSet/>
      <dgm:spPr/>
      <dgm:t>
        <a:bodyPr/>
        <a:lstStyle/>
        <a:p>
          <a:endParaRPr lang="en-US"/>
        </a:p>
      </dgm:t>
    </dgm:pt>
    <dgm:pt modelId="{3086FAA8-25C1-4A4D-B04B-7042508AE74B}" type="sibTrans" cxnId="{7CB3E7A1-FC7A-44EB-BB87-E9AAECB752B4}">
      <dgm:prSet/>
      <dgm:spPr/>
      <dgm:t>
        <a:bodyPr/>
        <a:lstStyle/>
        <a:p>
          <a:endParaRPr lang="en-US"/>
        </a:p>
      </dgm:t>
    </dgm:pt>
    <dgm:pt modelId="{6514751D-FA91-4B4D-84DB-AECC0CF329A0}">
      <dgm:prSet/>
      <dgm:spPr/>
      <dgm:t>
        <a:bodyPr/>
        <a:lstStyle/>
        <a:p>
          <a:r>
            <a:t>Çalışanlarına bisiklet park yeri ve duş gibi olanakları sunmaları için işverenlere vergi indirimi sağlanması veya bu hizmetlerin sübvanse edilmesi</a:t>
          </a:r>
        </a:p>
      </dgm:t>
    </dgm:pt>
    <dgm:pt modelId="{EC2ECA5A-D36F-48F6-BD71-7D1D9029EC5C}" type="parTrans" cxnId="{6B1FD790-40E9-45FA-ADF4-DE7461E93C64}">
      <dgm:prSet/>
      <dgm:spPr/>
      <dgm:t>
        <a:bodyPr/>
        <a:lstStyle/>
        <a:p>
          <a:endParaRPr lang="en-US"/>
        </a:p>
      </dgm:t>
    </dgm:pt>
    <dgm:pt modelId="{3BEC80A4-977C-4903-B88C-56197744B55B}" type="sibTrans" cxnId="{6B1FD790-40E9-45FA-ADF4-DE7461E93C64}">
      <dgm:prSet/>
      <dgm:spPr/>
      <dgm:t>
        <a:bodyPr/>
        <a:lstStyle/>
        <a:p>
          <a:endParaRPr lang="en-US"/>
        </a:p>
      </dgm:t>
    </dgm:pt>
    <dgm:pt modelId="{AAA27339-995E-499A-A3B7-9F679C1B7163}">
      <dgm:prSet/>
      <dgm:spPr/>
      <dgm:t>
        <a:bodyPr/>
        <a:lstStyle/>
        <a:p>
          <a:r>
            <a:t>Yaya alanlarının ve bisiklet saklama alanlarının göze hoş görünecek şekilde yeşil alanlar ve çeşitli sanatlar kullanılarak tasarlanması</a:t>
          </a:r>
        </a:p>
      </dgm:t>
    </dgm:pt>
    <dgm:pt modelId="{C89F0D72-0B51-4868-8E10-D0B6CC96E0DD}" type="parTrans" cxnId="{0719FF83-E91A-470F-8982-CA6A059DBDA8}">
      <dgm:prSet/>
      <dgm:spPr/>
      <dgm:t>
        <a:bodyPr/>
        <a:lstStyle/>
        <a:p>
          <a:endParaRPr lang="en-US"/>
        </a:p>
      </dgm:t>
    </dgm:pt>
    <dgm:pt modelId="{E98B09C1-00FC-43FD-8E43-E62BC519DA61}" type="sibTrans" cxnId="{0719FF83-E91A-470F-8982-CA6A059DBDA8}">
      <dgm:prSet/>
      <dgm:spPr/>
      <dgm:t>
        <a:bodyPr/>
        <a:lstStyle/>
        <a:p>
          <a:endParaRPr lang="en-US"/>
        </a:p>
      </dgm:t>
    </dgm:pt>
    <dgm:pt modelId="{CFADEE98-CD4D-497E-AEE8-4E2CBADCF7AC}">
      <dgm:prSet/>
      <dgm:spPr/>
      <dgm:t>
        <a:bodyPr/>
        <a:lstStyle/>
        <a:p>
          <a:r>
            <a:t>Elektrikli bisikletler ve scooter'ların sürdürülebilir bir ulaşım seçeneği olarak kullanımını teşvik etmek için şarj istasyonları sağlamak</a:t>
          </a:r>
        </a:p>
      </dgm:t>
    </dgm:pt>
    <dgm:pt modelId="{D9AB243E-DF86-441F-A671-CF661F35CA38}" type="parTrans" cxnId="{8DE7C7F0-C1EB-455A-A492-29693AA65FE4}">
      <dgm:prSet/>
      <dgm:spPr/>
      <dgm:t>
        <a:bodyPr/>
        <a:lstStyle/>
        <a:p>
          <a:endParaRPr lang="en-US"/>
        </a:p>
      </dgm:t>
    </dgm:pt>
    <dgm:pt modelId="{D7ACD3E8-2780-40B0-80BE-647068311CA5}" type="sibTrans" cxnId="{8DE7C7F0-C1EB-455A-A492-29693AA65FE4}">
      <dgm:prSet/>
      <dgm:spPr/>
      <dgm:t>
        <a:bodyPr/>
        <a:lstStyle/>
        <a:p>
          <a:endParaRPr lang="en-US"/>
        </a:p>
      </dgm:t>
    </dgm:pt>
    <dgm:pt modelId="{77CC391C-BD2C-4A70-A809-039EFA9DB21B}">
      <dgm:prSet/>
      <dgm:spPr/>
      <dgm:t>
        <a:bodyPr/>
        <a:lstStyle/>
        <a:p>
          <a:r>
            <a:t>Yaya alanlarının ve bisiklet park alanlarının güvenli ve kullanılabilir tutulması için düzenli bakım ve temizliğinin yapılması</a:t>
          </a:r>
        </a:p>
      </dgm:t>
    </dgm:pt>
    <dgm:pt modelId="{E3FD1A0A-7F61-4161-AA55-D774D3EE2EC0}" type="parTrans" cxnId="{8B54D6CA-3BC2-41E0-9A9F-D3412813A35D}">
      <dgm:prSet/>
      <dgm:spPr/>
      <dgm:t>
        <a:bodyPr/>
        <a:lstStyle/>
        <a:p>
          <a:endParaRPr lang="en-US"/>
        </a:p>
      </dgm:t>
    </dgm:pt>
    <dgm:pt modelId="{B4B4BCDB-2534-4354-96A2-47EB522572EB}" type="sibTrans" cxnId="{8B54D6CA-3BC2-41E0-9A9F-D3412813A35D}">
      <dgm:prSet/>
      <dgm:spPr/>
      <dgm:t>
        <a:bodyPr/>
        <a:lstStyle/>
        <a:p>
          <a:endParaRPr lang="en-US"/>
        </a:p>
      </dgm:t>
    </dgm:pt>
    <dgm:pt modelId="{986A6133-C944-44DD-ACA7-1184C4E0411B}" type="pres">
      <dgm:prSet presAssocID="{372DBD8A-E69B-4907-90E5-721739ECE8C9}" presName="Name0" presStyleCnt="0">
        <dgm:presLayoutVars>
          <dgm:chMax val="7"/>
          <dgm:dir/>
          <dgm:animOne val="branch"/>
        </dgm:presLayoutVars>
      </dgm:prSet>
      <dgm:spPr/>
    </dgm:pt>
    <dgm:pt modelId="{087B7FF0-B458-4B4E-A9B9-AAEFCD4AEE37}" type="pres">
      <dgm:prSet presAssocID="{99A0F7A2-CDE7-4382-BD0B-C565120FDD55}" presName="parTx1" presStyleLbl="node1" presStyleIdx="0" presStyleCnt="1"/>
      <dgm:spPr/>
    </dgm:pt>
    <dgm:pt modelId="{737BD7B7-C704-41CE-9BE9-43F6D20D2107}" type="pres">
      <dgm:prSet presAssocID="{99A0F7A2-CDE7-4382-BD0B-C565120FDD55}" presName="spPre1" presStyleCnt="0"/>
      <dgm:spPr/>
    </dgm:pt>
    <dgm:pt modelId="{E0AF9EFC-01BE-482F-B934-589E72213D16}" type="pres">
      <dgm:prSet presAssocID="{99A0F7A2-CDE7-4382-BD0B-C565120FDD55}" presName="chLin1" presStyleCnt="0"/>
      <dgm:spPr/>
    </dgm:pt>
    <dgm:pt modelId="{D4D9F61C-A128-44D7-8035-0D349C0C4A02}" type="pres">
      <dgm:prSet presAssocID="{8A5077F8-10A8-48DE-8E72-3A1E8BA450AE}" presName="Name11" presStyleLbl="parChTrans1D1" presStyleIdx="0" presStyleCnt="12"/>
      <dgm:spPr/>
    </dgm:pt>
    <dgm:pt modelId="{B434F36F-DBAD-4160-9FC8-606AA7CAE7E9}" type="pres">
      <dgm:prSet presAssocID="{D046630F-3C6D-4720-AC39-90A00DA8B3DE}" presName="txAndLines1" presStyleCnt="0"/>
      <dgm:spPr/>
    </dgm:pt>
    <dgm:pt modelId="{FB3A6904-0C8A-4DAA-BE98-7DE5EC6FD061}" type="pres">
      <dgm:prSet presAssocID="{D046630F-3C6D-4720-AC39-90A00DA8B3DE}" presName="anchor1" presStyleCnt="0"/>
      <dgm:spPr/>
    </dgm:pt>
    <dgm:pt modelId="{D012CAAD-1E11-47C7-8F28-0516F46821B6}" type="pres">
      <dgm:prSet presAssocID="{D046630F-3C6D-4720-AC39-90A00DA8B3DE}" presName="backup1" presStyleCnt="0"/>
      <dgm:spPr/>
    </dgm:pt>
    <dgm:pt modelId="{7D2A1677-087B-40D9-96A5-F741A366EA9E}" type="pres">
      <dgm:prSet presAssocID="{D046630F-3C6D-4720-AC39-90A00DA8B3DE}" presName="preLine1" presStyleLbl="parChTrans1D1" presStyleIdx="1" presStyleCnt="12"/>
      <dgm:spPr/>
    </dgm:pt>
    <dgm:pt modelId="{FD059D52-12E2-44C1-875E-68AE796BD49A}" type="pres">
      <dgm:prSet presAssocID="{D046630F-3C6D-4720-AC39-90A00DA8B3DE}" presName="desTx1" presStyleLbl="revTx" presStyleIdx="0" presStyleCnt="0">
        <dgm:presLayoutVars>
          <dgm:bulletEnabled val="1"/>
        </dgm:presLayoutVars>
      </dgm:prSet>
      <dgm:spPr/>
    </dgm:pt>
    <dgm:pt modelId="{3B4B40F6-7496-4B11-9CD1-3609F0B4B644}" type="pres">
      <dgm:prSet presAssocID="{E08BC68D-C546-4664-8DB9-90FF2BA0167C}" presName="Name11" presStyleLbl="parChTrans1D1" presStyleIdx="2" presStyleCnt="12"/>
      <dgm:spPr/>
    </dgm:pt>
    <dgm:pt modelId="{C1B30049-8374-4209-8B13-8D9DDCB86894}" type="pres">
      <dgm:prSet presAssocID="{B5F83645-1D0D-40AA-930A-62760A5420E2}" presName="txAndLines1" presStyleCnt="0"/>
      <dgm:spPr/>
    </dgm:pt>
    <dgm:pt modelId="{709B4499-1E92-457F-A886-222D2C20C6EF}" type="pres">
      <dgm:prSet presAssocID="{B5F83645-1D0D-40AA-930A-62760A5420E2}" presName="anchor1" presStyleCnt="0"/>
      <dgm:spPr/>
    </dgm:pt>
    <dgm:pt modelId="{38CFF1A4-F00F-4D5E-9073-01A59FCFF242}" type="pres">
      <dgm:prSet presAssocID="{B5F83645-1D0D-40AA-930A-62760A5420E2}" presName="backup1" presStyleCnt="0"/>
      <dgm:spPr/>
    </dgm:pt>
    <dgm:pt modelId="{C99F1393-44DD-43FE-82DD-056884E56C8E}" type="pres">
      <dgm:prSet presAssocID="{B5F83645-1D0D-40AA-930A-62760A5420E2}" presName="preLine1" presStyleLbl="parChTrans1D1" presStyleIdx="3" presStyleCnt="12"/>
      <dgm:spPr/>
    </dgm:pt>
    <dgm:pt modelId="{4DBA5B8E-1CD8-479C-A6A8-D3D650780AC8}" type="pres">
      <dgm:prSet presAssocID="{B5F83645-1D0D-40AA-930A-62760A5420E2}" presName="desTx1" presStyleLbl="revTx" presStyleIdx="0" presStyleCnt="0">
        <dgm:presLayoutVars>
          <dgm:bulletEnabled val="1"/>
        </dgm:presLayoutVars>
      </dgm:prSet>
      <dgm:spPr/>
    </dgm:pt>
    <dgm:pt modelId="{E0B0532C-FD23-48FE-8D2A-832486F052FD}" type="pres">
      <dgm:prSet presAssocID="{EC2ECA5A-D36F-48F6-BD71-7D1D9029EC5C}" presName="Name11" presStyleLbl="parChTrans1D1" presStyleIdx="4" presStyleCnt="12"/>
      <dgm:spPr/>
    </dgm:pt>
    <dgm:pt modelId="{94267297-2E64-4E50-8374-CED124770258}" type="pres">
      <dgm:prSet presAssocID="{6514751D-FA91-4B4D-84DB-AECC0CF329A0}" presName="txAndLines1" presStyleCnt="0"/>
      <dgm:spPr/>
    </dgm:pt>
    <dgm:pt modelId="{A8A8BB78-DF92-4FE2-A58F-4CFF044589A0}" type="pres">
      <dgm:prSet presAssocID="{6514751D-FA91-4B4D-84DB-AECC0CF329A0}" presName="anchor1" presStyleCnt="0"/>
      <dgm:spPr/>
    </dgm:pt>
    <dgm:pt modelId="{54775E23-F1E5-4691-94CC-5D137E947E5C}" type="pres">
      <dgm:prSet presAssocID="{6514751D-FA91-4B4D-84DB-AECC0CF329A0}" presName="backup1" presStyleCnt="0"/>
      <dgm:spPr/>
    </dgm:pt>
    <dgm:pt modelId="{8E506FF1-D909-48C6-9DC1-3964606945A8}" type="pres">
      <dgm:prSet presAssocID="{6514751D-FA91-4B4D-84DB-AECC0CF329A0}" presName="preLine1" presStyleLbl="parChTrans1D1" presStyleIdx="5" presStyleCnt="12"/>
      <dgm:spPr/>
    </dgm:pt>
    <dgm:pt modelId="{6A7A2408-0465-4EC9-B171-BE1191B2FC8F}" type="pres">
      <dgm:prSet presAssocID="{6514751D-FA91-4B4D-84DB-AECC0CF329A0}" presName="desTx1" presStyleLbl="revTx" presStyleIdx="0" presStyleCnt="0">
        <dgm:presLayoutVars>
          <dgm:bulletEnabled val="1"/>
        </dgm:presLayoutVars>
      </dgm:prSet>
      <dgm:spPr/>
    </dgm:pt>
    <dgm:pt modelId="{2B270A78-B19F-458D-BFF5-1DB5761F9DB2}" type="pres">
      <dgm:prSet presAssocID="{C89F0D72-0B51-4868-8E10-D0B6CC96E0DD}" presName="Name11" presStyleLbl="parChTrans1D1" presStyleIdx="6" presStyleCnt="12"/>
      <dgm:spPr/>
    </dgm:pt>
    <dgm:pt modelId="{12A252EB-0BB4-436B-A873-2181949A1C02}" type="pres">
      <dgm:prSet presAssocID="{AAA27339-995E-499A-A3B7-9F679C1B7163}" presName="txAndLines1" presStyleCnt="0"/>
      <dgm:spPr/>
    </dgm:pt>
    <dgm:pt modelId="{542347F2-7B40-4F1F-89AA-3486913C26EF}" type="pres">
      <dgm:prSet presAssocID="{AAA27339-995E-499A-A3B7-9F679C1B7163}" presName="anchor1" presStyleCnt="0"/>
      <dgm:spPr/>
    </dgm:pt>
    <dgm:pt modelId="{08CA65BC-CBC1-4443-87C6-34EECE7A1A50}" type="pres">
      <dgm:prSet presAssocID="{AAA27339-995E-499A-A3B7-9F679C1B7163}" presName="backup1" presStyleCnt="0"/>
      <dgm:spPr/>
    </dgm:pt>
    <dgm:pt modelId="{6275D585-CDA0-4C32-8E50-43DF330F4BA1}" type="pres">
      <dgm:prSet presAssocID="{AAA27339-995E-499A-A3B7-9F679C1B7163}" presName="preLine1" presStyleLbl="parChTrans1D1" presStyleIdx="7" presStyleCnt="12"/>
      <dgm:spPr/>
    </dgm:pt>
    <dgm:pt modelId="{F720AB34-BA7B-44B9-956E-E2B0904EDE15}" type="pres">
      <dgm:prSet presAssocID="{AAA27339-995E-499A-A3B7-9F679C1B7163}" presName="desTx1" presStyleLbl="revTx" presStyleIdx="0" presStyleCnt="0">
        <dgm:presLayoutVars>
          <dgm:bulletEnabled val="1"/>
        </dgm:presLayoutVars>
      </dgm:prSet>
      <dgm:spPr/>
    </dgm:pt>
    <dgm:pt modelId="{6F326C4D-0916-497E-A99E-8D0AEDF10335}" type="pres">
      <dgm:prSet presAssocID="{D9AB243E-DF86-441F-A671-CF661F35CA38}" presName="Name11" presStyleLbl="parChTrans1D1" presStyleIdx="8" presStyleCnt="12"/>
      <dgm:spPr/>
    </dgm:pt>
    <dgm:pt modelId="{30681477-E44A-4517-BDF6-3CF3D797E80F}" type="pres">
      <dgm:prSet presAssocID="{CFADEE98-CD4D-497E-AEE8-4E2CBADCF7AC}" presName="txAndLines1" presStyleCnt="0"/>
      <dgm:spPr/>
    </dgm:pt>
    <dgm:pt modelId="{9A7DBCAC-D4C6-44EF-BAFF-9E4521CD845F}" type="pres">
      <dgm:prSet presAssocID="{CFADEE98-CD4D-497E-AEE8-4E2CBADCF7AC}" presName="anchor1" presStyleCnt="0"/>
      <dgm:spPr/>
    </dgm:pt>
    <dgm:pt modelId="{7F7CDF3B-AAAA-4961-AA94-22833F9338A2}" type="pres">
      <dgm:prSet presAssocID="{CFADEE98-CD4D-497E-AEE8-4E2CBADCF7AC}" presName="backup1" presStyleCnt="0"/>
      <dgm:spPr/>
    </dgm:pt>
    <dgm:pt modelId="{465A4EC7-57F6-4CE3-9339-69F30602FC22}" type="pres">
      <dgm:prSet presAssocID="{CFADEE98-CD4D-497E-AEE8-4E2CBADCF7AC}" presName="preLine1" presStyleLbl="parChTrans1D1" presStyleIdx="9" presStyleCnt="12"/>
      <dgm:spPr/>
    </dgm:pt>
    <dgm:pt modelId="{3D28D167-763A-45A0-8D41-73F9E029D75D}" type="pres">
      <dgm:prSet presAssocID="{CFADEE98-CD4D-497E-AEE8-4E2CBADCF7AC}" presName="desTx1" presStyleLbl="revTx" presStyleIdx="0" presStyleCnt="0">
        <dgm:presLayoutVars>
          <dgm:bulletEnabled val="1"/>
        </dgm:presLayoutVars>
      </dgm:prSet>
      <dgm:spPr/>
    </dgm:pt>
    <dgm:pt modelId="{9FA334E2-AE5C-4FF0-886B-1BB57F5058B2}" type="pres">
      <dgm:prSet presAssocID="{E3FD1A0A-7F61-4161-AA55-D774D3EE2EC0}" presName="Name11" presStyleLbl="parChTrans1D1" presStyleIdx="10" presStyleCnt="12"/>
      <dgm:spPr/>
    </dgm:pt>
    <dgm:pt modelId="{2D67841A-7635-42F5-B1DC-7E473140FF2F}" type="pres">
      <dgm:prSet presAssocID="{77CC391C-BD2C-4A70-A809-039EFA9DB21B}" presName="txAndLines1" presStyleCnt="0"/>
      <dgm:spPr/>
    </dgm:pt>
    <dgm:pt modelId="{1AD33BBE-DCDF-46A5-9A12-3DA8C6ED3B7F}" type="pres">
      <dgm:prSet presAssocID="{77CC391C-BD2C-4A70-A809-039EFA9DB21B}" presName="anchor1" presStyleCnt="0"/>
      <dgm:spPr/>
    </dgm:pt>
    <dgm:pt modelId="{20A0801F-F493-4400-8702-FA041D861AAF}" type="pres">
      <dgm:prSet presAssocID="{77CC391C-BD2C-4A70-A809-039EFA9DB21B}" presName="backup1" presStyleCnt="0"/>
      <dgm:spPr/>
    </dgm:pt>
    <dgm:pt modelId="{1A418644-5A82-4B89-A3D9-873D49B746FF}" type="pres">
      <dgm:prSet presAssocID="{77CC391C-BD2C-4A70-A809-039EFA9DB21B}" presName="preLine1" presStyleLbl="parChTrans1D1" presStyleIdx="11" presStyleCnt="12"/>
      <dgm:spPr/>
    </dgm:pt>
    <dgm:pt modelId="{B50ACE8D-6FFF-4CA6-BEC3-40D9AC0075DF}" type="pres">
      <dgm:prSet presAssocID="{77CC391C-BD2C-4A70-A809-039EFA9DB21B}" presName="desTx1" presStyleLbl="revTx" presStyleIdx="0" presStyleCnt="0">
        <dgm:presLayoutVars>
          <dgm:bulletEnabled val="1"/>
        </dgm:presLayoutVars>
      </dgm:prSet>
      <dgm:spPr/>
    </dgm:pt>
  </dgm:ptLst>
  <dgm:cxnLst>
    <dgm:cxn modelId="{23C70014-CAB0-48F3-9253-7619A17CBFF1}" type="presOf" srcId="{AAA27339-995E-499A-A3B7-9F679C1B7163}" destId="{F720AB34-BA7B-44B9-956E-E2B0904EDE15}" srcOrd="0" destOrd="0" presId="urn:microsoft.com/office/officeart/2009/3/layout/SubStepProcess"/>
    <dgm:cxn modelId="{9451941D-2630-41C0-85ED-4F4751365A76}" type="presOf" srcId="{6514751D-FA91-4B4D-84DB-AECC0CF329A0}" destId="{6A7A2408-0465-4EC9-B171-BE1191B2FC8F}" srcOrd="0" destOrd="0" presId="urn:microsoft.com/office/officeart/2009/3/layout/SubStepProcess"/>
    <dgm:cxn modelId="{EF9A566F-17DF-4794-A3CC-376C09DA3140}" type="presOf" srcId="{D046630F-3C6D-4720-AC39-90A00DA8B3DE}" destId="{FD059D52-12E2-44C1-875E-68AE796BD49A}" srcOrd="0" destOrd="0" presId="urn:microsoft.com/office/officeart/2009/3/layout/SubStepProcess"/>
    <dgm:cxn modelId="{45FF9683-6149-44C3-8424-1F71A2E85BE1}" type="presOf" srcId="{372DBD8A-E69B-4907-90E5-721739ECE8C9}" destId="{986A6133-C944-44DD-ACA7-1184C4E0411B}" srcOrd="0" destOrd="0" presId="urn:microsoft.com/office/officeart/2009/3/layout/SubStepProcess"/>
    <dgm:cxn modelId="{0719FF83-E91A-470F-8982-CA6A059DBDA8}" srcId="{99A0F7A2-CDE7-4382-BD0B-C565120FDD55}" destId="{AAA27339-995E-499A-A3B7-9F679C1B7163}" srcOrd="3" destOrd="0" parTransId="{C89F0D72-0B51-4868-8E10-D0B6CC96E0DD}" sibTransId="{E98B09C1-00FC-43FD-8E43-E62BC519DA61}"/>
    <dgm:cxn modelId="{9F02618A-FD77-48C2-B655-1B398EE679D1}" srcId="{99A0F7A2-CDE7-4382-BD0B-C565120FDD55}" destId="{D046630F-3C6D-4720-AC39-90A00DA8B3DE}" srcOrd="0" destOrd="0" parTransId="{8A5077F8-10A8-48DE-8E72-3A1E8BA450AE}" sibTransId="{7CE72D63-0C4E-41DA-BFEA-6169FED87AA0}"/>
    <dgm:cxn modelId="{1A7F328D-47C8-45D1-AB61-B1EBC602F56E}" type="presOf" srcId="{99A0F7A2-CDE7-4382-BD0B-C565120FDD55}" destId="{087B7FF0-B458-4B4E-A9B9-AAEFCD4AEE37}" srcOrd="0" destOrd="0" presId="urn:microsoft.com/office/officeart/2009/3/layout/SubStepProcess"/>
    <dgm:cxn modelId="{A9E6498D-6565-4D99-9BDC-54D00C8A2CE1}" type="presOf" srcId="{77CC391C-BD2C-4A70-A809-039EFA9DB21B}" destId="{B50ACE8D-6FFF-4CA6-BEC3-40D9AC0075DF}" srcOrd="0" destOrd="0" presId="urn:microsoft.com/office/officeart/2009/3/layout/SubStepProcess"/>
    <dgm:cxn modelId="{6B1FD790-40E9-45FA-ADF4-DE7461E93C64}" srcId="{99A0F7A2-CDE7-4382-BD0B-C565120FDD55}" destId="{6514751D-FA91-4B4D-84DB-AECC0CF329A0}" srcOrd="2" destOrd="0" parTransId="{EC2ECA5A-D36F-48F6-BD71-7D1D9029EC5C}" sibTransId="{3BEC80A4-977C-4903-B88C-56197744B55B}"/>
    <dgm:cxn modelId="{58830D93-2ACE-48C6-A3BF-AC485C4394D8}" type="presOf" srcId="{CFADEE98-CD4D-497E-AEE8-4E2CBADCF7AC}" destId="{3D28D167-763A-45A0-8D41-73F9E029D75D}" srcOrd="0" destOrd="0" presId="urn:microsoft.com/office/officeart/2009/3/layout/SubStepProcess"/>
    <dgm:cxn modelId="{7CB3E7A1-FC7A-44EB-BB87-E9AAECB752B4}" srcId="{99A0F7A2-CDE7-4382-BD0B-C565120FDD55}" destId="{B5F83645-1D0D-40AA-930A-62760A5420E2}" srcOrd="1" destOrd="0" parTransId="{E08BC68D-C546-4664-8DB9-90FF2BA0167C}" sibTransId="{3086FAA8-25C1-4A4D-B04B-7042508AE74B}"/>
    <dgm:cxn modelId="{39BA2CA3-C9A6-4EEC-A151-43E608DD600B}" type="presOf" srcId="{B5F83645-1D0D-40AA-930A-62760A5420E2}" destId="{4DBA5B8E-1CD8-479C-A6A8-D3D650780AC8}" srcOrd="0" destOrd="0" presId="urn:microsoft.com/office/officeart/2009/3/layout/SubStepProcess"/>
    <dgm:cxn modelId="{5DBFE4BA-8CA1-4473-8878-63BA59F936DD}" srcId="{372DBD8A-E69B-4907-90E5-721739ECE8C9}" destId="{99A0F7A2-CDE7-4382-BD0B-C565120FDD55}" srcOrd="0" destOrd="0" parTransId="{B89DD8E0-F4E5-4EE8-9882-8E811CD5C2BF}" sibTransId="{475E0FE6-F2F6-4ECA-AF0E-88E9365A1C75}"/>
    <dgm:cxn modelId="{8B54D6CA-3BC2-41E0-9A9F-D3412813A35D}" srcId="{99A0F7A2-CDE7-4382-BD0B-C565120FDD55}" destId="{77CC391C-BD2C-4A70-A809-039EFA9DB21B}" srcOrd="5" destOrd="0" parTransId="{E3FD1A0A-7F61-4161-AA55-D774D3EE2EC0}" sibTransId="{B4B4BCDB-2534-4354-96A2-47EB522572EB}"/>
    <dgm:cxn modelId="{8DE7C7F0-C1EB-455A-A492-29693AA65FE4}" srcId="{99A0F7A2-CDE7-4382-BD0B-C565120FDD55}" destId="{CFADEE98-CD4D-497E-AEE8-4E2CBADCF7AC}" srcOrd="4" destOrd="0" parTransId="{D9AB243E-DF86-441F-A671-CF661F35CA38}" sibTransId="{D7ACD3E8-2780-40B0-80BE-647068311CA5}"/>
    <dgm:cxn modelId="{5235FA69-25B5-42CA-B60A-E88C3CE7C961}" type="presParOf" srcId="{986A6133-C944-44DD-ACA7-1184C4E0411B}" destId="{087B7FF0-B458-4B4E-A9B9-AAEFCD4AEE37}" srcOrd="0" destOrd="0" presId="urn:microsoft.com/office/officeart/2009/3/layout/SubStepProcess"/>
    <dgm:cxn modelId="{0ABD16DC-74E9-46A7-ACA4-8C0C1A7D3F68}" type="presParOf" srcId="{986A6133-C944-44DD-ACA7-1184C4E0411B}" destId="{737BD7B7-C704-41CE-9BE9-43F6D20D2107}" srcOrd="1" destOrd="0" presId="urn:microsoft.com/office/officeart/2009/3/layout/SubStepProcess"/>
    <dgm:cxn modelId="{26D8D5A1-36EC-4253-8740-254676868BCF}" type="presParOf" srcId="{986A6133-C944-44DD-ACA7-1184C4E0411B}" destId="{E0AF9EFC-01BE-482F-B934-589E72213D16}" srcOrd="2" destOrd="0" presId="urn:microsoft.com/office/officeart/2009/3/layout/SubStepProcess"/>
    <dgm:cxn modelId="{43E993ED-73AC-48EE-A488-DB4B37DE310C}" type="presParOf" srcId="{E0AF9EFC-01BE-482F-B934-589E72213D16}" destId="{D4D9F61C-A128-44D7-8035-0D349C0C4A02}" srcOrd="0" destOrd="0" presId="urn:microsoft.com/office/officeart/2009/3/layout/SubStepProcess"/>
    <dgm:cxn modelId="{762B8BEA-416E-412C-B757-03F8068FBBF3}" type="presParOf" srcId="{E0AF9EFC-01BE-482F-B934-589E72213D16}" destId="{B434F36F-DBAD-4160-9FC8-606AA7CAE7E9}" srcOrd="1" destOrd="0" presId="urn:microsoft.com/office/officeart/2009/3/layout/SubStepProcess"/>
    <dgm:cxn modelId="{7FE29509-5598-4688-9A76-6275AD87015E}" type="presParOf" srcId="{B434F36F-DBAD-4160-9FC8-606AA7CAE7E9}" destId="{FB3A6904-0C8A-4DAA-BE98-7DE5EC6FD061}" srcOrd="0" destOrd="0" presId="urn:microsoft.com/office/officeart/2009/3/layout/SubStepProcess"/>
    <dgm:cxn modelId="{B551F158-4223-4C63-AC6B-1EFD1BC47165}" type="presParOf" srcId="{B434F36F-DBAD-4160-9FC8-606AA7CAE7E9}" destId="{D012CAAD-1E11-47C7-8F28-0516F46821B6}" srcOrd="1" destOrd="0" presId="urn:microsoft.com/office/officeart/2009/3/layout/SubStepProcess"/>
    <dgm:cxn modelId="{4BD13BD0-22C5-42F6-93A6-2F9B7EC4B6FA}" type="presParOf" srcId="{B434F36F-DBAD-4160-9FC8-606AA7CAE7E9}" destId="{7D2A1677-087B-40D9-96A5-F741A366EA9E}" srcOrd="2" destOrd="0" presId="urn:microsoft.com/office/officeart/2009/3/layout/SubStepProcess"/>
    <dgm:cxn modelId="{21BE5617-E477-4D37-B578-2A340893666A}" type="presParOf" srcId="{B434F36F-DBAD-4160-9FC8-606AA7CAE7E9}" destId="{FD059D52-12E2-44C1-875E-68AE796BD49A}" srcOrd="3" destOrd="0" presId="urn:microsoft.com/office/officeart/2009/3/layout/SubStepProcess"/>
    <dgm:cxn modelId="{155D7B5B-EE95-427E-8C65-43A282D79A46}" type="presParOf" srcId="{E0AF9EFC-01BE-482F-B934-589E72213D16}" destId="{3B4B40F6-7496-4B11-9CD1-3609F0B4B644}" srcOrd="2" destOrd="0" presId="urn:microsoft.com/office/officeart/2009/3/layout/SubStepProcess"/>
    <dgm:cxn modelId="{4D010689-A666-4551-BCBF-05E76F6435FC}" type="presParOf" srcId="{E0AF9EFC-01BE-482F-B934-589E72213D16}" destId="{C1B30049-8374-4209-8B13-8D9DDCB86894}" srcOrd="3" destOrd="0" presId="urn:microsoft.com/office/officeart/2009/3/layout/SubStepProcess"/>
    <dgm:cxn modelId="{F2F9F7EC-7CC0-4EB4-83F4-C1361D706C45}" type="presParOf" srcId="{C1B30049-8374-4209-8B13-8D9DDCB86894}" destId="{709B4499-1E92-457F-A886-222D2C20C6EF}" srcOrd="0" destOrd="0" presId="urn:microsoft.com/office/officeart/2009/3/layout/SubStepProcess"/>
    <dgm:cxn modelId="{ECEE707B-CF4E-4F16-BF67-B9D74CE99BCA}" type="presParOf" srcId="{C1B30049-8374-4209-8B13-8D9DDCB86894}" destId="{38CFF1A4-F00F-4D5E-9073-01A59FCFF242}" srcOrd="1" destOrd="0" presId="urn:microsoft.com/office/officeart/2009/3/layout/SubStepProcess"/>
    <dgm:cxn modelId="{DFE3919B-C9CC-43B6-B554-509002B8D59B}" type="presParOf" srcId="{C1B30049-8374-4209-8B13-8D9DDCB86894}" destId="{C99F1393-44DD-43FE-82DD-056884E56C8E}" srcOrd="2" destOrd="0" presId="urn:microsoft.com/office/officeart/2009/3/layout/SubStepProcess"/>
    <dgm:cxn modelId="{6C2BE751-EDBF-4637-A4FF-74393D18E8F6}" type="presParOf" srcId="{C1B30049-8374-4209-8B13-8D9DDCB86894}" destId="{4DBA5B8E-1CD8-479C-A6A8-D3D650780AC8}" srcOrd="3" destOrd="0" presId="urn:microsoft.com/office/officeart/2009/3/layout/SubStepProcess"/>
    <dgm:cxn modelId="{18088DF2-3A4A-482F-BB73-0CEC0D0B8FB9}" type="presParOf" srcId="{E0AF9EFC-01BE-482F-B934-589E72213D16}" destId="{E0B0532C-FD23-48FE-8D2A-832486F052FD}" srcOrd="4" destOrd="0" presId="urn:microsoft.com/office/officeart/2009/3/layout/SubStepProcess"/>
    <dgm:cxn modelId="{0017E3F9-93EB-4C21-AC47-90449A1CE520}" type="presParOf" srcId="{E0AF9EFC-01BE-482F-B934-589E72213D16}" destId="{94267297-2E64-4E50-8374-CED124770258}" srcOrd="5" destOrd="0" presId="urn:microsoft.com/office/officeart/2009/3/layout/SubStepProcess"/>
    <dgm:cxn modelId="{900C6F9A-171E-4A1E-A70A-D6E76E857C45}" type="presParOf" srcId="{94267297-2E64-4E50-8374-CED124770258}" destId="{A8A8BB78-DF92-4FE2-A58F-4CFF044589A0}" srcOrd="0" destOrd="0" presId="urn:microsoft.com/office/officeart/2009/3/layout/SubStepProcess"/>
    <dgm:cxn modelId="{95A800FB-6D9F-48D4-8B3C-EAA1012484AA}" type="presParOf" srcId="{94267297-2E64-4E50-8374-CED124770258}" destId="{54775E23-F1E5-4691-94CC-5D137E947E5C}" srcOrd="1" destOrd="0" presId="urn:microsoft.com/office/officeart/2009/3/layout/SubStepProcess"/>
    <dgm:cxn modelId="{30B91540-84DA-47D0-B406-AC7B49096258}" type="presParOf" srcId="{94267297-2E64-4E50-8374-CED124770258}" destId="{8E506FF1-D909-48C6-9DC1-3964606945A8}" srcOrd="2" destOrd="0" presId="urn:microsoft.com/office/officeart/2009/3/layout/SubStepProcess"/>
    <dgm:cxn modelId="{15FD26E8-895E-44A7-B669-14CD29B3A85C}" type="presParOf" srcId="{94267297-2E64-4E50-8374-CED124770258}" destId="{6A7A2408-0465-4EC9-B171-BE1191B2FC8F}" srcOrd="3" destOrd="0" presId="urn:microsoft.com/office/officeart/2009/3/layout/SubStepProcess"/>
    <dgm:cxn modelId="{3E69CD7A-2C9E-4B40-AB90-1BBEFC370FBF}" type="presParOf" srcId="{E0AF9EFC-01BE-482F-B934-589E72213D16}" destId="{2B270A78-B19F-458D-BFF5-1DB5761F9DB2}" srcOrd="6" destOrd="0" presId="urn:microsoft.com/office/officeart/2009/3/layout/SubStepProcess"/>
    <dgm:cxn modelId="{1766D19C-6490-4CA3-B5FC-BF368EC8603A}" type="presParOf" srcId="{E0AF9EFC-01BE-482F-B934-589E72213D16}" destId="{12A252EB-0BB4-436B-A873-2181949A1C02}" srcOrd="7" destOrd="0" presId="urn:microsoft.com/office/officeart/2009/3/layout/SubStepProcess"/>
    <dgm:cxn modelId="{3B5DAA5C-3A90-4674-916F-11E560DF4B8B}" type="presParOf" srcId="{12A252EB-0BB4-436B-A873-2181949A1C02}" destId="{542347F2-7B40-4F1F-89AA-3486913C26EF}" srcOrd="0" destOrd="0" presId="urn:microsoft.com/office/officeart/2009/3/layout/SubStepProcess"/>
    <dgm:cxn modelId="{A97A701B-7E2F-4DDD-8CF5-58D269A81517}" type="presParOf" srcId="{12A252EB-0BB4-436B-A873-2181949A1C02}" destId="{08CA65BC-CBC1-4443-87C6-34EECE7A1A50}" srcOrd="1" destOrd="0" presId="urn:microsoft.com/office/officeart/2009/3/layout/SubStepProcess"/>
    <dgm:cxn modelId="{3D161006-C10F-44C8-8CF1-3D39694EA465}" type="presParOf" srcId="{12A252EB-0BB4-436B-A873-2181949A1C02}" destId="{6275D585-CDA0-4C32-8E50-43DF330F4BA1}" srcOrd="2" destOrd="0" presId="urn:microsoft.com/office/officeart/2009/3/layout/SubStepProcess"/>
    <dgm:cxn modelId="{023463D9-9AE9-4DB8-BE96-3C61A15737F0}" type="presParOf" srcId="{12A252EB-0BB4-436B-A873-2181949A1C02}" destId="{F720AB34-BA7B-44B9-956E-E2B0904EDE15}" srcOrd="3" destOrd="0" presId="urn:microsoft.com/office/officeart/2009/3/layout/SubStepProcess"/>
    <dgm:cxn modelId="{71A2BB7A-F26D-4667-9243-642589E37743}" type="presParOf" srcId="{E0AF9EFC-01BE-482F-B934-589E72213D16}" destId="{6F326C4D-0916-497E-A99E-8D0AEDF10335}" srcOrd="8" destOrd="0" presId="urn:microsoft.com/office/officeart/2009/3/layout/SubStepProcess"/>
    <dgm:cxn modelId="{C4E51722-C005-4956-9483-B437A48B49F1}" type="presParOf" srcId="{E0AF9EFC-01BE-482F-B934-589E72213D16}" destId="{30681477-E44A-4517-BDF6-3CF3D797E80F}" srcOrd="9" destOrd="0" presId="urn:microsoft.com/office/officeart/2009/3/layout/SubStepProcess"/>
    <dgm:cxn modelId="{9FCD8819-4544-47A7-BA6A-2847E8361421}" type="presParOf" srcId="{30681477-E44A-4517-BDF6-3CF3D797E80F}" destId="{9A7DBCAC-D4C6-44EF-BAFF-9E4521CD845F}" srcOrd="0" destOrd="0" presId="urn:microsoft.com/office/officeart/2009/3/layout/SubStepProcess"/>
    <dgm:cxn modelId="{7D97B70F-02CA-4DA3-962E-5C5AE1D52E2F}" type="presParOf" srcId="{30681477-E44A-4517-BDF6-3CF3D797E80F}" destId="{7F7CDF3B-AAAA-4961-AA94-22833F9338A2}" srcOrd="1" destOrd="0" presId="urn:microsoft.com/office/officeart/2009/3/layout/SubStepProcess"/>
    <dgm:cxn modelId="{B9EC36A6-9225-42F9-BD8A-D1A3E45489BE}" type="presParOf" srcId="{30681477-E44A-4517-BDF6-3CF3D797E80F}" destId="{465A4EC7-57F6-4CE3-9339-69F30602FC22}" srcOrd="2" destOrd="0" presId="urn:microsoft.com/office/officeart/2009/3/layout/SubStepProcess"/>
    <dgm:cxn modelId="{CBE4D8DD-C0CF-412F-80E0-54C97C398D91}" type="presParOf" srcId="{30681477-E44A-4517-BDF6-3CF3D797E80F}" destId="{3D28D167-763A-45A0-8D41-73F9E029D75D}" srcOrd="3" destOrd="0" presId="urn:microsoft.com/office/officeart/2009/3/layout/SubStepProcess"/>
    <dgm:cxn modelId="{DE989077-7B66-4EB5-B52E-A84DA3B01316}" type="presParOf" srcId="{E0AF9EFC-01BE-482F-B934-589E72213D16}" destId="{9FA334E2-AE5C-4FF0-886B-1BB57F5058B2}" srcOrd="10" destOrd="0" presId="urn:microsoft.com/office/officeart/2009/3/layout/SubStepProcess"/>
    <dgm:cxn modelId="{B1BAEAF1-B87A-4472-A114-3E293131BF32}" type="presParOf" srcId="{E0AF9EFC-01BE-482F-B934-589E72213D16}" destId="{2D67841A-7635-42F5-B1DC-7E473140FF2F}" srcOrd="11" destOrd="0" presId="urn:microsoft.com/office/officeart/2009/3/layout/SubStepProcess"/>
    <dgm:cxn modelId="{6D0F2634-FE25-40DE-B916-4EB18DBD09D0}" type="presParOf" srcId="{2D67841A-7635-42F5-B1DC-7E473140FF2F}" destId="{1AD33BBE-DCDF-46A5-9A12-3DA8C6ED3B7F}" srcOrd="0" destOrd="0" presId="urn:microsoft.com/office/officeart/2009/3/layout/SubStepProcess"/>
    <dgm:cxn modelId="{E3F10280-C41F-4355-B0BF-C66D71D57F5D}" type="presParOf" srcId="{2D67841A-7635-42F5-B1DC-7E473140FF2F}" destId="{20A0801F-F493-4400-8702-FA041D861AAF}" srcOrd="1" destOrd="0" presId="urn:microsoft.com/office/officeart/2009/3/layout/SubStepProcess"/>
    <dgm:cxn modelId="{4D6B1579-29BC-4C00-B5AB-8C25D4619C2B}" type="presParOf" srcId="{2D67841A-7635-42F5-B1DC-7E473140FF2F}" destId="{1A418644-5A82-4B89-A3D9-873D49B746FF}" srcOrd="2" destOrd="0" presId="urn:microsoft.com/office/officeart/2009/3/layout/SubStepProcess"/>
    <dgm:cxn modelId="{76E9BB0E-BA67-4586-A157-AB351650DC41}" type="presParOf" srcId="{2D67841A-7635-42F5-B1DC-7E473140FF2F}" destId="{B50ACE8D-6FFF-4CA6-BEC3-40D9AC0075DF}" srcOrd="3" destOrd="0" presId="urn:microsoft.com/office/officeart/2009/3/layout/SubStepProcess"/>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52566C89-BB32-471F-919A-54EFBCA9368C}" type="doc">
      <dgm:prSet loTypeId="urn:microsoft.com/office/officeart/2009/3/layout/PhasedProcess" loCatId="process" qsTypeId="urn:microsoft.com/office/officeart/2005/8/quickstyle/simple2" qsCatId="simple" csTypeId="urn:microsoft.com/office/officeart/2005/8/colors/colorful3" csCatId="colorful"/>
      <dgm:spPr/>
      <dgm:t>
        <a:bodyPr/>
        <a:lstStyle/>
        <a:p>
          <a:endParaRPr lang="en-US"/>
        </a:p>
      </dgm:t>
    </dgm:pt>
    <dgm:pt modelId="{E327E211-35DE-4DD9-BCAE-AC33188DA679}">
      <dgm:prSet/>
      <dgm:spPr/>
      <dgm:t>
        <a:bodyPr/>
        <a:lstStyle/>
        <a:p>
          <a:r>
            <a:t>Otopark uygulama ve yönetim teknolojisi, Ankara'daki ulaşım planlamacılarının otopark kaynaklarını etkin bir şekilde yönetmeleri ve park düzenlemelerini uygulamaları için gerekli araçlardır. İşte bu amaçla kullanılabilecek bazı önemli teknolojiler:</a:t>
          </a:r>
        </a:p>
      </dgm:t>
    </dgm:pt>
    <dgm:pt modelId="{F60775DF-7110-4439-A62C-C6EEE66E3024}" type="parTrans" cxnId="{F293678E-5EF6-4B62-82FC-116A0DD1DA2C}">
      <dgm:prSet/>
      <dgm:spPr/>
      <dgm:t>
        <a:bodyPr/>
        <a:lstStyle/>
        <a:p>
          <a:endParaRPr lang="en-US"/>
        </a:p>
      </dgm:t>
    </dgm:pt>
    <dgm:pt modelId="{86EDB0A8-1B79-4CF7-A6F7-2211D24C15B0}" type="sibTrans" cxnId="{F293678E-5EF6-4B62-82FC-116A0DD1DA2C}">
      <dgm:prSet/>
      <dgm:spPr/>
      <dgm:t>
        <a:bodyPr/>
        <a:lstStyle/>
        <a:p>
          <a:endParaRPr lang="en-US"/>
        </a:p>
      </dgm:t>
    </dgm:pt>
    <dgm:pt modelId="{57E59436-40AF-48FD-8F2E-D43E40530074}">
      <dgm:prSet/>
      <dgm:spPr/>
      <dgm:t>
        <a:bodyPr/>
        <a:lstStyle/>
        <a:p>
          <a:r>
            <a:t>Otomatik plaka tanıma (ALPR) sistemleri, araç plakalarını tarayarak park ihlallerini tespit edebilir. Bu teknoloji, park uygulama operasyonlarının verimliliğini büyük ölçüde artırabilir.</a:t>
          </a:r>
        </a:p>
      </dgm:t>
    </dgm:pt>
    <dgm:pt modelId="{D06423F2-7448-4970-8FDF-55A0798620A4}" type="parTrans" cxnId="{17AFDE56-AEB2-4806-BF7E-4BFB9BAED1AD}">
      <dgm:prSet/>
      <dgm:spPr/>
      <dgm:t>
        <a:bodyPr/>
        <a:lstStyle/>
        <a:p>
          <a:endParaRPr lang="en-US"/>
        </a:p>
      </dgm:t>
    </dgm:pt>
    <dgm:pt modelId="{047752B4-6F1B-4A80-9601-EA4A607AADD0}" type="sibTrans" cxnId="{17AFDE56-AEB2-4806-BF7E-4BFB9BAED1AD}">
      <dgm:prSet/>
      <dgm:spPr/>
      <dgm:t>
        <a:bodyPr/>
        <a:lstStyle/>
        <a:p>
          <a:endParaRPr lang="en-US"/>
        </a:p>
      </dgm:t>
    </dgm:pt>
    <dgm:pt modelId="{6316C9A6-CBF4-4530-9900-9507FD1F2766}">
      <dgm:prSet/>
      <dgm:spPr/>
      <dgm:t>
        <a:bodyPr/>
        <a:lstStyle/>
        <a:p>
          <a:r>
            <a:t>Mobil park ödeme sistemleri, sürücülerin mobil cihazlarını kullanarak park için ödeme yapmalarını sağlar. Bu teknoloji, fiziksel ödeme yöntemlerine olan ihtiyacı azaltabilir ve kullanıcılar için kolaylığı artırabilir.</a:t>
          </a:r>
        </a:p>
      </dgm:t>
    </dgm:pt>
    <dgm:pt modelId="{5ED988BB-776E-4548-80DC-97617EA46BA5}" type="parTrans" cxnId="{A0303353-D1E9-4C7E-AB05-BF7E063D2F10}">
      <dgm:prSet/>
      <dgm:spPr/>
      <dgm:t>
        <a:bodyPr/>
        <a:lstStyle/>
        <a:p>
          <a:endParaRPr lang="en-US"/>
        </a:p>
      </dgm:t>
    </dgm:pt>
    <dgm:pt modelId="{BDDFBC81-B678-458D-8294-D77794026E51}" type="sibTrans" cxnId="{A0303353-D1E9-4C7E-AB05-BF7E063D2F10}">
      <dgm:prSet/>
      <dgm:spPr/>
      <dgm:t>
        <a:bodyPr/>
        <a:lstStyle/>
        <a:p>
          <a:endParaRPr lang="en-US"/>
        </a:p>
      </dgm:t>
    </dgm:pt>
    <dgm:pt modelId="{4A71D360-C66D-4CBF-928D-2977D7ABED43}">
      <dgm:prSet/>
      <dgm:spPr/>
      <dgm:t>
        <a:bodyPr/>
        <a:lstStyle/>
        <a:p>
          <a:r>
            <a:rPr dirty="0" err="1"/>
            <a:t>Otopark</a:t>
          </a:r>
          <a:r>
            <a:rPr dirty="0"/>
            <a:t> </a:t>
          </a:r>
          <a:r>
            <a:rPr dirty="0" err="1"/>
            <a:t>yönetim</a:t>
          </a:r>
          <a:r>
            <a:rPr dirty="0"/>
            <a:t> </a:t>
          </a:r>
          <a:r>
            <a:rPr dirty="0" err="1"/>
            <a:t>yazılımı</a:t>
          </a:r>
          <a:r>
            <a:rPr dirty="0"/>
            <a:t>, </a:t>
          </a:r>
          <a:r>
            <a:rPr dirty="0" err="1"/>
            <a:t>otopark</a:t>
          </a:r>
          <a:r>
            <a:rPr dirty="0"/>
            <a:t> </a:t>
          </a:r>
          <a:r>
            <a:rPr dirty="0" err="1"/>
            <a:t>kullanımı</a:t>
          </a:r>
          <a:r>
            <a:rPr dirty="0"/>
            <a:t> </a:t>
          </a:r>
          <a:r>
            <a:rPr dirty="0" err="1"/>
            <a:t>ve</a:t>
          </a:r>
          <a:r>
            <a:rPr dirty="0"/>
            <a:t> </a:t>
          </a:r>
          <a:r>
            <a:rPr dirty="0" err="1"/>
            <a:t>uygulama</a:t>
          </a:r>
          <a:r>
            <a:rPr dirty="0"/>
            <a:t> </a:t>
          </a:r>
          <a:r>
            <a:rPr dirty="0" err="1"/>
            <a:t>faaliyetleri</a:t>
          </a:r>
          <a:r>
            <a:rPr dirty="0"/>
            <a:t> </a:t>
          </a:r>
          <a:r>
            <a:rPr dirty="0" err="1"/>
            <a:t>hakkında</a:t>
          </a:r>
          <a:r>
            <a:rPr dirty="0"/>
            <a:t> </a:t>
          </a:r>
          <a:r>
            <a:rPr dirty="0" err="1"/>
            <a:t>gerçek</a:t>
          </a:r>
          <a:r>
            <a:rPr dirty="0"/>
            <a:t> </a:t>
          </a:r>
          <a:r>
            <a:rPr dirty="0" err="1"/>
            <a:t>zamanlı</a:t>
          </a:r>
          <a:r>
            <a:rPr dirty="0"/>
            <a:t> </a:t>
          </a:r>
          <a:r>
            <a:rPr dirty="0" err="1"/>
            <a:t>veriler</a:t>
          </a:r>
          <a:r>
            <a:rPr dirty="0"/>
            <a:t> </a:t>
          </a:r>
          <a:r>
            <a:rPr dirty="0" err="1"/>
            <a:t>sağlar</a:t>
          </a:r>
          <a:r>
            <a:rPr dirty="0"/>
            <a:t>. Bu </a:t>
          </a:r>
          <a:r>
            <a:rPr dirty="0" err="1"/>
            <a:t>veriler</a:t>
          </a:r>
          <a:r>
            <a:rPr dirty="0"/>
            <a:t>, </a:t>
          </a:r>
          <a:r>
            <a:rPr dirty="0" err="1"/>
            <a:t>ulaşım</a:t>
          </a:r>
          <a:r>
            <a:rPr dirty="0"/>
            <a:t> </a:t>
          </a:r>
          <a:r>
            <a:rPr dirty="0" err="1"/>
            <a:t>planlamacılarının</a:t>
          </a:r>
          <a:r>
            <a:rPr dirty="0"/>
            <a:t> park </a:t>
          </a:r>
          <a:r>
            <a:rPr dirty="0" err="1"/>
            <a:t>yönetimi</a:t>
          </a:r>
          <a:r>
            <a:rPr dirty="0"/>
            <a:t> </a:t>
          </a:r>
          <a:r>
            <a:rPr dirty="0" err="1"/>
            <a:t>stratejileri</a:t>
          </a:r>
          <a:r>
            <a:rPr dirty="0"/>
            <a:t> </a:t>
          </a:r>
          <a:r>
            <a:rPr dirty="0" err="1"/>
            <a:t>hakkında</a:t>
          </a:r>
          <a:r>
            <a:rPr dirty="0"/>
            <a:t> </a:t>
          </a:r>
          <a:r>
            <a:rPr dirty="0" err="1"/>
            <a:t>bilinçli</a:t>
          </a:r>
          <a:r>
            <a:rPr dirty="0"/>
            <a:t> </a:t>
          </a:r>
          <a:r>
            <a:rPr dirty="0" err="1"/>
            <a:t>kararlar</a:t>
          </a:r>
          <a:r>
            <a:rPr dirty="0"/>
            <a:t> </a:t>
          </a:r>
          <a:r>
            <a:rPr dirty="0" err="1"/>
            <a:t>almalarına</a:t>
          </a:r>
          <a:r>
            <a:rPr dirty="0"/>
            <a:t> </a:t>
          </a:r>
          <a:r>
            <a:rPr dirty="0" err="1"/>
            <a:t>yardımcı</a:t>
          </a:r>
          <a:r>
            <a:rPr dirty="0"/>
            <a:t> </a:t>
          </a:r>
          <a:r>
            <a:rPr dirty="0" err="1"/>
            <a:t>olabilir</a:t>
          </a:r>
          <a:r>
            <a:rPr dirty="0"/>
            <a:t>.</a:t>
          </a:r>
        </a:p>
      </dgm:t>
    </dgm:pt>
    <dgm:pt modelId="{847A6C3C-35C3-47A0-BA33-8C631D58C6A7}" type="parTrans" cxnId="{A6EE1DF6-5338-43FB-9ADE-E993C76A0E38}">
      <dgm:prSet/>
      <dgm:spPr/>
      <dgm:t>
        <a:bodyPr/>
        <a:lstStyle/>
        <a:p>
          <a:endParaRPr lang="en-US"/>
        </a:p>
      </dgm:t>
    </dgm:pt>
    <dgm:pt modelId="{24C572C7-F574-4279-A5E7-C2F4C769B867}" type="sibTrans" cxnId="{A6EE1DF6-5338-43FB-9ADE-E993C76A0E38}">
      <dgm:prSet/>
      <dgm:spPr/>
      <dgm:t>
        <a:bodyPr/>
        <a:lstStyle/>
        <a:p>
          <a:endParaRPr lang="en-US"/>
        </a:p>
      </dgm:t>
    </dgm:pt>
    <dgm:pt modelId="{4E36E6D8-8687-4BE9-A83C-6062FE8446BB}">
      <dgm:prSet/>
      <dgm:spPr/>
      <dgm:t>
        <a:bodyPr/>
        <a:lstStyle/>
        <a:p>
          <a:r>
            <a:t>Elektronik park izinleri, park düzenlemelerini uygulamak ve yetkisiz park etmeyi önlemek için kullanılabilir. Bu teknoloji aynı zamanda ulaşım planlamacılarının park talebini ve kullanım modellerini daha iyi anlamalarına yardımcı olabilir.</a:t>
          </a:r>
        </a:p>
      </dgm:t>
    </dgm:pt>
    <dgm:pt modelId="{C4A90444-9645-42AB-A864-DAFB4D524A6C}" type="parTrans" cxnId="{0A6329A6-56DC-45E0-B21C-8F0FAC41CC64}">
      <dgm:prSet/>
      <dgm:spPr/>
      <dgm:t>
        <a:bodyPr/>
        <a:lstStyle/>
        <a:p>
          <a:endParaRPr lang="en-US"/>
        </a:p>
      </dgm:t>
    </dgm:pt>
    <dgm:pt modelId="{7230E583-F815-4E02-8178-6503B4BAF6CE}" type="sibTrans" cxnId="{0A6329A6-56DC-45E0-B21C-8F0FAC41CC64}">
      <dgm:prSet/>
      <dgm:spPr/>
      <dgm:t>
        <a:bodyPr/>
        <a:lstStyle/>
        <a:p>
          <a:endParaRPr lang="en-US"/>
        </a:p>
      </dgm:t>
    </dgm:pt>
    <dgm:pt modelId="{E927EA83-AA65-4F45-B980-6064EF96C03E}" type="pres">
      <dgm:prSet presAssocID="{52566C89-BB32-471F-919A-54EFBCA9368C}" presName="Name0" presStyleCnt="0">
        <dgm:presLayoutVars>
          <dgm:chMax val="3"/>
          <dgm:chPref val="3"/>
          <dgm:bulletEnabled val="1"/>
          <dgm:dir/>
          <dgm:animLvl val="lvl"/>
        </dgm:presLayoutVars>
      </dgm:prSet>
      <dgm:spPr/>
    </dgm:pt>
    <dgm:pt modelId="{1FAA1905-B01F-4A13-B5EF-33951B93D79C}" type="pres">
      <dgm:prSet presAssocID="{52566C89-BB32-471F-919A-54EFBCA9368C}" presName="middleComposite" presStyleCnt="0"/>
      <dgm:spPr/>
    </dgm:pt>
    <dgm:pt modelId="{CE910ED4-3430-4E74-BA4E-5BBD3DF3018D}" type="pres">
      <dgm:prSet presAssocID="{52566C89-BB32-471F-919A-54EFBCA9368C}" presName="leftComposite" presStyleCnt="0"/>
      <dgm:spPr/>
    </dgm:pt>
    <dgm:pt modelId="{10019F8A-8647-48D0-8E59-62168709ED16}" type="pres">
      <dgm:prSet presAssocID="{57E59436-40AF-48FD-8F2E-D43E40530074}" presName="childText1_1" presStyleLbl="vennNode1" presStyleIdx="0" presStyleCnt="9">
        <dgm:presLayoutVars>
          <dgm:chMax val="0"/>
          <dgm:chPref val="0"/>
        </dgm:presLayoutVars>
      </dgm:prSet>
      <dgm:spPr/>
    </dgm:pt>
    <dgm:pt modelId="{6CF47E25-E56E-4880-B9D3-F2A67C0DB6A7}" type="pres">
      <dgm:prSet presAssocID="{57E59436-40AF-48FD-8F2E-D43E40530074}" presName="ellipse1" presStyleLbl="vennNode1" presStyleIdx="1" presStyleCnt="9"/>
      <dgm:spPr/>
    </dgm:pt>
    <dgm:pt modelId="{F41E28E2-38D9-4ECC-AC55-98369D336747}" type="pres">
      <dgm:prSet presAssocID="{57E59436-40AF-48FD-8F2E-D43E40530074}" presName="ellipse2" presStyleLbl="vennNode1" presStyleIdx="2" presStyleCnt="9"/>
      <dgm:spPr/>
    </dgm:pt>
    <dgm:pt modelId="{7F8B3783-FDD6-4ED3-8057-C8111DAA009F}" type="pres">
      <dgm:prSet presAssocID="{6316C9A6-CBF4-4530-9900-9507FD1F2766}" presName="childText1_2" presStyleLbl="vennNode1" presStyleIdx="3" presStyleCnt="9">
        <dgm:presLayoutVars>
          <dgm:chMax val="0"/>
          <dgm:chPref val="0"/>
        </dgm:presLayoutVars>
      </dgm:prSet>
      <dgm:spPr/>
    </dgm:pt>
    <dgm:pt modelId="{A7A32385-CB74-4560-9A85-7B1835853471}" type="pres">
      <dgm:prSet presAssocID="{6316C9A6-CBF4-4530-9900-9507FD1F2766}" presName="ellipse3" presStyleLbl="vennNode1" presStyleIdx="4" presStyleCnt="9"/>
      <dgm:spPr/>
    </dgm:pt>
    <dgm:pt modelId="{A5E89060-4C61-46F8-ABC6-F395DB53BE49}" type="pres">
      <dgm:prSet presAssocID="{4A71D360-C66D-4CBF-928D-2977D7ABED43}" presName="childText1_3" presStyleLbl="vennNode1" presStyleIdx="5" presStyleCnt="9">
        <dgm:presLayoutVars>
          <dgm:chMax val="0"/>
          <dgm:chPref val="0"/>
        </dgm:presLayoutVars>
      </dgm:prSet>
      <dgm:spPr/>
    </dgm:pt>
    <dgm:pt modelId="{2428A46B-5902-4F3F-A6FA-8E9106F7705D}" type="pres">
      <dgm:prSet presAssocID="{4E36E6D8-8687-4BE9-A83C-6062FE8446BB}" presName="childText1_4" presStyleLbl="vennNode1" presStyleIdx="6" presStyleCnt="9">
        <dgm:presLayoutVars>
          <dgm:chMax val="0"/>
          <dgm:chPref val="0"/>
        </dgm:presLayoutVars>
      </dgm:prSet>
      <dgm:spPr/>
    </dgm:pt>
    <dgm:pt modelId="{0599A0AB-5B67-4A9B-AD04-71DBBE175971}" type="pres">
      <dgm:prSet presAssocID="{4E36E6D8-8687-4BE9-A83C-6062FE8446BB}" presName="ellipse4" presStyleLbl="vennNode1" presStyleIdx="7" presStyleCnt="9"/>
      <dgm:spPr/>
    </dgm:pt>
    <dgm:pt modelId="{5B4F7F69-5D93-468C-8CC8-F38F92C44B21}" type="pres">
      <dgm:prSet presAssocID="{4E36E6D8-8687-4BE9-A83C-6062FE8446BB}" presName="ellipse5" presStyleLbl="vennNode1" presStyleIdx="8" presStyleCnt="9"/>
      <dgm:spPr/>
    </dgm:pt>
    <dgm:pt modelId="{49CD979C-9373-4AA5-80D9-6D95B4C87DD7}" type="pres">
      <dgm:prSet presAssocID="{52566C89-BB32-471F-919A-54EFBCA9368C}" presName="parentText1" presStyleLbl="revTx" presStyleIdx="0" presStyleCnt="1">
        <dgm:presLayoutVars>
          <dgm:chMax val="4"/>
          <dgm:chPref val="3"/>
          <dgm:bulletEnabled val="1"/>
        </dgm:presLayoutVars>
      </dgm:prSet>
      <dgm:spPr/>
    </dgm:pt>
  </dgm:ptLst>
  <dgm:cxnLst>
    <dgm:cxn modelId="{BD3BE61A-911E-4891-8943-C446C6E2954D}" type="presOf" srcId="{4A71D360-C66D-4CBF-928D-2977D7ABED43}" destId="{A5E89060-4C61-46F8-ABC6-F395DB53BE49}" srcOrd="0" destOrd="0" presId="urn:microsoft.com/office/officeart/2009/3/layout/PhasedProcess"/>
    <dgm:cxn modelId="{00AD812D-B616-4119-8128-BEBBC98C22ED}" type="presOf" srcId="{52566C89-BB32-471F-919A-54EFBCA9368C}" destId="{E927EA83-AA65-4F45-B980-6064EF96C03E}" srcOrd="0" destOrd="0" presId="urn:microsoft.com/office/officeart/2009/3/layout/PhasedProcess"/>
    <dgm:cxn modelId="{D77ABD3E-A7A9-4FE8-8684-B046B3A7DD15}" type="presOf" srcId="{57E59436-40AF-48FD-8F2E-D43E40530074}" destId="{10019F8A-8647-48D0-8E59-62168709ED16}" srcOrd="0" destOrd="0" presId="urn:microsoft.com/office/officeart/2009/3/layout/PhasedProcess"/>
    <dgm:cxn modelId="{E694D764-4244-4458-A8B4-7904A222B8E2}" type="presOf" srcId="{4E36E6D8-8687-4BE9-A83C-6062FE8446BB}" destId="{2428A46B-5902-4F3F-A6FA-8E9106F7705D}" srcOrd="0" destOrd="0" presId="urn:microsoft.com/office/officeart/2009/3/layout/PhasedProcess"/>
    <dgm:cxn modelId="{AB6E624F-74F1-4EF0-BA25-E3C2C976EA26}" type="presOf" srcId="{6316C9A6-CBF4-4530-9900-9507FD1F2766}" destId="{7F8B3783-FDD6-4ED3-8057-C8111DAA009F}" srcOrd="0" destOrd="0" presId="urn:microsoft.com/office/officeart/2009/3/layout/PhasedProcess"/>
    <dgm:cxn modelId="{A0303353-D1E9-4C7E-AB05-BF7E063D2F10}" srcId="{E327E211-35DE-4DD9-BCAE-AC33188DA679}" destId="{6316C9A6-CBF4-4530-9900-9507FD1F2766}" srcOrd="1" destOrd="0" parTransId="{5ED988BB-776E-4548-80DC-97617EA46BA5}" sibTransId="{BDDFBC81-B678-458D-8294-D77794026E51}"/>
    <dgm:cxn modelId="{17AFDE56-AEB2-4806-BF7E-4BFB9BAED1AD}" srcId="{E327E211-35DE-4DD9-BCAE-AC33188DA679}" destId="{57E59436-40AF-48FD-8F2E-D43E40530074}" srcOrd="0" destOrd="0" parTransId="{D06423F2-7448-4970-8FDF-55A0798620A4}" sibTransId="{047752B4-6F1B-4A80-9601-EA4A607AADD0}"/>
    <dgm:cxn modelId="{F293678E-5EF6-4B62-82FC-116A0DD1DA2C}" srcId="{52566C89-BB32-471F-919A-54EFBCA9368C}" destId="{E327E211-35DE-4DD9-BCAE-AC33188DA679}" srcOrd="0" destOrd="0" parTransId="{F60775DF-7110-4439-A62C-C6EEE66E3024}" sibTransId="{86EDB0A8-1B79-4CF7-A6F7-2211D24C15B0}"/>
    <dgm:cxn modelId="{0A6329A6-56DC-45E0-B21C-8F0FAC41CC64}" srcId="{E327E211-35DE-4DD9-BCAE-AC33188DA679}" destId="{4E36E6D8-8687-4BE9-A83C-6062FE8446BB}" srcOrd="3" destOrd="0" parTransId="{C4A90444-9645-42AB-A864-DAFB4D524A6C}" sibTransId="{7230E583-F815-4E02-8178-6503B4BAF6CE}"/>
    <dgm:cxn modelId="{7EFDA0C7-ED81-4485-BDC0-FC6F068EC15F}" type="presOf" srcId="{E327E211-35DE-4DD9-BCAE-AC33188DA679}" destId="{49CD979C-9373-4AA5-80D9-6D95B4C87DD7}" srcOrd="0" destOrd="0" presId="urn:microsoft.com/office/officeart/2009/3/layout/PhasedProcess"/>
    <dgm:cxn modelId="{A6EE1DF6-5338-43FB-9ADE-E993C76A0E38}" srcId="{E327E211-35DE-4DD9-BCAE-AC33188DA679}" destId="{4A71D360-C66D-4CBF-928D-2977D7ABED43}" srcOrd="2" destOrd="0" parTransId="{847A6C3C-35C3-47A0-BA33-8C631D58C6A7}" sibTransId="{24C572C7-F574-4279-A5E7-C2F4C769B867}"/>
    <dgm:cxn modelId="{A1FC1C83-6AE0-4720-B991-818CFD93D28C}" type="presParOf" srcId="{E927EA83-AA65-4F45-B980-6064EF96C03E}" destId="{1FAA1905-B01F-4A13-B5EF-33951B93D79C}" srcOrd="0" destOrd="0" presId="urn:microsoft.com/office/officeart/2009/3/layout/PhasedProcess"/>
    <dgm:cxn modelId="{5BE9998D-CC52-4241-AEEB-4F57DE8F9740}" type="presParOf" srcId="{E927EA83-AA65-4F45-B980-6064EF96C03E}" destId="{CE910ED4-3430-4E74-BA4E-5BBD3DF3018D}" srcOrd="1" destOrd="0" presId="urn:microsoft.com/office/officeart/2009/3/layout/PhasedProcess"/>
    <dgm:cxn modelId="{9CDF1A69-FB2A-419A-8EFE-518CC8FA771F}" type="presParOf" srcId="{CE910ED4-3430-4E74-BA4E-5BBD3DF3018D}" destId="{10019F8A-8647-48D0-8E59-62168709ED16}" srcOrd="0" destOrd="0" presId="urn:microsoft.com/office/officeart/2009/3/layout/PhasedProcess"/>
    <dgm:cxn modelId="{3781616C-3F7A-4307-A0D6-4D2AB6A10EA7}" type="presParOf" srcId="{CE910ED4-3430-4E74-BA4E-5BBD3DF3018D}" destId="{6CF47E25-E56E-4880-B9D3-F2A67C0DB6A7}" srcOrd="1" destOrd="0" presId="urn:microsoft.com/office/officeart/2009/3/layout/PhasedProcess"/>
    <dgm:cxn modelId="{795EE610-B159-4537-AE52-0672B34E0D24}" type="presParOf" srcId="{CE910ED4-3430-4E74-BA4E-5BBD3DF3018D}" destId="{F41E28E2-38D9-4ECC-AC55-98369D336747}" srcOrd="2" destOrd="0" presId="urn:microsoft.com/office/officeart/2009/3/layout/PhasedProcess"/>
    <dgm:cxn modelId="{250A39E8-41EF-41F1-A37F-0217F55B0FDE}" type="presParOf" srcId="{CE910ED4-3430-4E74-BA4E-5BBD3DF3018D}" destId="{7F8B3783-FDD6-4ED3-8057-C8111DAA009F}" srcOrd="3" destOrd="0" presId="urn:microsoft.com/office/officeart/2009/3/layout/PhasedProcess"/>
    <dgm:cxn modelId="{A4D68C0C-1CB8-424E-B280-E1F182953D81}" type="presParOf" srcId="{CE910ED4-3430-4E74-BA4E-5BBD3DF3018D}" destId="{A7A32385-CB74-4560-9A85-7B1835853471}" srcOrd="4" destOrd="0" presId="urn:microsoft.com/office/officeart/2009/3/layout/PhasedProcess"/>
    <dgm:cxn modelId="{3D86DB03-AF8F-4667-9B3A-7D60D3792391}" type="presParOf" srcId="{CE910ED4-3430-4E74-BA4E-5BBD3DF3018D}" destId="{A5E89060-4C61-46F8-ABC6-F395DB53BE49}" srcOrd="5" destOrd="0" presId="urn:microsoft.com/office/officeart/2009/3/layout/PhasedProcess"/>
    <dgm:cxn modelId="{DCB568DE-3BCA-4564-A474-F434D6CDE75B}" type="presParOf" srcId="{CE910ED4-3430-4E74-BA4E-5BBD3DF3018D}" destId="{2428A46B-5902-4F3F-A6FA-8E9106F7705D}" srcOrd="6" destOrd="0" presId="urn:microsoft.com/office/officeart/2009/3/layout/PhasedProcess"/>
    <dgm:cxn modelId="{3420588D-9995-45A8-8EBB-67770F8AEAAF}" type="presParOf" srcId="{CE910ED4-3430-4E74-BA4E-5BBD3DF3018D}" destId="{0599A0AB-5B67-4A9B-AD04-71DBBE175971}" srcOrd="7" destOrd="0" presId="urn:microsoft.com/office/officeart/2009/3/layout/PhasedProcess"/>
    <dgm:cxn modelId="{6F6C1570-5E9C-4F52-8B10-7674C5033E72}" type="presParOf" srcId="{CE910ED4-3430-4E74-BA4E-5BBD3DF3018D}" destId="{5B4F7F69-5D93-468C-8CC8-F38F92C44B21}" srcOrd="8" destOrd="0" presId="urn:microsoft.com/office/officeart/2009/3/layout/PhasedProcess"/>
    <dgm:cxn modelId="{5D111C63-53E9-4D59-9A3C-9755DE95AF73}" type="presParOf" srcId="{E927EA83-AA65-4F45-B980-6064EF96C03E}" destId="{49CD979C-9373-4AA5-80D9-6D95B4C87DD7}" srcOrd="2" destOrd="0" presId="urn:microsoft.com/office/officeart/2009/3/layout/Phased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B649BDAD-492E-4DC0-8CA0-F7A25935EFE5}" type="doc">
      <dgm:prSet loTypeId="urn:microsoft.com/office/officeart/2009/3/layout/StepUpProcess" loCatId="process" qsTypeId="urn:microsoft.com/office/officeart/2005/8/quickstyle/simple1" qsCatId="simple" csTypeId="urn:microsoft.com/office/officeart/2005/8/colors/colorful2" csCatId="colorful"/>
      <dgm:spPr/>
      <dgm:t>
        <a:bodyPr/>
        <a:lstStyle/>
        <a:p>
          <a:endParaRPr lang="en-US"/>
        </a:p>
      </dgm:t>
    </dgm:pt>
    <dgm:pt modelId="{66CE09D7-8AFC-4D00-B999-795975CC5926}">
      <dgm:prSet/>
      <dgm:spPr/>
      <dgm:t>
        <a:bodyPr/>
        <a:lstStyle/>
        <a:p>
          <a:r>
            <a:t>Kentsel planlama, şehirlerin ve diğer kentsel alanların tasarımını ve yönetimini içeren çok disiplinli bir alandır. Arazi kullanım planlaması, ulaşım planlaması, çevre planlaması ve ekonomik planlama gibi çeşitli yönleri kapsar. Özellikle arazi kullanım planlaması, etkili kentsel planlama için kritik öneme sahiptir. Konut, ticari, endüstriyel veya açık alan gibi farklı kullanımlar için arazi tahsis etmeyi ve arazi kullanım modellerinin sürdürülebilir kalkınmayı desteklemesini sağlamayı içerir. Örneğin, arazi kullanımı planlaması kentsel yayılmayı azaltmaya, doğal kaynakları korumaya ve sosyal, ekonomik ve çevresel refahı artıran yürünebilir, karma kullanımlı mahalleleri teşvik etmeye yardımcı olabilir.</a:t>
          </a:r>
        </a:p>
      </dgm:t>
    </dgm:pt>
    <dgm:pt modelId="{7443CDBC-B4C1-4EEA-92BD-D0CC5D0DB18E}" type="parTrans" cxnId="{86D66A13-DF4C-43DD-BC0A-8C042C64D8D6}">
      <dgm:prSet/>
      <dgm:spPr/>
      <dgm:t>
        <a:bodyPr/>
        <a:lstStyle/>
        <a:p>
          <a:endParaRPr lang="en-US"/>
        </a:p>
      </dgm:t>
    </dgm:pt>
    <dgm:pt modelId="{70E1262C-82F0-46C5-90DD-A0F3173E1CBE}" type="sibTrans" cxnId="{86D66A13-DF4C-43DD-BC0A-8C042C64D8D6}">
      <dgm:prSet/>
      <dgm:spPr/>
      <dgm:t>
        <a:bodyPr/>
        <a:lstStyle/>
        <a:p>
          <a:endParaRPr lang="en-US"/>
        </a:p>
      </dgm:t>
    </dgm:pt>
    <dgm:pt modelId="{5366CEC1-D5BB-4342-AB05-2CA53DD2BC22}">
      <dgm:prSet/>
      <dgm:spPr/>
      <dgm:t>
        <a:bodyPr/>
        <a:lstStyle/>
        <a:p>
          <a:r>
            <a:t>Ulaşım planlaması, kentsel alanlar içinde ve arasında insanların ve malların hareketliliğini ve erişilebilirliğini etkilediği için kentsel planlamanın önemli bir bileşenidir.Ulaşım planlaması, yollar, otoyollar, toplu taşıma, yaya ve bisiklet altyapısı ve park tesisleri dahil olmak üzere ulaşım sistemlerinin tasarlanmasını ve yönetilmesini içerir.Etkili ulaşım planlaması erişilebilirliği artırabilir, seyahat süresini azaltabilir ve toplu taşıma, bisiklet ve yürüyüş gibi sürdürülebilir ulaşım modlarını teşvik edebilir. Ayrıca trafik sıkışıklığını, hava kirliliğini ve sera gazı emisyonlarını azaltabilir, böylece şehirlerin genel yaşanabilirliğini artırabilir.</a:t>
          </a:r>
        </a:p>
      </dgm:t>
    </dgm:pt>
    <dgm:pt modelId="{BAE18AB0-E996-4A54-9371-B847D8C0F042}" type="parTrans" cxnId="{3B38DA75-E757-4A57-82A5-710EC6ACA99D}">
      <dgm:prSet/>
      <dgm:spPr/>
      <dgm:t>
        <a:bodyPr/>
        <a:lstStyle/>
        <a:p>
          <a:endParaRPr lang="en-US"/>
        </a:p>
      </dgm:t>
    </dgm:pt>
    <dgm:pt modelId="{2BB4D78B-FBFA-4B90-B443-BADD587594FA}" type="sibTrans" cxnId="{3B38DA75-E757-4A57-82A5-710EC6ACA99D}">
      <dgm:prSet/>
      <dgm:spPr/>
      <dgm:t>
        <a:bodyPr/>
        <a:lstStyle/>
        <a:p>
          <a:endParaRPr lang="en-US"/>
        </a:p>
      </dgm:t>
    </dgm:pt>
    <dgm:pt modelId="{6558114B-B31E-43FA-940F-51C26AAE79B6}" type="pres">
      <dgm:prSet presAssocID="{B649BDAD-492E-4DC0-8CA0-F7A25935EFE5}" presName="rootnode" presStyleCnt="0">
        <dgm:presLayoutVars>
          <dgm:chMax/>
          <dgm:chPref/>
          <dgm:dir/>
          <dgm:animLvl val="lvl"/>
        </dgm:presLayoutVars>
      </dgm:prSet>
      <dgm:spPr/>
    </dgm:pt>
    <dgm:pt modelId="{0282021C-D461-4306-85E6-5809CDDDBDA2}" type="pres">
      <dgm:prSet presAssocID="{66CE09D7-8AFC-4D00-B999-795975CC5926}" presName="composite" presStyleCnt="0"/>
      <dgm:spPr/>
    </dgm:pt>
    <dgm:pt modelId="{32EB0E5E-5BF2-42A0-B884-1F005FC6A9CA}" type="pres">
      <dgm:prSet presAssocID="{66CE09D7-8AFC-4D00-B999-795975CC5926}" presName="LShape" presStyleLbl="alignNode1" presStyleIdx="0" presStyleCnt="3" custLinFactNeighborX="-30" custLinFactNeighborY="-1554"/>
      <dgm:spPr/>
    </dgm:pt>
    <dgm:pt modelId="{CAE4C566-B458-41D0-8ECD-C7C8A596E98D}" type="pres">
      <dgm:prSet presAssocID="{66CE09D7-8AFC-4D00-B999-795975CC5926}" presName="ParentText" presStyleLbl="revTx" presStyleIdx="0" presStyleCnt="2">
        <dgm:presLayoutVars>
          <dgm:chMax val="0"/>
          <dgm:chPref val="0"/>
          <dgm:bulletEnabled val="1"/>
        </dgm:presLayoutVars>
      </dgm:prSet>
      <dgm:spPr/>
    </dgm:pt>
    <dgm:pt modelId="{8010D48C-D2D5-42DB-A0F8-CEDA41C871EC}" type="pres">
      <dgm:prSet presAssocID="{66CE09D7-8AFC-4D00-B999-795975CC5926}" presName="Triangle" presStyleLbl="alignNode1" presStyleIdx="1" presStyleCnt="3"/>
      <dgm:spPr/>
    </dgm:pt>
    <dgm:pt modelId="{A00B2D19-5688-4764-8A06-E875198341C6}" type="pres">
      <dgm:prSet presAssocID="{70E1262C-82F0-46C5-90DD-A0F3173E1CBE}" presName="sibTrans" presStyleCnt="0"/>
      <dgm:spPr/>
    </dgm:pt>
    <dgm:pt modelId="{DE5743E7-A4F1-4CD4-95BD-D00CACE897AF}" type="pres">
      <dgm:prSet presAssocID="{70E1262C-82F0-46C5-90DD-A0F3173E1CBE}" presName="space" presStyleCnt="0"/>
      <dgm:spPr/>
    </dgm:pt>
    <dgm:pt modelId="{87D95A86-6DF7-426E-8D45-878EF315A16D}" type="pres">
      <dgm:prSet presAssocID="{5366CEC1-D5BB-4342-AB05-2CA53DD2BC22}" presName="composite" presStyleCnt="0"/>
      <dgm:spPr/>
    </dgm:pt>
    <dgm:pt modelId="{4E58B35A-61CF-49BD-908A-C43B1ECC575A}" type="pres">
      <dgm:prSet presAssocID="{5366CEC1-D5BB-4342-AB05-2CA53DD2BC22}" presName="LShape" presStyleLbl="alignNode1" presStyleIdx="2" presStyleCnt="3"/>
      <dgm:spPr/>
    </dgm:pt>
    <dgm:pt modelId="{7E4A8D1B-1FC4-4299-BFBD-CB1026D85A28}" type="pres">
      <dgm:prSet presAssocID="{5366CEC1-D5BB-4342-AB05-2CA53DD2BC22}" presName="ParentText" presStyleLbl="revTx" presStyleIdx="1" presStyleCnt="2">
        <dgm:presLayoutVars>
          <dgm:chMax val="0"/>
          <dgm:chPref val="0"/>
          <dgm:bulletEnabled val="1"/>
        </dgm:presLayoutVars>
      </dgm:prSet>
      <dgm:spPr/>
    </dgm:pt>
  </dgm:ptLst>
  <dgm:cxnLst>
    <dgm:cxn modelId="{86D66A13-DF4C-43DD-BC0A-8C042C64D8D6}" srcId="{B649BDAD-492E-4DC0-8CA0-F7A25935EFE5}" destId="{66CE09D7-8AFC-4D00-B999-795975CC5926}" srcOrd="0" destOrd="0" parTransId="{7443CDBC-B4C1-4EEA-92BD-D0CC5D0DB18E}" sibTransId="{70E1262C-82F0-46C5-90DD-A0F3173E1CBE}"/>
    <dgm:cxn modelId="{B68AAD6B-19D7-4618-8A9C-062C3DC1278C}" type="presOf" srcId="{66CE09D7-8AFC-4D00-B999-795975CC5926}" destId="{CAE4C566-B458-41D0-8ECD-C7C8A596E98D}" srcOrd="0" destOrd="0" presId="urn:microsoft.com/office/officeart/2009/3/layout/StepUpProcess"/>
    <dgm:cxn modelId="{8D313473-14BA-4F6A-AA8E-82BD1B22B0F9}" type="presOf" srcId="{5366CEC1-D5BB-4342-AB05-2CA53DD2BC22}" destId="{7E4A8D1B-1FC4-4299-BFBD-CB1026D85A28}" srcOrd="0" destOrd="0" presId="urn:microsoft.com/office/officeart/2009/3/layout/StepUpProcess"/>
    <dgm:cxn modelId="{3B38DA75-E757-4A57-82A5-710EC6ACA99D}" srcId="{B649BDAD-492E-4DC0-8CA0-F7A25935EFE5}" destId="{5366CEC1-D5BB-4342-AB05-2CA53DD2BC22}" srcOrd="1" destOrd="0" parTransId="{BAE18AB0-E996-4A54-9371-B847D8C0F042}" sibTransId="{2BB4D78B-FBFA-4B90-B443-BADD587594FA}"/>
    <dgm:cxn modelId="{8A761ADE-D13F-4635-B0AB-D1723DF29C11}" type="presOf" srcId="{B649BDAD-492E-4DC0-8CA0-F7A25935EFE5}" destId="{6558114B-B31E-43FA-940F-51C26AAE79B6}" srcOrd="0" destOrd="0" presId="urn:microsoft.com/office/officeart/2009/3/layout/StepUpProcess"/>
    <dgm:cxn modelId="{E55F7F09-1243-4691-9213-73FEC91B76B3}" type="presParOf" srcId="{6558114B-B31E-43FA-940F-51C26AAE79B6}" destId="{0282021C-D461-4306-85E6-5809CDDDBDA2}" srcOrd="0" destOrd="0" presId="urn:microsoft.com/office/officeart/2009/3/layout/StepUpProcess"/>
    <dgm:cxn modelId="{58E34D14-20F1-47A8-AA28-0DA0EA8841FE}" type="presParOf" srcId="{0282021C-D461-4306-85E6-5809CDDDBDA2}" destId="{32EB0E5E-5BF2-42A0-B884-1F005FC6A9CA}" srcOrd="0" destOrd="0" presId="urn:microsoft.com/office/officeart/2009/3/layout/StepUpProcess"/>
    <dgm:cxn modelId="{0D1406FE-0AC5-4850-90AE-8D225EB5423C}" type="presParOf" srcId="{0282021C-D461-4306-85E6-5809CDDDBDA2}" destId="{CAE4C566-B458-41D0-8ECD-C7C8A596E98D}" srcOrd="1" destOrd="0" presId="urn:microsoft.com/office/officeart/2009/3/layout/StepUpProcess"/>
    <dgm:cxn modelId="{1C119185-3386-48C4-B39B-354DAE680E34}" type="presParOf" srcId="{0282021C-D461-4306-85E6-5809CDDDBDA2}" destId="{8010D48C-D2D5-42DB-A0F8-CEDA41C871EC}" srcOrd="2" destOrd="0" presId="urn:microsoft.com/office/officeart/2009/3/layout/StepUpProcess"/>
    <dgm:cxn modelId="{F6820CCD-BCCC-4453-8ACA-2FF8732F24F6}" type="presParOf" srcId="{6558114B-B31E-43FA-940F-51C26AAE79B6}" destId="{A00B2D19-5688-4764-8A06-E875198341C6}" srcOrd="1" destOrd="0" presId="urn:microsoft.com/office/officeart/2009/3/layout/StepUpProcess"/>
    <dgm:cxn modelId="{D24229C8-7ED5-45EB-BC0D-12B28C14ED29}" type="presParOf" srcId="{A00B2D19-5688-4764-8A06-E875198341C6}" destId="{DE5743E7-A4F1-4CD4-95BD-D00CACE897AF}" srcOrd="0" destOrd="0" presId="urn:microsoft.com/office/officeart/2009/3/layout/StepUpProcess"/>
    <dgm:cxn modelId="{D3CB85CD-7DF4-4396-905D-7C7E61615514}" type="presParOf" srcId="{6558114B-B31E-43FA-940F-51C26AAE79B6}" destId="{87D95A86-6DF7-426E-8D45-878EF315A16D}" srcOrd="2" destOrd="0" presId="urn:microsoft.com/office/officeart/2009/3/layout/StepUpProcess"/>
    <dgm:cxn modelId="{A39FB309-615A-45DA-A060-6137ABBA1555}" type="presParOf" srcId="{87D95A86-6DF7-426E-8D45-878EF315A16D}" destId="{4E58B35A-61CF-49BD-908A-C43B1ECC575A}" srcOrd="0" destOrd="0" presId="urn:microsoft.com/office/officeart/2009/3/layout/StepUpProcess"/>
    <dgm:cxn modelId="{A87E5864-810C-41D2-8609-D2106CA38417}" type="presParOf" srcId="{87D95A86-6DF7-426E-8D45-878EF315A16D}" destId="{7E4A8D1B-1FC4-4299-BFBD-CB1026D85A28}" srcOrd="1" destOrd="0" presId="urn:microsoft.com/office/officeart/2009/3/layout/StepUpProces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6543197D-6A41-43E1-80EB-04C329A19E10}" type="doc">
      <dgm:prSet loTypeId="urn:microsoft.com/office/officeart/2005/8/layout/process3" loCatId="process" qsTypeId="urn:microsoft.com/office/officeart/2005/8/quickstyle/simple3" qsCatId="simple" csTypeId="urn:microsoft.com/office/officeart/2005/8/colors/colorful2" csCatId="colorful"/>
      <dgm:spPr/>
      <dgm:t>
        <a:bodyPr/>
        <a:lstStyle/>
        <a:p>
          <a:endParaRPr lang="en-US"/>
        </a:p>
      </dgm:t>
    </dgm:pt>
    <dgm:pt modelId="{3D1610DA-C85A-475D-B1BD-17C82056D7BB}">
      <dgm:prSet/>
      <dgm:spPr/>
      <dgm:t>
        <a:bodyPr/>
        <a:lstStyle/>
        <a:p>
          <a:r>
            <a:t>Ankara, 5 milyondan fazla nüfusu ile Türkiye'nin hızla büyüyen şehirlerindendir ve bu nedenle kentsel bir sorunla karşı karşıyadır. Hızlı kentleşme ve ekonomik büyüme ile şehir trafik sıkışıklığı, hava kirliliği ve kentsel yayılma gibi konuların yönetilmesi konusunda önemli zorluklarla karşı karşıyadır. Bu zorlukları ele almak için etkili kentsel planlama ve arazi kullanımı ulaşım planlamasında çok önemlidir. İşte bazı nedenler:</a:t>
          </a:r>
        </a:p>
      </dgm:t>
    </dgm:pt>
    <dgm:pt modelId="{6FB9145D-F74E-4220-901F-32103A0F31CE}" type="parTrans" cxnId="{392B98C8-F958-4C05-AE66-DB216B58FEDE}">
      <dgm:prSet/>
      <dgm:spPr/>
      <dgm:t>
        <a:bodyPr/>
        <a:lstStyle/>
        <a:p>
          <a:endParaRPr lang="en-US"/>
        </a:p>
      </dgm:t>
    </dgm:pt>
    <dgm:pt modelId="{C2D8F2E6-6562-49C1-BC8F-193E6A253FF5}" type="sibTrans" cxnId="{392B98C8-F958-4C05-AE66-DB216B58FEDE}">
      <dgm:prSet/>
      <dgm:spPr/>
      <dgm:t>
        <a:bodyPr/>
        <a:lstStyle/>
        <a:p>
          <a:endParaRPr lang="en-US"/>
        </a:p>
      </dgm:t>
    </dgm:pt>
    <dgm:pt modelId="{818688D5-9BEC-4AEE-B28A-4A57AA45D8F1}">
      <dgm:prSet/>
      <dgm:spPr/>
      <dgm:t>
        <a:bodyPr/>
        <a:lstStyle/>
        <a:p>
          <a:r>
            <a:t>Verimli ulaşım planlaması, Ankara'nın mahalleleri içinde ve mahalleler arasında insanların ve malların erişilebilirliğini ve hareketliliğini artırabilir, seyahat süresini azaltabilir ve verimliliği artırabilir.</a:t>
          </a:r>
        </a:p>
      </dgm:t>
    </dgm:pt>
    <dgm:pt modelId="{943D677B-EF67-4D57-89DE-30787D05E606}" type="parTrans" cxnId="{8E6ACDE9-6BC0-4872-969E-43331BFCDA05}">
      <dgm:prSet/>
      <dgm:spPr/>
      <dgm:t>
        <a:bodyPr/>
        <a:lstStyle/>
        <a:p>
          <a:endParaRPr lang="en-US"/>
        </a:p>
      </dgm:t>
    </dgm:pt>
    <dgm:pt modelId="{7AF202B3-F7FC-4682-AC28-5417F1619C6D}" type="sibTrans" cxnId="{8E6ACDE9-6BC0-4872-969E-43331BFCDA05}">
      <dgm:prSet/>
      <dgm:spPr/>
      <dgm:t>
        <a:bodyPr/>
        <a:lstStyle/>
        <a:p>
          <a:endParaRPr lang="en-US"/>
        </a:p>
      </dgm:t>
    </dgm:pt>
    <dgm:pt modelId="{ECF2141B-DF38-4399-A7AB-41D19E82C5BE}">
      <dgm:prSet/>
      <dgm:spPr/>
      <dgm:t>
        <a:bodyPr/>
        <a:lstStyle/>
        <a:p>
          <a:r>
            <a:t>Arazi kullanımı planlaması, toplu taşıma, bisiklete binme ve yürüyüş gibi sürdürülebilir ulaşım modlarını destekleyen kompakt, yürünebilir mahalleler oluşturarak şehrin kentsel yapısını şekillendirmeye yardımcı olabilir. Bu, otomobil bağımlılığını, hava kirliliğini ve sera gazı emisyonlarını azaltabilir; daha sağlıklı ve daha yaşanabilir bir şehri teşvik edebilir.</a:t>
          </a:r>
        </a:p>
      </dgm:t>
    </dgm:pt>
    <dgm:pt modelId="{DC70D785-DBDA-4D49-B93F-3D37800ED632}" type="parTrans" cxnId="{50AB9EF8-FBAB-4A4E-B946-A64EAFD93752}">
      <dgm:prSet/>
      <dgm:spPr/>
      <dgm:t>
        <a:bodyPr/>
        <a:lstStyle/>
        <a:p>
          <a:endParaRPr lang="en-US"/>
        </a:p>
      </dgm:t>
    </dgm:pt>
    <dgm:pt modelId="{60472866-0855-4B59-B4E8-DE457B0F7BB2}" type="sibTrans" cxnId="{50AB9EF8-FBAB-4A4E-B946-A64EAFD93752}">
      <dgm:prSet/>
      <dgm:spPr/>
      <dgm:t>
        <a:bodyPr/>
        <a:lstStyle/>
        <a:p>
          <a:endParaRPr lang="en-US"/>
        </a:p>
      </dgm:t>
    </dgm:pt>
    <dgm:pt modelId="{1D2B14C4-773F-4879-8307-5B493172D454}">
      <dgm:prSet/>
      <dgm:spPr/>
      <dgm:t>
        <a:bodyPr/>
        <a:lstStyle/>
        <a:p>
          <a:r>
            <a:t>Arazi kullanımı ve ulaşım planlamasının entegre edilmesi, sosyal, ekonomik ve çevresel sürdürülebilirlik açısından daha iyi sonuçlara yol açabilir. Örneğin, konut, iş yeri ve perakende alanlarını bir araya getiren karma kullanımlı gelişmeler, iş yerlerine, hizmetlere ve imkanlara daha kolay erişim sağlar. Bu, uzun yolculuk gereksinimlerini azaltır ve yerel ekonomiyi canlandıran, çeşitli ve canlı mahalleler oluşturur.
</a:t>
          </a:r>
        </a:p>
      </dgm:t>
    </dgm:pt>
    <dgm:pt modelId="{08966D8A-2C0B-4605-8141-CC2A0A88FFED}" type="parTrans" cxnId="{BF9ECBEE-4468-4FD0-A43D-0637762CC878}">
      <dgm:prSet/>
      <dgm:spPr/>
      <dgm:t>
        <a:bodyPr/>
        <a:lstStyle/>
        <a:p>
          <a:endParaRPr lang="en-US"/>
        </a:p>
      </dgm:t>
    </dgm:pt>
    <dgm:pt modelId="{FA6E324F-7961-4C61-AFC2-DB8DFA0B7998}" type="sibTrans" cxnId="{BF9ECBEE-4468-4FD0-A43D-0637762CC878}">
      <dgm:prSet/>
      <dgm:spPr/>
      <dgm:t>
        <a:bodyPr/>
        <a:lstStyle/>
        <a:p>
          <a:endParaRPr lang="en-US"/>
        </a:p>
      </dgm:t>
    </dgm:pt>
    <dgm:pt modelId="{F7F44522-03FC-48D1-B9D7-11AB891230F2}" type="pres">
      <dgm:prSet presAssocID="{6543197D-6A41-43E1-80EB-04C329A19E10}" presName="linearFlow" presStyleCnt="0">
        <dgm:presLayoutVars>
          <dgm:dir/>
          <dgm:animLvl val="lvl"/>
          <dgm:resizeHandles val="exact"/>
        </dgm:presLayoutVars>
      </dgm:prSet>
      <dgm:spPr/>
    </dgm:pt>
    <dgm:pt modelId="{A606719E-09AE-4059-8595-313FBC819EB5}" type="pres">
      <dgm:prSet presAssocID="{3D1610DA-C85A-475D-B1BD-17C82056D7BB}" presName="composite" presStyleCnt="0"/>
      <dgm:spPr/>
    </dgm:pt>
    <dgm:pt modelId="{6F9EC6C4-02DB-4264-A39A-58E3F31C6925}" type="pres">
      <dgm:prSet presAssocID="{3D1610DA-C85A-475D-B1BD-17C82056D7BB}" presName="parTx" presStyleLbl="node1" presStyleIdx="0" presStyleCnt="1">
        <dgm:presLayoutVars>
          <dgm:chMax val="0"/>
          <dgm:chPref val="0"/>
          <dgm:bulletEnabled val="1"/>
        </dgm:presLayoutVars>
      </dgm:prSet>
      <dgm:spPr/>
    </dgm:pt>
    <dgm:pt modelId="{849E9039-24C2-4FF2-96AB-BEC25DBFE9BC}" type="pres">
      <dgm:prSet presAssocID="{3D1610DA-C85A-475D-B1BD-17C82056D7BB}" presName="parSh" presStyleLbl="node1" presStyleIdx="0" presStyleCnt="1"/>
      <dgm:spPr/>
    </dgm:pt>
    <dgm:pt modelId="{2F5F533B-E505-45AC-A77A-A2C240343529}" type="pres">
      <dgm:prSet presAssocID="{3D1610DA-C85A-475D-B1BD-17C82056D7BB}" presName="desTx" presStyleLbl="fgAcc1" presStyleIdx="0" presStyleCnt="1">
        <dgm:presLayoutVars>
          <dgm:bulletEnabled val="1"/>
        </dgm:presLayoutVars>
      </dgm:prSet>
      <dgm:spPr/>
    </dgm:pt>
  </dgm:ptLst>
  <dgm:cxnLst>
    <dgm:cxn modelId="{0B494F12-6FA9-49F9-B24A-1F168D6095CE}" type="presOf" srcId="{818688D5-9BEC-4AEE-B28A-4A57AA45D8F1}" destId="{2F5F533B-E505-45AC-A77A-A2C240343529}" srcOrd="0" destOrd="0" presId="urn:microsoft.com/office/officeart/2005/8/layout/process3"/>
    <dgm:cxn modelId="{9377EA18-D401-4C30-B934-7420730D5CF5}" type="presOf" srcId="{ECF2141B-DF38-4399-A7AB-41D19E82C5BE}" destId="{2F5F533B-E505-45AC-A77A-A2C240343529}" srcOrd="0" destOrd="1" presId="urn:microsoft.com/office/officeart/2005/8/layout/process3"/>
    <dgm:cxn modelId="{1323D31A-12A9-475D-A8EE-85C771A58C6D}" type="presOf" srcId="{3D1610DA-C85A-475D-B1BD-17C82056D7BB}" destId="{849E9039-24C2-4FF2-96AB-BEC25DBFE9BC}" srcOrd="1" destOrd="0" presId="urn:microsoft.com/office/officeart/2005/8/layout/process3"/>
    <dgm:cxn modelId="{F2ED792E-5109-45AA-B609-125E8C0B2269}" type="presOf" srcId="{6543197D-6A41-43E1-80EB-04C329A19E10}" destId="{F7F44522-03FC-48D1-B9D7-11AB891230F2}" srcOrd="0" destOrd="0" presId="urn:microsoft.com/office/officeart/2005/8/layout/process3"/>
    <dgm:cxn modelId="{8B715C6D-E3C2-44B5-9D2B-0ECF0477A999}" type="presOf" srcId="{1D2B14C4-773F-4879-8307-5B493172D454}" destId="{2F5F533B-E505-45AC-A77A-A2C240343529}" srcOrd="0" destOrd="2" presId="urn:microsoft.com/office/officeart/2005/8/layout/process3"/>
    <dgm:cxn modelId="{99DA8BB6-077A-4D2C-AEA6-7CCEFCEFCE1D}" type="presOf" srcId="{3D1610DA-C85A-475D-B1BD-17C82056D7BB}" destId="{6F9EC6C4-02DB-4264-A39A-58E3F31C6925}" srcOrd="0" destOrd="0" presId="urn:microsoft.com/office/officeart/2005/8/layout/process3"/>
    <dgm:cxn modelId="{392B98C8-F958-4C05-AE66-DB216B58FEDE}" srcId="{6543197D-6A41-43E1-80EB-04C329A19E10}" destId="{3D1610DA-C85A-475D-B1BD-17C82056D7BB}" srcOrd="0" destOrd="0" parTransId="{6FB9145D-F74E-4220-901F-32103A0F31CE}" sibTransId="{C2D8F2E6-6562-49C1-BC8F-193E6A253FF5}"/>
    <dgm:cxn modelId="{8E6ACDE9-6BC0-4872-969E-43331BFCDA05}" srcId="{3D1610DA-C85A-475D-B1BD-17C82056D7BB}" destId="{818688D5-9BEC-4AEE-B28A-4A57AA45D8F1}" srcOrd="0" destOrd="0" parTransId="{943D677B-EF67-4D57-89DE-30787D05E606}" sibTransId="{7AF202B3-F7FC-4682-AC28-5417F1619C6D}"/>
    <dgm:cxn modelId="{BF9ECBEE-4468-4FD0-A43D-0637762CC878}" srcId="{3D1610DA-C85A-475D-B1BD-17C82056D7BB}" destId="{1D2B14C4-773F-4879-8307-5B493172D454}" srcOrd="2" destOrd="0" parTransId="{08966D8A-2C0B-4605-8141-CC2A0A88FFED}" sibTransId="{FA6E324F-7961-4C61-AFC2-DB8DFA0B7998}"/>
    <dgm:cxn modelId="{50AB9EF8-FBAB-4A4E-B946-A64EAFD93752}" srcId="{3D1610DA-C85A-475D-B1BD-17C82056D7BB}" destId="{ECF2141B-DF38-4399-A7AB-41D19E82C5BE}" srcOrd="1" destOrd="0" parTransId="{DC70D785-DBDA-4D49-B93F-3D37800ED632}" sibTransId="{60472866-0855-4B59-B4E8-DE457B0F7BB2}"/>
    <dgm:cxn modelId="{44178F05-46B8-4861-878E-76D04D0A0105}" type="presParOf" srcId="{F7F44522-03FC-48D1-B9D7-11AB891230F2}" destId="{A606719E-09AE-4059-8595-313FBC819EB5}" srcOrd="0" destOrd="0" presId="urn:microsoft.com/office/officeart/2005/8/layout/process3"/>
    <dgm:cxn modelId="{5F16FFDB-8559-4332-887E-F35EA608C2C8}" type="presParOf" srcId="{A606719E-09AE-4059-8595-313FBC819EB5}" destId="{6F9EC6C4-02DB-4264-A39A-58E3F31C6925}" srcOrd="0" destOrd="0" presId="urn:microsoft.com/office/officeart/2005/8/layout/process3"/>
    <dgm:cxn modelId="{312C69C5-BF49-498B-A957-7045C48CBFFC}" type="presParOf" srcId="{A606719E-09AE-4059-8595-313FBC819EB5}" destId="{849E9039-24C2-4FF2-96AB-BEC25DBFE9BC}" srcOrd="1" destOrd="0" presId="urn:microsoft.com/office/officeart/2005/8/layout/process3"/>
    <dgm:cxn modelId="{D334E5C6-3579-4D8E-BF68-5E08166E987F}" type="presParOf" srcId="{A606719E-09AE-4059-8595-313FBC819EB5}" destId="{2F5F533B-E505-45AC-A77A-A2C240343529}" srcOrd="2" destOrd="0" presId="urn:microsoft.com/office/officeart/2005/8/layout/process3"/>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8F8A2700-600E-46E4-977D-E8EEA9A2CEE7}" type="doc">
      <dgm:prSet loTypeId="urn:microsoft.com/office/officeart/2008/layout/LinedList" loCatId="list" qsTypeId="urn:microsoft.com/office/officeart/2005/8/quickstyle/simple5" qsCatId="simple" csTypeId="urn:microsoft.com/office/officeart/2005/8/colors/colorful2" csCatId="colorful" phldr="1"/>
      <dgm:spPr/>
      <dgm:t>
        <a:bodyPr/>
        <a:lstStyle/>
        <a:p>
          <a:endParaRPr lang="en-US"/>
        </a:p>
      </dgm:t>
    </dgm:pt>
    <dgm:pt modelId="{F65DDD88-6971-437D-BD4A-1B67CBEE03EC}">
      <dgm:prSet/>
      <dgm:spPr/>
      <dgm:t>
        <a:bodyPr anchor="ctr"/>
        <a:lstStyle/>
        <a:p>
          <a:pPr algn="ctr"/>
          <a:r>
            <a:t>SKUp Ankara, sürdürülebilir gelişmeyi desteklemek için ulaşım planlamasında kentsel planlama ve arazi kullanımına dayalı çeşitli uygulamaları benimseyebilir. İşte bazı örnekler:</a:t>
          </a:r>
        </a:p>
      </dgm:t>
    </dgm:pt>
    <dgm:pt modelId="{69DA21F3-52D5-4078-8D89-01F4B19311E3}" type="parTrans" cxnId="{EE2EDDC1-6D47-4A84-AAE7-ADC558188843}">
      <dgm:prSet/>
      <dgm:spPr/>
      <dgm:t>
        <a:bodyPr/>
        <a:lstStyle/>
        <a:p>
          <a:endParaRPr lang="en-US"/>
        </a:p>
      </dgm:t>
    </dgm:pt>
    <dgm:pt modelId="{B1424E3D-2A72-4209-9006-E228B502C35B}" type="sibTrans" cxnId="{EE2EDDC1-6D47-4A84-AAE7-ADC558188843}">
      <dgm:prSet/>
      <dgm:spPr/>
      <dgm:t>
        <a:bodyPr/>
        <a:lstStyle/>
        <a:p>
          <a:endParaRPr lang="en-US"/>
        </a:p>
      </dgm:t>
    </dgm:pt>
    <dgm:pt modelId="{5FF1EF98-CFE9-42F2-A39C-5D42D57A2CE9}">
      <dgm:prSet/>
      <dgm:spPr/>
      <dgm:t>
        <a:bodyPr/>
        <a:lstStyle/>
        <a:p>
          <a:pPr algn="just"/>
          <a:r>
            <a:t>Kapsamlı bir toplu taşıma sistemi uygulanması: SKUp Ankara, metrobüs, hafif raylı sistemler ve metro sistemlerinin entegrasyonuna yatırım yapabilir. Bu, sakinler için hızlı, güvenilir ve uygun fiyatlı ulaşım seçenekleri sunabilir, trafik sıkışıklığını azaltabilir ve sürdürülebilir hareketliliği teşvik edebilir.</a:t>
          </a:r>
        </a:p>
      </dgm:t>
    </dgm:pt>
    <dgm:pt modelId="{9C082D2D-CC1C-4182-9A47-8653B5FC6155}" type="parTrans" cxnId="{6F748DF5-BFE7-41B0-AF72-4E46553E728A}">
      <dgm:prSet/>
      <dgm:spPr/>
      <dgm:t>
        <a:bodyPr/>
        <a:lstStyle/>
        <a:p>
          <a:endParaRPr lang="en-US"/>
        </a:p>
      </dgm:t>
    </dgm:pt>
    <dgm:pt modelId="{C67513B8-4A0D-4E63-BA11-604FF8BE4A78}" type="sibTrans" cxnId="{6F748DF5-BFE7-41B0-AF72-4E46553E728A}">
      <dgm:prSet/>
      <dgm:spPr/>
      <dgm:t>
        <a:bodyPr/>
        <a:lstStyle/>
        <a:p>
          <a:endParaRPr lang="en-US"/>
        </a:p>
      </dgm:t>
    </dgm:pt>
    <dgm:pt modelId="{778A9E28-A329-4017-9B83-655C15C2C7A2}">
      <dgm:prSet/>
      <dgm:spPr/>
      <dgm:t>
        <a:bodyPr/>
        <a:lstStyle/>
        <a:p>
          <a:pPr algn="just"/>
          <a:r>
            <a:rPr dirty="0"/>
            <a:t>Karma </a:t>
          </a:r>
          <a:r>
            <a:rPr dirty="0" err="1"/>
            <a:t>kullanımlı</a:t>
          </a:r>
          <a:r>
            <a:rPr dirty="0"/>
            <a:t> </a:t>
          </a:r>
          <a:r>
            <a:rPr dirty="0" err="1"/>
            <a:t>geliştermenin</a:t>
          </a:r>
          <a:r>
            <a:rPr dirty="0"/>
            <a:t> </a:t>
          </a:r>
          <a:r>
            <a:rPr dirty="0" err="1"/>
            <a:t>desteklenmesi</a:t>
          </a:r>
          <a:r>
            <a:rPr dirty="0"/>
            <a:t>: SKUp Ankara, </a:t>
          </a:r>
          <a:r>
            <a:rPr dirty="0" err="1"/>
            <a:t>konut</a:t>
          </a:r>
          <a:r>
            <a:rPr dirty="0"/>
            <a:t>, </a:t>
          </a:r>
          <a:r>
            <a:rPr dirty="0" err="1"/>
            <a:t>ticari</a:t>
          </a:r>
          <a:r>
            <a:rPr dirty="0"/>
            <a:t> </a:t>
          </a:r>
          <a:r>
            <a:rPr dirty="0" err="1"/>
            <a:t>ve</a:t>
          </a:r>
          <a:r>
            <a:rPr dirty="0"/>
            <a:t> </a:t>
          </a:r>
          <a:r>
            <a:rPr dirty="0" err="1"/>
            <a:t>perakende</a:t>
          </a:r>
          <a:r>
            <a:rPr dirty="0"/>
            <a:t> </a:t>
          </a:r>
          <a:r>
            <a:rPr dirty="0" err="1"/>
            <a:t>alanları</a:t>
          </a:r>
          <a:r>
            <a:rPr dirty="0"/>
            <a:t> </a:t>
          </a:r>
          <a:r>
            <a:rPr dirty="0" err="1"/>
            <a:t>birleştiren</a:t>
          </a:r>
          <a:r>
            <a:rPr dirty="0"/>
            <a:t>, </a:t>
          </a:r>
          <a:r>
            <a:rPr dirty="0" err="1"/>
            <a:t>yürünebilir</a:t>
          </a:r>
          <a:r>
            <a:rPr dirty="0"/>
            <a:t> </a:t>
          </a:r>
          <a:r>
            <a:rPr dirty="0" err="1"/>
            <a:t>ve</a:t>
          </a:r>
          <a:r>
            <a:rPr dirty="0"/>
            <a:t> </a:t>
          </a:r>
          <a:r>
            <a:rPr dirty="0" err="1"/>
            <a:t>kompakt</a:t>
          </a:r>
          <a:r>
            <a:rPr dirty="0"/>
            <a:t> </a:t>
          </a:r>
          <a:r>
            <a:rPr dirty="0" err="1"/>
            <a:t>mahallelere</a:t>
          </a:r>
          <a:r>
            <a:rPr dirty="0"/>
            <a:t> </a:t>
          </a:r>
          <a:r>
            <a:rPr dirty="0" err="1"/>
            <a:t>yönelik</a:t>
          </a:r>
          <a:r>
            <a:rPr dirty="0"/>
            <a:t> karma </a:t>
          </a:r>
          <a:r>
            <a:rPr dirty="0" err="1"/>
            <a:t>kullanımlı</a:t>
          </a:r>
          <a:r>
            <a:rPr dirty="0"/>
            <a:t> </a:t>
          </a:r>
          <a:r>
            <a:rPr dirty="0" err="1"/>
            <a:t>geliştirmeleri</a:t>
          </a:r>
          <a:r>
            <a:rPr dirty="0"/>
            <a:t> </a:t>
          </a:r>
          <a:r>
            <a:rPr dirty="0" err="1"/>
            <a:t>destekleyebilir</a:t>
          </a:r>
          <a:r>
            <a:rPr dirty="0"/>
            <a:t>. Bu </a:t>
          </a:r>
          <a:r>
            <a:rPr dirty="0" err="1"/>
            <a:t>yaklaşım</a:t>
          </a:r>
          <a:r>
            <a:rPr dirty="0"/>
            <a:t>, </a:t>
          </a:r>
          <a:r>
            <a:rPr dirty="0" err="1"/>
            <a:t>otomobil</a:t>
          </a:r>
          <a:r>
            <a:rPr dirty="0"/>
            <a:t> </a:t>
          </a:r>
          <a:r>
            <a:rPr dirty="0" err="1"/>
            <a:t>bağımlılığını</a:t>
          </a:r>
          <a:r>
            <a:rPr dirty="0"/>
            <a:t> </a:t>
          </a:r>
          <a:r>
            <a:rPr dirty="0" err="1"/>
            <a:t>hafifletebilir</a:t>
          </a:r>
          <a:r>
            <a:rPr dirty="0"/>
            <a:t>, </a:t>
          </a:r>
          <a:r>
            <a:rPr dirty="0" err="1"/>
            <a:t>aktif</a:t>
          </a:r>
          <a:r>
            <a:rPr dirty="0"/>
            <a:t> </a:t>
          </a:r>
          <a:r>
            <a:rPr dirty="0" err="1"/>
            <a:t>ulaşım</a:t>
          </a:r>
          <a:r>
            <a:rPr dirty="0"/>
            <a:t> </a:t>
          </a:r>
          <a:r>
            <a:rPr dirty="0" err="1"/>
            <a:t>biçimlerini</a:t>
          </a:r>
          <a:r>
            <a:rPr dirty="0"/>
            <a:t> </a:t>
          </a:r>
          <a:r>
            <a:rPr dirty="0" err="1"/>
            <a:t>ön</a:t>
          </a:r>
          <a:r>
            <a:rPr dirty="0"/>
            <a:t> plana </a:t>
          </a:r>
          <a:r>
            <a:rPr dirty="0" err="1"/>
            <a:t>çıkarır</a:t>
          </a:r>
          <a:r>
            <a:rPr dirty="0"/>
            <a:t> </a:t>
          </a:r>
          <a:r>
            <a:rPr dirty="0" err="1"/>
            <a:t>ve</a:t>
          </a:r>
          <a:r>
            <a:rPr dirty="0"/>
            <a:t> </a:t>
          </a:r>
          <a:r>
            <a:rPr dirty="0" err="1"/>
            <a:t>yerel</a:t>
          </a:r>
          <a:r>
            <a:rPr dirty="0"/>
            <a:t> </a:t>
          </a:r>
          <a:r>
            <a:rPr dirty="0" err="1"/>
            <a:t>ekonomiyi</a:t>
          </a:r>
          <a:r>
            <a:rPr dirty="0"/>
            <a:t> </a:t>
          </a:r>
          <a:r>
            <a:rPr dirty="0" err="1"/>
            <a:t>güçlendiren</a:t>
          </a:r>
          <a:r>
            <a:rPr dirty="0"/>
            <a:t> </a:t>
          </a:r>
          <a:r>
            <a:rPr dirty="0" err="1"/>
            <a:t>canlı</a:t>
          </a:r>
          <a:r>
            <a:rPr dirty="0"/>
            <a:t> </a:t>
          </a:r>
          <a:r>
            <a:rPr dirty="0" err="1"/>
            <a:t>ve</a:t>
          </a:r>
          <a:r>
            <a:rPr dirty="0"/>
            <a:t> </a:t>
          </a:r>
          <a:r>
            <a:rPr dirty="0" err="1"/>
            <a:t>çok</a:t>
          </a:r>
          <a:r>
            <a:rPr dirty="0"/>
            <a:t> </a:t>
          </a:r>
          <a:r>
            <a:rPr dirty="0" err="1"/>
            <a:t>çeşitli</a:t>
          </a:r>
          <a:r>
            <a:rPr dirty="0"/>
            <a:t> </a:t>
          </a:r>
          <a:r>
            <a:rPr dirty="0" err="1"/>
            <a:t>bir</a:t>
          </a:r>
          <a:r>
            <a:rPr dirty="0"/>
            <a:t> </a:t>
          </a:r>
          <a:r>
            <a:rPr dirty="0" err="1"/>
            <a:t>toplum</a:t>
          </a:r>
          <a:r>
            <a:rPr dirty="0"/>
            <a:t> </a:t>
          </a:r>
          <a:r>
            <a:rPr dirty="0" err="1"/>
            <a:t>oluşturabilir</a:t>
          </a:r>
          <a:r>
            <a:rPr dirty="0"/>
            <a:t>.</a:t>
          </a:r>
        </a:p>
      </dgm:t>
    </dgm:pt>
    <dgm:pt modelId="{13E05A70-346F-4684-8141-D801CC7A8B55}" type="parTrans" cxnId="{755F076B-FB26-498C-8FC8-725F82DB87D8}">
      <dgm:prSet/>
      <dgm:spPr/>
      <dgm:t>
        <a:bodyPr/>
        <a:lstStyle/>
        <a:p>
          <a:endParaRPr lang="en-US"/>
        </a:p>
      </dgm:t>
    </dgm:pt>
    <dgm:pt modelId="{D3A50AF3-806E-4564-B152-64BF77645864}" type="sibTrans" cxnId="{755F076B-FB26-498C-8FC8-725F82DB87D8}">
      <dgm:prSet/>
      <dgm:spPr/>
      <dgm:t>
        <a:bodyPr/>
        <a:lstStyle/>
        <a:p>
          <a:endParaRPr lang="en-US"/>
        </a:p>
      </dgm:t>
    </dgm:pt>
    <dgm:pt modelId="{3DDD2126-D41D-449C-8992-3DDA8197EAAB}">
      <dgm:prSet/>
      <dgm:spPr/>
      <dgm:t>
        <a:bodyPr/>
        <a:lstStyle/>
        <a:p>
          <a:pPr algn="just"/>
          <a:r>
            <a:rPr dirty="0"/>
            <a:t>Yaya </a:t>
          </a:r>
          <a:r>
            <a:rPr dirty="0" err="1"/>
            <a:t>ve</a:t>
          </a:r>
          <a:r>
            <a:rPr dirty="0"/>
            <a:t> </a:t>
          </a:r>
          <a:r>
            <a:rPr dirty="0" err="1"/>
            <a:t>bisiklet</a:t>
          </a:r>
          <a:r>
            <a:rPr dirty="0"/>
            <a:t> </a:t>
          </a:r>
          <a:r>
            <a:rPr dirty="0" err="1"/>
            <a:t>altyapısının</a:t>
          </a:r>
          <a:r>
            <a:rPr dirty="0"/>
            <a:t> </a:t>
          </a:r>
          <a:r>
            <a:rPr dirty="0" err="1"/>
            <a:t>tasarımı</a:t>
          </a:r>
          <a:r>
            <a:rPr dirty="0"/>
            <a:t>: SKUp Ankara </a:t>
          </a:r>
          <a:r>
            <a:rPr dirty="0" err="1"/>
            <a:t>Kaldırımlar</a:t>
          </a:r>
          <a:r>
            <a:rPr dirty="0"/>
            <a:t>, </a:t>
          </a:r>
          <a:r>
            <a:rPr dirty="0" err="1"/>
            <a:t>bisiklet</a:t>
          </a:r>
          <a:r>
            <a:rPr dirty="0"/>
            <a:t> </a:t>
          </a:r>
          <a:r>
            <a:rPr dirty="0" err="1"/>
            <a:t>yolları</a:t>
          </a:r>
          <a:r>
            <a:rPr dirty="0"/>
            <a:t> </a:t>
          </a:r>
          <a:r>
            <a:rPr dirty="0" err="1"/>
            <a:t>ve</a:t>
          </a:r>
          <a:r>
            <a:rPr dirty="0"/>
            <a:t> </a:t>
          </a:r>
          <a:r>
            <a:rPr dirty="0" err="1"/>
            <a:t>bisiklet</a:t>
          </a:r>
          <a:r>
            <a:rPr dirty="0"/>
            <a:t> </a:t>
          </a:r>
          <a:r>
            <a:rPr dirty="0" err="1"/>
            <a:t>paylaşım</a:t>
          </a:r>
          <a:r>
            <a:rPr dirty="0"/>
            <a:t> </a:t>
          </a:r>
          <a:r>
            <a:rPr dirty="0" err="1"/>
            <a:t>sistemi</a:t>
          </a:r>
          <a:r>
            <a:rPr dirty="0"/>
            <a:t> </a:t>
          </a:r>
          <a:r>
            <a:rPr dirty="0" err="1"/>
            <a:t>gibi</a:t>
          </a:r>
          <a:r>
            <a:rPr dirty="0"/>
            <a:t> yaya </a:t>
          </a:r>
          <a:r>
            <a:rPr dirty="0" err="1"/>
            <a:t>ve</a:t>
          </a:r>
          <a:r>
            <a:rPr dirty="0"/>
            <a:t> </a:t>
          </a:r>
          <a:r>
            <a:rPr dirty="0" err="1"/>
            <a:t>bisiklet</a:t>
          </a:r>
          <a:r>
            <a:rPr dirty="0"/>
            <a:t> </a:t>
          </a:r>
          <a:r>
            <a:rPr dirty="0" err="1"/>
            <a:t>altyapısının</a:t>
          </a:r>
          <a:r>
            <a:rPr dirty="0"/>
            <a:t>  </a:t>
          </a:r>
          <a:r>
            <a:rPr dirty="0" err="1"/>
            <a:t>tasarımına</a:t>
          </a:r>
          <a:r>
            <a:rPr dirty="0"/>
            <a:t> </a:t>
          </a:r>
          <a:r>
            <a:rPr dirty="0" err="1"/>
            <a:t>ve</a:t>
          </a:r>
          <a:r>
            <a:rPr dirty="0"/>
            <a:t> </a:t>
          </a:r>
          <a:r>
            <a:rPr dirty="0" err="1"/>
            <a:t>geliştirilmesine</a:t>
          </a:r>
          <a:r>
            <a:rPr dirty="0"/>
            <a:t> </a:t>
          </a:r>
          <a:r>
            <a:rPr dirty="0" err="1"/>
            <a:t>öncelik</a:t>
          </a:r>
          <a:r>
            <a:rPr dirty="0"/>
            <a:t> </a:t>
          </a:r>
          <a:r>
            <a:rPr dirty="0" err="1"/>
            <a:t>verebilir</a:t>
          </a:r>
          <a:r>
            <a:rPr dirty="0"/>
            <a:t>. Bu, </a:t>
          </a:r>
          <a:r>
            <a:rPr dirty="0" err="1"/>
            <a:t>aktif</a:t>
          </a:r>
          <a:r>
            <a:rPr dirty="0"/>
            <a:t> </a:t>
          </a:r>
          <a:r>
            <a:rPr dirty="0" err="1"/>
            <a:t>ulaşım</a:t>
          </a:r>
          <a:r>
            <a:rPr dirty="0"/>
            <a:t> </a:t>
          </a:r>
          <a:r>
            <a:rPr dirty="0" err="1"/>
            <a:t>türleri</a:t>
          </a:r>
          <a:r>
            <a:rPr dirty="0"/>
            <a:t> </a:t>
          </a:r>
          <a:r>
            <a:rPr dirty="0" err="1"/>
            <a:t>için</a:t>
          </a:r>
          <a:r>
            <a:rPr dirty="0"/>
            <a:t> </a:t>
          </a:r>
          <a:r>
            <a:rPr dirty="0" err="1"/>
            <a:t>güvenliği</a:t>
          </a:r>
          <a:r>
            <a:rPr dirty="0"/>
            <a:t> </a:t>
          </a:r>
          <a:r>
            <a:rPr dirty="0" err="1"/>
            <a:t>ve</a:t>
          </a:r>
          <a:r>
            <a:rPr dirty="0"/>
            <a:t> </a:t>
          </a:r>
          <a:r>
            <a:rPr dirty="0" err="1"/>
            <a:t>erişilebilirliği</a:t>
          </a:r>
          <a:r>
            <a:rPr dirty="0"/>
            <a:t> </a:t>
          </a:r>
          <a:r>
            <a:rPr dirty="0" err="1"/>
            <a:t>artırabilir</a:t>
          </a:r>
          <a:r>
            <a:rPr dirty="0"/>
            <a:t>, </a:t>
          </a:r>
          <a:r>
            <a:rPr dirty="0" err="1"/>
            <a:t>daha</a:t>
          </a:r>
          <a:r>
            <a:rPr dirty="0"/>
            <a:t> </a:t>
          </a:r>
          <a:r>
            <a:rPr dirty="0" err="1"/>
            <a:t>sağlıklı</a:t>
          </a:r>
          <a:r>
            <a:rPr dirty="0"/>
            <a:t> </a:t>
          </a:r>
          <a:r>
            <a:rPr dirty="0" err="1"/>
            <a:t>yaşam</a:t>
          </a:r>
          <a:r>
            <a:rPr dirty="0"/>
            <a:t> </a:t>
          </a:r>
          <a:r>
            <a:rPr dirty="0" err="1"/>
            <a:t>tarzlarını</a:t>
          </a:r>
          <a:r>
            <a:rPr dirty="0"/>
            <a:t> </a:t>
          </a:r>
          <a:r>
            <a:rPr dirty="0" err="1"/>
            <a:t>teşvik</a:t>
          </a:r>
          <a:r>
            <a:rPr dirty="0"/>
            <a:t> </a:t>
          </a:r>
          <a:r>
            <a:rPr dirty="0" err="1"/>
            <a:t>edebilir</a:t>
          </a:r>
          <a:r>
            <a:rPr dirty="0"/>
            <a:t> </a:t>
          </a:r>
          <a:r>
            <a:rPr dirty="0" err="1"/>
            <a:t>ve</a:t>
          </a:r>
          <a:r>
            <a:rPr dirty="0"/>
            <a:t> </a:t>
          </a:r>
          <a:r>
            <a:rPr dirty="0" err="1"/>
            <a:t>hava</a:t>
          </a:r>
          <a:r>
            <a:rPr dirty="0"/>
            <a:t> </a:t>
          </a:r>
          <a:r>
            <a:rPr dirty="0" err="1"/>
            <a:t>kirliliğini</a:t>
          </a:r>
          <a:r>
            <a:rPr dirty="0"/>
            <a:t> </a:t>
          </a:r>
          <a:r>
            <a:rPr dirty="0" err="1"/>
            <a:t>ve</a:t>
          </a:r>
          <a:r>
            <a:rPr dirty="0"/>
            <a:t> sera </a:t>
          </a:r>
          <a:r>
            <a:rPr dirty="0" err="1"/>
            <a:t>gazı</a:t>
          </a:r>
          <a:r>
            <a:rPr dirty="0"/>
            <a:t> </a:t>
          </a:r>
          <a:r>
            <a:rPr dirty="0" err="1"/>
            <a:t>emisyonlarını</a:t>
          </a:r>
          <a:r>
            <a:rPr dirty="0"/>
            <a:t> </a:t>
          </a:r>
          <a:r>
            <a:rPr dirty="0" err="1"/>
            <a:t>azaltabilir</a:t>
          </a:r>
          <a:r>
            <a:rPr dirty="0"/>
            <a:t>.</a:t>
          </a:r>
        </a:p>
      </dgm:t>
    </dgm:pt>
    <dgm:pt modelId="{DD8789DC-A132-4A7E-AA88-6F3FF0CEC61B}" type="parTrans" cxnId="{05EDE9D4-B0A8-4DCF-8231-DD8BF76FDB52}">
      <dgm:prSet/>
      <dgm:spPr/>
      <dgm:t>
        <a:bodyPr/>
        <a:lstStyle/>
        <a:p>
          <a:endParaRPr lang="en-US"/>
        </a:p>
      </dgm:t>
    </dgm:pt>
    <dgm:pt modelId="{F9BA87BE-3116-4BCE-AB6C-DBF4A07878CB}" type="sibTrans" cxnId="{05EDE9D4-B0A8-4DCF-8231-DD8BF76FDB52}">
      <dgm:prSet/>
      <dgm:spPr/>
      <dgm:t>
        <a:bodyPr/>
        <a:lstStyle/>
        <a:p>
          <a:endParaRPr lang="en-US"/>
        </a:p>
      </dgm:t>
    </dgm:pt>
    <dgm:pt modelId="{646CB0C6-0EF2-4F3D-902F-7558EAB18D26}">
      <dgm:prSet/>
      <dgm:spPr/>
      <dgm:t>
        <a:bodyPr anchor="ctr"/>
        <a:lstStyle/>
        <a:p>
          <a:pPr algn="ctr"/>
          <a:r>
            <a:rPr dirty="0" err="1"/>
            <a:t>Genel</a:t>
          </a:r>
          <a:r>
            <a:rPr dirty="0"/>
            <a:t> </a:t>
          </a:r>
          <a:r>
            <a:rPr dirty="0" err="1"/>
            <a:t>olarak</a:t>
          </a:r>
          <a:r>
            <a:rPr dirty="0"/>
            <a:t>, </a:t>
          </a:r>
          <a:r>
            <a:rPr dirty="0" err="1"/>
            <a:t>kentsel</a:t>
          </a:r>
          <a:r>
            <a:rPr dirty="0"/>
            <a:t> </a:t>
          </a:r>
          <a:r>
            <a:rPr dirty="0" err="1"/>
            <a:t>planlama</a:t>
          </a:r>
          <a:r>
            <a:rPr dirty="0"/>
            <a:t> </a:t>
          </a:r>
          <a:r>
            <a:rPr dirty="0" err="1"/>
            <a:t>ve</a:t>
          </a:r>
          <a:r>
            <a:rPr dirty="0"/>
            <a:t> </a:t>
          </a:r>
          <a:r>
            <a:rPr dirty="0" err="1"/>
            <a:t>arazi</a:t>
          </a:r>
          <a:r>
            <a:rPr dirty="0"/>
            <a:t> </a:t>
          </a:r>
          <a:r>
            <a:rPr dirty="0" err="1"/>
            <a:t>kullanımının</a:t>
          </a:r>
          <a:r>
            <a:rPr dirty="0"/>
            <a:t> </a:t>
          </a:r>
          <a:r>
            <a:rPr dirty="0" err="1"/>
            <a:t>ulaşım</a:t>
          </a:r>
          <a:r>
            <a:rPr dirty="0"/>
            <a:t> </a:t>
          </a:r>
          <a:r>
            <a:rPr dirty="0" err="1"/>
            <a:t>planlamasına</a:t>
          </a:r>
          <a:r>
            <a:rPr dirty="0"/>
            <a:t> </a:t>
          </a:r>
          <a:r>
            <a:rPr dirty="0" err="1"/>
            <a:t>entegre</a:t>
          </a:r>
          <a:r>
            <a:rPr dirty="0"/>
            <a:t> </a:t>
          </a:r>
          <a:r>
            <a:rPr dirty="0" err="1"/>
            <a:t>edilmesi</a:t>
          </a:r>
          <a:r>
            <a:rPr dirty="0"/>
            <a:t>, </a:t>
          </a:r>
          <a:r>
            <a:rPr lang="en-US" dirty="0"/>
            <a:t>SKUp</a:t>
          </a:r>
          <a:r>
            <a:rPr dirty="0"/>
            <a:t> </a:t>
          </a:r>
          <a:r>
            <a:rPr dirty="0" err="1"/>
            <a:t>Ankara'da</a:t>
          </a:r>
          <a:r>
            <a:rPr dirty="0"/>
            <a:t> </a:t>
          </a:r>
          <a:r>
            <a:rPr dirty="0" err="1"/>
            <a:t>sürdürülebilir</a:t>
          </a:r>
          <a:r>
            <a:rPr dirty="0"/>
            <a:t> </a:t>
          </a:r>
          <a:r>
            <a:rPr dirty="0" err="1"/>
            <a:t>kalkınmayı</a:t>
          </a:r>
          <a:r>
            <a:rPr dirty="0"/>
            <a:t> </a:t>
          </a:r>
          <a:r>
            <a:rPr dirty="0" err="1"/>
            <a:t>teşvik</a:t>
          </a:r>
          <a:r>
            <a:rPr dirty="0"/>
            <a:t> </a:t>
          </a:r>
          <a:r>
            <a:rPr dirty="0" err="1"/>
            <a:t>etmek</a:t>
          </a:r>
          <a:r>
            <a:rPr dirty="0"/>
            <a:t> </a:t>
          </a:r>
          <a:r>
            <a:rPr dirty="0" err="1"/>
            <a:t>için</a:t>
          </a:r>
          <a:r>
            <a:rPr dirty="0"/>
            <a:t> </a:t>
          </a:r>
          <a:r>
            <a:rPr dirty="0" err="1"/>
            <a:t>çok</a:t>
          </a:r>
          <a:r>
            <a:rPr dirty="0"/>
            <a:t> </a:t>
          </a:r>
          <a:r>
            <a:rPr dirty="0" err="1"/>
            <a:t>önemlidir</a:t>
          </a:r>
          <a:r>
            <a:rPr dirty="0"/>
            <a:t>. Kentsel </a:t>
          </a:r>
          <a:r>
            <a:rPr dirty="0" err="1"/>
            <a:t>planlamaya</a:t>
          </a:r>
          <a:r>
            <a:rPr dirty="0"/>
            <a:t> </a:t>
          </a:r>
          <a:r>
            <a:rPr dirty="0" err="1"/>
            <a:t>bütünsel</a:t>
          </a:r>
          <a:r>
            <a:rPr dirty="0"/>
            <a:t> </a:t>
          </a:r>
          <a:r>
            <a:rPr dirty="0" err="1"/>
            <a:t>bir</a:t>
          </a:r>
          <a:r>
            <a:rPr dirty="0"/>
            <a:t> </a:t>
          </a:r>
          <a:r>
            <a:rPr dirty="0" err="1"/>
            <a:t>yaklaşım</a:t>
          </a:r>
          <a:r>
            <a:rPr dirty="0"/>
            <a:t> </a:t>
          </a:r>
          <a:r>
            <a:rPr dirty="0" err="1"/>
            <a:t>benimseyerek</a:t>
          </a:r>
          <a:r>
            <a:rPr dirty="0"/>
            <a:t> </a:t>
          </a:r>
          <a:r>
            <a:rPr dirty="0" err="1"/>
            <a:t>şehir</a:t>
          </a:r>
          <a:r>
            <a:rPr dirty="0"/>
            <a:t> </a:t>
          </a:r>
          <a:r>
            <a:rPr dirty="0" err="1"/>
            <a:t>sakinlerinin</a:t>
          </a:r>
          <a:r>
            <a:rPr dirty="0"/>
            <a:t> </a:t>
          </a:r>
          <a:r>
            <a:rPr dirty="0" err="1"/>
            <a:t>refahını</a:t>
          </a:r>
          <a:r>
            <a:rPr dirty="0"/>
            <a:t> </a:t>
          </a:r>
          <a:r>
            <a:rPr dirty="0" err="1"/>
            <a:t>artıran</a:t>
          </a:r>
          <a:r>
            <a:rPr dirty="0"/>
            <a:t> </a:t>
          </a:r>
          <a:r>
            <a:rPr dirty="0" err="1"/>
            <a:t>ve</a:t>
          </a:r>
          <a:r>
            <a:rPr dirty="0"/>
            <a:t> </a:t>
          </a:r>
          <a:r>
            <a:rPr dirty="0" err="1"/>
            <a:t>koruyan</a:t>
          </a:r>
          <a:r>
            <a:rPr dirty="0"/>
            <a:t> </a:t>
          </a:r>
          <a:r>
            <a:rPr dirty="0" err="1"/>
            <a:t>yaşanabilir</a:t>
          </a:r>
          <a:r>
            <a:rPr dirty="0"/>
            <a:t>, </a:t>
          </a:r>
          <a:r>
            <a:rPr dirty="0" err="1"/>
            <a:t>canlı</a:t>
          </a:r>
          <a:r>
            <a:rPr dirty="0"/>
            <a:t> </a:t>
          </a:r>
          <a:r>
            <a:rPr dirty="0" err="1"/>
            <a:t>ve</a:t>
          </a:r>
          <a:r>
            <a:rPr dirty="0"/>
            <a:t> </a:t>
          </a:r>
          <a:r>
            <a:rPr dirty="0" err="1"/>
            <a:t>sürdürülebilir</a:t>
          </a:r>
          <a:r>
            <a:rPr dirty="0"/>
            <a:t> </a:t>
          </a:r>
          <a:r>
            <a:rPr dirty="0" err="1"/>
            <a:t>topluluklar</a:t>
          </a:r>
          <a:r>
            <a:rPr dirty="0"/>
            <a:t> </a:t>
          </a:r>
          <a:r>
            <a:rPr dirty="0" err="1"/>
            <a:t>yaratabilir</a:t>
          </a:r>
          <a:r>
            <a:rPr dirty="0"/>
            <a:t>.</a:t>
          </a:r>
          <a:endParaRPr lang="en-US" dirty="0"/>
        </a:p>
      </dgm:t>
    </dgm:pt>
    <dgm:pt modelId="{E1E380D7-2640-4EEF-84E5-B2DD8A4A0174}" type="parTrans" cxnId="{DF5B99F0-53D4-4D39-99E6-838A6FF0DC1F}">
      <dgm:prSet/>
      <dgm:spPr/>
      <dgm:t>
        <a:bodyPr/>
        <a:lstStyle/>
        <a:p>
          <a:endParaRPr lang="en-US"/>
        </a:p>
      </dgm:t>
    </dgm:pt>
    <dgm:pt modelId="{464A1F8F-10CD-40B6-8D9B-38F7EE0929AA}" type="sibTrans" cxnId="{DF5B99F0-53D4-4D39-99E6-838A6FF0DC1F}">
      <dgm:prSet/>
      <dgm:spPr/>
      <dgm:t>
        <a:bodyPr/>
        <a:lstStyle/>
        <a:p>
          <a:endParaRPr lang="en-US"/>
        </a:p>
      </dgm:t>
    </dgm:pt>
    <dgm:pt modelId="{74D84281-F966-461C-AD7D-6F0D7F0075A5}" type="pres">
      <dgm:prSet presAssocID="{8F8A2700-600E-46E4-977D-E8EEA9A2CEE7}" presName="vert0" presStyleCnt="0">
        <dgm:presLayoutVars>
          <dgm:dir/>
          <dgm:animOne val="branch"/>
          <dgm:animLvl val="lvl"/>
        </dgm:presLayoutVars>
      </dgm:prSet>
      <dgm:spPr/>
    </dgm:pt>
    <dgm:pt modelId="{3BD0B98C-C802-4673-B3C3-20B74FD7FA31}" type="pres">
      <dgm:prSet presAssocID="{F65DDD88-6971-437D-BD4A-1B67CBEE03EC}" presName="thickLine" presStyleLbl="alignNode1" presStyleIdx="0" presStyleCnt="2"/>
      <dgm:spPr/>
    </dgm:pt>
    <dgm:pt modelId="{1F279771-E025-4C0C-AE17-6928A74133FD}" type="pres">
      <dgm:prSet presAssocID="{F65DDD88-6971-437D-BD4A-1B67CBEE03EC}" presName="horz1" presStyleCnt="0"/>
      <dgm:spPr/>
    </dgm:pt>
    <dgm:pt modelId="{6EF14F46-B431-45D6-BB63-061B107735B4}" type="pres">
      <dgm:prSet presAssocID="{F65DDD88-6971-437D-BD4A-1B67CBEE03EC}" presName="tx1" presStyleLbl="revTx" presStyleIdx="0" presStyleCnt="5" custScaleX="197060"/>
      <dgm:spPr/>
    </dgm:pt>
    <dgm:pt modelId="{49C5E586-8563-4493-A093-DEEA970613FB}" type="pres">
      <dgm:prSet presAssocID="{F65DDD88-6971-437D-BD4A-1B67CBEE03EC}" presName="vert1" presStyleCnt="0"/>
      <dgm:spPr/>
    </dgm:pt>
    <dgm:pt modelId="{D2BAFE5E-9FB5-4F92-8E25-4D19ABAB789E}" type="pres">
      <dgm:prSet presAssocID="{5FF1EF98-CFE9-42F2-A39C-5D42D57A2CE9}" presName="vertSpace2a" presStyleCnt="0"/>
      <dgm:spPr/>
    </dgm:pt>
    <dgm:pt modelId="{F406B3BB-A8E4-42A7-B79D-2729CFB52C50}" type="pres">
      <dgm:prSet presAssocID="{5FF1EF98-CFE9-42F2-A39C-5D42D57A2CE9}" presName="horz2" presStyleCnt="0"/>
      <dgm:spPr/>
    </dgm:pt>
    <dgm:pt modelId="{B6493160-A296-4B8C-AF06-C2EF15B09578}" type="pres">
      <dgm:prSet presAssocID="{5FF1EF98-CFE9-42F2-A39C-5D42D57A2CE9}" presName="horzSpace2" presStyleCnt="0"/>
      <dgm:spPr/>
    </dgm:pt>
    <dgm:pt modelId="{29C58F98-1FA7-4303-BF64-D6A09C3A2073}" type="pres">
      <dgm:prSet presAssocID="{5FF1EF98-CFE9-42F2-A39C-5D42D57A2CE9}" presName="tx2" presStyleLbl="revTx" presStyleIdx="1" presStyleCnt="5"/>
      <dgm:spPr/>
    </dgm:pt>
    <dgm:pt modelId="{289191C4-985F-4CE9-9C95-D6019D5D586B}" type="pres">
      <dgm:prSet presAssocID="{5FF1EF98-CFE9-42F2-A39C-5D42D57A2CE9}" presName="vert2" presStyleCnt="0"/>
      <dgm:spPr/>
    </dgm:pt>
    <dgm:pt modelId="{DF5AAD08-16CE-4B47-A476-2C9006E10817}" type="pres">
      <dgm:prSet presAssocID="{5FF1EF98-CFE9-42F2-A39C-5D42D57A2CE9}" presName="thinLine2b" presStyleLbl="callout" presStyleIdx="0" presStyleCnt="3"/>
      <dgm:spPr/>
    </dgm:pt>
    <dgm:pt modelId="{F7688B0B-2325-464E-AF8D-76A452186164}" type="pres">
      <dgm:prSet presAssocID="{5FF1EF98-CFE9-42F2-A39C-5D42D57A2CE9}" presName="vertSpace2b" presStyleCnt="0"/>
      <dgm:spPr/>
    </dgm:pt>
    <dgm:pt modelId="{CA12B177-308B-4B6A-9140-0129CBC9501C}" type="pres">
      <dgm:prSet presAssocID="{778A9E28-A329-4017-9B83-655C15C2C7A2}" presName="horz2" presStyleCnt="0"/>
      <dgm:spPr/>
    </dgm:pt>
    <dgm:pt modelId="{6895F519-6FA7-4EF1-A31F-59CA434407E3}" type="pres">
      <dgm:prSet presAssocID="{778A9E28-A329-4017-9B83-655C15C2C7A2}" presName="horzSpace2" presStyleCnt="0"/>
      <dgm:spPr/>
    </dgm:pt>
    <dgm:pt modelId="{15660D1A-89A2-4414-97FB-858FC6AC242C}" type="pres">
      <dgm:prSet presAssocID="{778A9E28-A329-4017-9B83-655C15C2C7A2}" presName="tx2" presStyleLbl="revTx" presStyleIdx="2" presStyleCnt="5"/>
      <dgm:spPr/>
    </dgm:pt>
    <dgm:pt modelId="{1B6DD05C-66D6-46A4-BE17-87E85C515B74}" type="pres">
      <dgm:prSet presAssocID="{778A9E28-A329-4017-9B83-655C15C2C7A2}" presName="vert2" presStyleCnt="0"/>
      <dgm:spPr/>
    </dgm:pt>
    <dgm:pt modelId="{B609CBB3-795B-4F7C-800E-0BB1A284E9F6}" type="pres">
      <dgm:prSet presAssocID="{778A9E28-A329-4017-9B83-655C15C2C7A2}" presName="thinLine2b" presStyleLbl="callout" presStyleIdx="1" presStyleCnt="3"/>
      <dgm:spPr/>
    </dgm:pt>
    <dgm:pt modelId="{17CD2D01-3341-4786-9879-48E30EE1B507}" type="pres">
      <dgm:prSet presAssocID="{778A9E28-A329-4017-9B83-655C15C2C7A2}" presName="vertSpace2b" presStyleCnt="0"/>
      <dgm:spPr/>
    </dgm:pt>
    <dgm:pt modelId="{8E6ABCCF-0AC7-4ECE-B71B-A7066F39C1C9}" type="pres">
      <dgm:prSet presAssocID="{3DDD2126-D41D-449C-8992-3DDA8197EAAB}" presName="horz2" presStyleCnt="0"/>
      <dgm:spPr/>
    </dgm:pt>
    <dgm:pt modelId="{4F7C13B5-BCE9-49CC-8A82-2A1B5708E474}" type="pres">
      <dgm:prSet presAssocID="{3DDD2126-D41D-449C-8992-3DDA8197EAAB}" presName="horzSpace2" presStyleCnt="0"/>
      <dgm:spPr/>
    </dgm:pt>
    <dgm:pt modelId="{090A65ED-E6F8-4889-9C95-907323E6AD7E}" type="pres">
      <dgm:prSet presAssocID="{3DDD2126-D41D-449C-8992-3DDA8197EAAB}" presName="tx2" presStyleLbl="revTx" presStyleIdx="3" presStyleCnt="5"/>
      <dgm:spPr/>
    </dgm:pt>
    <dgm:pt modelId="{04E6951B-9452-4A44-8C4D-F3A5F4D9C5EA}" type="pres">
      <dgm:prSet presAssocID="{3DDD2126-D41D-449C-8992-3DDA8197EAAB}" presName="vert2" presStyleCnt="0"/>
      <dgm:spPr/>
    </dgm:pt>
    <dgm:pt modelId="{3E9FEFA4-A1C9-499E-89C2-5AAA35B6F855}" type="pres">
      <dgm:prSet presAssocID="{3DDD2126-D41D-449C-8992-3DDA8197EAAB}" presName="thinLine2b" presStyleLbl="callout" presStyleIdx="2" presStyleCnt="3"/>
      <dgm:spPr/>
    </dgm:pt>
    <dgm:pt modelId="{6B81CFF7-7812-48F4-B016-EBEFE67FBB64}" type="pres">
      <dgm:prSet presAssocID="{3DDD2126-D41D-449C-8992-3DDA8197EAAB}" presName="vertSpace2b" presStyleCnt="0"/>
      <dgm:spPr/>
    </dgm:pt>
    <dgm:pt modelId="{4FCD38E1-806A-49B7-B941-372A7CEB0362}" type="pres">
      <dgm:prSet presAssocID="{646CB0C6-0EF2-4F3D-902F-7558EAB18D26}" presName="thickLine" presStyleLbl="alignNode1" presStyleIdx="1" presStyleCnt="2"/>
      <dgm:spPr/>
    </dgm:pt>
    <dgm:pt modelId="{4DD98475-4068-4136-BA98-6A6566269C19}" type="pres">
      <dgm:prSet presAssocID="{646CB0C6-0EF2-4F3D-902F-7558EAB18D26}" presName="horz1" presStyleCnt="0"/>
      <dgm:spPr/>
    </dgm:pt>
    <dgm:pt modelId="{53F5A3F9-9B3D-40F2-B133-A0031EF22358}" type="pres">
      <dgm:prSet presAssocID="{646CB0C6-0EF2-4F3D-902F-7558EAB18D26}" presName="tx1" presStyleLbl="revTx" presStyleIdx="4" presStyleCnt="5" custScaleX="169335"/>
      <dgm:spPr/>
    </dgm:pt>
    <dgm:pt modelId="{8A6A1A5C-7C69-4324-802A-3412003B4FA8}" type="pres">
      <dgm:prSet presAssocID="{646CB0C6-0EF2-4F3D-902F-7558EAB18D26}" presName="vert1" presStyleCnt="0"/>
      <dgm:spPr/>
    </dgm:pt>
  </dgm:ptLst>
  <dgm:cxnLst>
    <dgm:cxn modelId="{6C958526-0F70-4B41-A66E-7C4DEAB7C51C}" type="presOf" srcId="{646CB0C6-0EF2-4F3D-902F-7558EAB18D26}" destId="{53F5A3F9-9B3D-40F2-B133-A0031EF22358}" srcOrd="0" destOrd="0" presId="urn:microsoft.com/office/officeart/2008/layout/LinedList"/>
    <dgm:cxn modelId="{B02DD430-4FF3-4E9C-8A13-CB9BAB14ED23}" type="presOf" srcId="{5FF1EF98-CFE9-42F2-A39C-5D42D57A2CE9}" destId="{29C58F98-1FA7-4303-BF64-D6A09C3A2073}" srcOrd="0" destOrd="0" presId="urn:microsoft.com/office/officeart/2008/layout/LinedList"/>
    <dgm:cxn modelId="{7E89383E-AD40-4284-A0AB-99511B9F472E}" type="presOf" srcId="{8F8A2700-600E-46E4-977D-E8EEA9A2CEE7}" destId="{74D84281-F966-461C-AD7D-6F0D7F0075A5}" srcOrd="0" destOrd="0" presId="urn:microsoft.com/office/officeart/2008/layout/LinedList"/>
    <dgm:cxn modelId="{C584C964-E05F-4DAE-B71A-CDB704B2DCA9}" type="presOf" srcId="{778A9E28-A329-4017-9B83-655C15C2C7A2}" destId="{15660D1A-89A2-4414-97FB-858FC6AC242C}" srcOrd="0" destOrd="0" presId="urn:microsoft.com/office/officeart/2008/layout/LinedList"/>
    <dgm:cxn modelId="{755F076B-FB26-498C-8FC8-725F82DB87D8}" srcId="{F65DDD88-6971-437D-BD4A-1B67CBEE03EC}" destId="{778A9E28-A329-4017-9B83-655C15C2C7A2}" srcOrd="1" destOrd="0" parTransId="{13E05A70-346F-4684-8141-D801CC7A8B55}" sibTransId="{D3A50AF3-806E-4564-B152-64BF77645864}"/>
    <dgm:cxn modelId="{7C94F094-27B6-44CB-B724-922E58957582}" type="presOf" srcId="{F65DDD88-6971-437D-BD4A-1B67CBEE03EC}" destId="{6EF14F46-B431-45D6-BB63-061B107735B4}" srcOrd="0" destOrd="0" presId="urn:microsoft.com/office/officeart/2008/layout/LinedList"/>
    <dgm:cxn modelId="{34AA249D-56BE-40FF-8552-337F1DACA642}" type="presOf" srcId="{3DDD2126-D41D-449C-8992-3DDA8197EAAB}" destId="{090A65ED-E6F8-4889-9C95-907323E6AD7E}" srcOrd="0" destOrd="0" presId="urn:microsoft.com/office/officeart/2008/layout/LinedList"/>
    <dgm:cxn modelId="{EE2EDDC1-6D47-4A84-AAE7-ADC558188843}" srcId="{8F8A2700-600E-46E4-977D-E8EEA9A2CEE7}" destId="{F65DDD88-6971-437D-BD4A-1B67CBEE03EC}" srcOrd="0" destOrd="0" parTransId="{69DA21F3-52D5-4078-8D89-01F4B19311E3}" sibTransId="{B1424E3D-2A72-4209-9006-E228B502C35B}"/>
    <dgm:cxn modelId="{05EDE9D4-B0A8-4DCF-8231-DD8BF76FDB52}" srcId="{F65DDD88-6971-437D-BD4A-1B67CBEE03EC}" destId="{3DDD2126-D41D-449C-8992-3DDA8197EAAB}" srcOrd="2" destOrd="0" parTransId="{DD8789DC-A132-4A7E-AA88-6F3FF0CEC61B}" sibTransId="{F9BA87BE-3116-4BCE-AB6C-DBF4A07878CB}"/>
    <dgm:cxn modelId="{DF5B99F0-53D4-4D39-99E6-838A6FF0DC1F}" srcId="{8F8A2700-600E-46E4-977D-E8EEA9A2CEE7}" destId="{646CB0C6-0EF2-4F3D-902F-7558EAB18D26}" srcOrd="1" destOrd="0" parTransId="{E1E380D7-2640-4EEF-84E5-B2DD8A4A0174}" sibTransId="{464A1F8F-10CD-40B6-8D9B-38F7EE0929AA}"/>
    <dgm:cxn modelId="{6F748DF5-BFE7-41B0-AF72-4E46553E728A}" srcId="{F65DDD88-6971-437D-BD4A-1B67CBEE03EC}" destId="{5FF1EF98-CFE9-42F2-A39C-5D42D57A2CE9}" srcOrd="0" destOrd="0" parTransId="{9C082D2D-CC1C-4182-9A47-8653B5FC6155}" sibTransId="{C67513B8-4A0D-4E63-BA11-604FF8BE4A78}"/>
    <dgm:cxn modelId="{98DAE3CD-8C0E-4715-B968-4920961E3919}" type="presParOf" srcId="{74D84281-F966-461C-AD7D-6F0D7F0075A5}" destId="{3BD0B98C-C802-4673-B3C3-20B74FD7FA31}" srcOrd="0" destOrd="0" presId="urn:microsoft.com/office/officeart/2008/layout/LinedList"/>
    <dgm:cxn modelId="{FBEB1892-0549-4B7E-A60C-10B1654CB471}" type="presParOf" srcId="{74D84281-F966-461C-AD7D-6F0D7F0075A5}" destId="{1F279771-E025-4C0C-AE17-6928A74133FD}" srcOrd="1" destOrd="0" presId="urn:microsoft.com/office/officeart/2008/layout/LinedList"/>
    <dgm:cxn modelId="{D6FA9D9B-F047-4F28-AB8F-C8AC12234042}" type="presParOf" srcId="{1F279771-E025-4C0C-AE17-6928A74133FD}" destId="{6EF14F46-B431-45D6-BB63-061B107735B4}" srcOrd="0" destOrd="0" presId="urn:microsoft.com/office/officeart/2008/layout/LinedList"/>
    <dgm:cxn modelId="{33A51158-1D62-4046-B5C1-6313DFE90DA0}" type="presParOf" srcId="{1F279771-E025-4C0C-AE17-6928A74133FD}" destId="{49C5E586-8563-4493-A093-DEEA970613FB}" srcOrd="1" destOrd="0" presId="urn:microsoft.com/office/officeart/2008/layout/LinedList"/>
    <dgm:cxn modelId="{5EE3A7F0-2938-40C5-90C2-6A6E9F672BD3}" type="presParOf" srcId="{49C5E586-8563-4493-A093-DEEA970613FB}" destId="{D2BAFE5E-9FB5-4F92-8E25-4D19ABAB789E}" srcOrd="0" destOrd="0" presId="urn:microsoft.com/office/officeart/2008/layout/LinedList"/>
    <dgm:cxn modelId="{02194D7C-190A-4A9B-B902-2795A1F3A094}" type="presParOf" srcId="{49C5E586-8563-4493-A093-DEEA970613FB}" destId="{F406B3BB-A8E4-42A7-B79D-2729CFB52C50}" srcOrd="1" destOrd="0" presId="urn:microsoft.com/office/officeart/2008/layout/LinedList"/>
    <dgm:cxn modelId="{97772E65-44EB-4764-A158-1C036C009395}" type="presParOf" srcId="{F406B3BB-A8E4-42A7-B79D-2729CFB52C50}" destId="{B6493160-A296-4B8C-AF06-C2EF15B09578}" srcOrd="0" destOrd="0" presId="urn:microsoft.com/office/officeart/2008/layout/LinedList"/>
    <dgm:cxn modelId="{9DCB2A5A-C81C-4743-AA9A-287D04F1841B}" type="presParOf" srcId="{F406B3BB-A8E4-42A7-B79D-2729CFB52C50}" destId="{29C58F98-1FA7-4303-BF64-D6A09C3A2073}" srcOrd="1" destOrd="0" presId="urn:microsoft.com/office/officeart/2008/layout/LinedList"/>
    <dgm:cxn modelId="{F10A66E3-4E57-4A06-9288-05F6511334E6}" type="presParOf" srcId="{F406B3BB-A8E4-42A7-B79D-2729CFB52C50}" destId="{289191C4-985F-4CE9-9C95-D6019D5D586B}" srcOrd="2" destOrd="0" presId="urn:microsoft.com/office/officeart/2008/layout/LinedList"/>
    <dgm:cxn modelId="{3BE95DF4-150B-43AF-BF6E-4286D92B5BB3}" type="presParOf" srcId="{49C5E586-8563-4493-A093-DEEA970613FB}" destId="{DF5AAD08-16CE-4B47-A476-2C9006E10817}" srcOrd="2" destOrd="0" presId="urn:microsoft.com/office/officeart/2008/layout/LinedList"/>
    <dgm:cxn modelId="{5120E35F-E25C-41CD-8820-FCBB39A6599F}" type="presParOf" srcId="{49C5E586-8563-4493-A093-DEEA970613FB}" destId="{F7688B0B-2325-464E-AF8D-76A452186164}" srcOrd="3" destOrd="0" presId="urn:microsoft.com/office/officeart/2008/layout/LinedList"/>
    <dgm:cxn modelId="{5BA0E70E-3A99-4298-8E2A-C06489704AAB}" type="presParOf" srcId="{49C5E586-8563-4493-A093-DEEA970613FB}" destId="{CA12B177-308B-4B6A-9140-0129CBC9501C}" srcOrd="4" destOrd="0" presId="urn:microsoft.com/office/officeart/2008/layout/LinedList"/>
    <dgm:cxn modelId="{2874DCC3-9E70-4762-A3F2-1EA8E4E0A263}" type="presParOf" srcId="{CA12B177-308B-4B6A-9140-0129CBC9501C}" destId="{6895F519-6FA7-4EF1-A31F-59CA434407E3}" srcOrd="0" destOrd="0" presId="urn:microsoft.com/office/officeart/2008/layout/LinedList"/>
    <dgm:cxn modelId="{B26778B0-14F2-4FB9-B674-BCB53E39E44E}" type="presParOf" srcId="{CA12B177-308B-4B6A-9140-0129CBC9501C}" destId="{15660D1A-89A2-4414-97FB-858FC6AC242C}" srcOrd="1" destOrd="0" presId="urn:microsoft.com/office/officeart/2008/layout/LinedList"/>
    <dgm:cxn modelId="{EADA40DC-E76B-4332-99C3-397BC83209B8}" type="presParOf" srcId="{CA12B177-308B-4B6A-9140-0129CBC9501C}" destId="{1B6DD05C-66D6-46A4-BE17-87E85C515B74}" srcOrd="2" destOrd="0" presId="urn:microsoft.com/office/officeart/2008/layout/LinedList"/>
    <dgm:cxn modelId="{BFCBEE4B-2F36-47D7-8ED4-7098DB6D04A3}" type="presParOf" srcId="{49C5E586-8563-4493-A093-DEEA970613FB}" destId="{B609CBB3-795B-4F7C-800E-0BB1A284E9F6}" srcOrd="5" destOrd="0" presId="urn:microsoft.com/office/officeart/2008/layout/LinedList"/>
    <dgm:cxn modelId="{14E53C53-B7A0-47F0-9D61-48E5B2D796D0}" type="presParOf" srcId="{49C5E586-8563-4493-A093-DEEA970613FB}" destId="{17CD2D01-3341-4786-9879-48E30EE1B507}" srcOrd="6" destOrd="0" presId="urn:microsoft.com/office/officeart/2008/layout/LinedList"/>
    <dgm:cxn modelId="{B5464CD3-B51D-43A0-AAD7-4E435EC446FF}" type="presParOf" srcId="{49C5E586-8563-4493-A093-DEEA970613FB}" destId="{8E6ABCCF-0AC7-4ECE-B71B-A7066F39C1C9}" srcOrd="7" destOrd="0" presId="urn:microsoft.com/office/officeart/2008/layout/LinedList"/>
    <dgm:cxn modelId="{B8A4F1DB-0C9F-4077-A0F3-48202FEA980D}" type="presParOf" srcId="{8E6ABCCF-0AC7-4ECE-B71B-A7066F39C1C9}" destId="{4F7C13B5-BCE9-49CC-8A82-2A1B5708E474}" srcOrd="0" destOrd="0" presId="urn:microsoft.com/office/officeart/2008/layout/LinedList"/>
    <dgm:cxn modelId="{EBDE1F1E-00EB-4EC0-B8E1-E4E3AD5B9CAB}" type="presParOf" srcId="{8E6ABCCF-0AC7-4ECE-B71B-A7066F39C1C9}" destId="{090A65ED-E6F8-4889-9C95-907323E6AD7E}" srcOrd="1" destOrd="0" presId="urn:microsoft.com/office/officeart/2008/layout/LinedList"/>
    <dgm:cxn modelId="{86FE2829-DC8D-4756-BD1D-E94682CE8C1A}" type="presParOf" srcId="{8E6ABCCF-0AC7-4ECE-B71B-A7066F39C1C9}" destId="{04E6951B-9452-4A44-8C4D-F3A5F4D9C5EA}" srcOrd="2" destOrd="0" presId="urn:microsoft.com/office/officeart/2008/layout/LinedList"/>
    <dgm:cxn modelId="{0F48267A-E1B9-42AA-9595-9770371180D9}" type="presParOf" srcId="{49C5E586-8563-4493-A093-DEEA970613FB}" destId="{3E9FEFA4-A1C9-499E-89C2-5AAA35B6F855}" srcOrd="8" destOrd="0" presId="urn:microsoft.com/office/officeart/2008/layout/LinedList"/>
    <dgm:cxn modelId="{E461E9B4-7967-44CF-8C8D-8D7AA9BD6E05}" type="presParOf" srcId="{49C5E586-8563-4493-A093-DEEA970613FB}" destId="{6B81CFF7-7812-48F4-B016-EBEFE67FBB64}" srcOrd="9" destOrd="0" presId="urn:microsoft.com/office/officeart/2008/layout/LinedList"/>
    <dgm:cxn modelId="{5016EC27-A79E-4492-91DF-A7E26463F13B}" type="presParOf" srcId="{74D84281-F966-461C-AD7D-6F0D7F0075A5}" destId="{4FCD38E1-806A-49B7-B941-372A7CEB0362}" srcOrd="2" destOrd="0" presId="urn:microsoft.com/office/officeart/2008/layout/LinedList"/>
    <dgm:cxn modelId="{C6A982F1-14E9-4297-A5B5-5FC1F2E87348}" type="presParOf" srcId="{74D84281-F966-461C-AD7D-6F0D7F0075A5}" destId="{4DD98475-4068-4136-BA98-6A6566269C19}" srcOrd="3" destOrd="0" presId="urn:microsoft.com/office/officeart/2008/layout/LinedList"/>
    <dgm:cxn modelId="{62BE75AA-4C88-4918-B6CA-F718C3F60620}" type="presParOf" srcId="{4DD98475-4068-4136-BA98-6A6566269C19}" destId="{53F5A3F9-9B3D-40F2-B133-A0031EF22358}" srcOrd="0" destOrd="0" presId="urn:microsoft.com/office/officeart/2008/layout/LinedList"/>
    <dgm:cxn modelId="{0E504D4E-A749-46FD-AE75-6A4C4675DBBA}" type="presParOf" srcId="{4DD98475-4068-4136-BA98-6A6566269C19}" destId="{8A6A1A5C-7C69-4324-802A-3412003B4FA8}"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81DCA02E-0165-4095-AE95-676C9EE72B1E}" type="doc">
      <dgm:prSet loTypeId="urn:microsoft.com/office/officeart/2005/8/layout/radial5" loCatId="relationship" qsTypeId="urn:microsoft.com/office/officeart/2005/8/quickstyle/simple4" qsCatId="simple" csTypeId="urn:microsoft.com/office/officeart/2005/8/colors/colorful3" csCatId="colorful" phldr="1"/>
      <dgm:spPr/>
      <dgm:t>
        <a:bodyPr/>
        <a:lstStyle/>
        <a:p>
          <a:endParaRPr lang="en-US"/>
        </a:p>
      </dgm:t>
    </dgm:pt>
    <dgm:pt modelId="{EB540262-1C5D-4E58-B409-F0968D7C8705}">
      <dgm:prSet custT="1"/>
      <dgm:spPr/>
      <dgm:t>
        <a:bodyPr/>
        <a:lstStyle/>
        <a:p>
          <a:endParaRPr lang="en-US"/>
        </a:p>
      </dgm:t>
    </dgm:pt>
    <dgm:pt modelId="{3419C81A-AE89-43F5-ADA8-59CE1EF8B6CD}" type="parTrans" cxnId="{A2E118DE-8357-4C6E-956E-0EFFBCA0C244}">
      <dgm:prSet/>
      <dgm:spPr/>
      <dgm:t>
        <a:bodyPr/>
        <a:lstStyle/>
        <a:p>
          <a:endParaRPr lang="en-US" sz="2400"/>
        </a:p>
      </dgm:t>
    </dgm:pt>
    <dgm:pt modelId="{7E0EBF3D-F4B6-43EA-99AC-04EBF5B764B5}" type="sibTrans" cxnId="{A2E118DE-8357-4C6E-956E-0EFFBCA0C244}">
      <dgm:prSet/>
      <dgm:spPr/>
      <dgm:t>
        <a:bodyPr/>
        <a:lstStyle/>
        <a:p>
          <a:endParaRPr lang="en-US" sz="2400"/>
        </a:p>
      </dgm:t>
    </dgm:pt>
    <dgm:pt modelId="{7C802D4A-6598-49C9-B9D5-F0CCA5A045BB}">
      <dgm:prSet custT="1"/>
      <dgm:spPr/>
      <dgm:t>
        <a:bodyPr/>
        <a:lstStyle/>
        <a:p>
          <a:endParaRPr lang="en-US"/>
        </a:p>
      </dgm:t>
    </dgm:pt>
    <dgm:pt modelId="{603394FA-4782-4F48-890A-D7B5FEF8AC14}" type="parTrans" cxnId="{E76846F8-F9FA-450D-A6D5-3964CBA901A8}">
      <dgm:prSet/>
      <dgm:spPr/>
      <dgm:t>
        <a:bodyPr/>
        <a:lstStyle/>
        <a:p>
          <a:endParaRPr lang="en-US" sz="2400"/>
        </a:p>
      </dgm:t>
    </dgm:pt>
    <dgm:pt modelId="{45FBD15D-2A2A-4A5C-A4B2-A8BB893929CE}" type="sibTrans" cxnId="{E76846F8-F9FA-450D-A6D5-3964CBA901A8}">
      <dgm:prSet/>
      <dgm:spPr/>
      <dgm:t>
        <a:bodyPr/>
        <a:lstStyle/>
        <a:p>
          <a:endParaRPr lang="en-US" sz="2400"/>
        </a:p>
      </dgm:t>
    </dgm:pt>
    <dgm:pt modelId="{ED9A99A8-F10C-4DB6-B920-6F267D331DAC}">
      <dgm:prSet custT="1"/>
      <dgm:spPr/>
      <dgm:t>
        <a:bodyPr/>
        <a:lstStyle/>
        <a:p>
          <a:endParaRPr lang="en-US"/>
        </a:p>
      </dgm:t>
    </dgm:pt>
    <dgm:pt modelId="{93FE06F5-565B-4244-A6F6-10861852EDB3}" type="parTrans" cxnId="{49B9D70C-5ECF-4540-8020-42A7470AADC5}">
      <dgm:prSet/>
      <dgm:spPr/>
      <dgm:t>
        <a:bodyPr/>
        <a:lstStyle/>
        <a:p>
          <a:endParaRPr lang="en-US" sz="2400"/>
        </a:p>
      </dgm:t>
    </dgm:pt>
    <dgm:pt modelId="{FE4314DF-01A1-497B-9854-5E41800707F2}" type="sibTrans" cxnId="{49B9D70C-5ECF-4540-8020-42A7470AADC5}">
      <dgm:prSet/>
      <dgm:spPr/>
      <dgm:t>
        <a:bodyPr/>
        <a:lstStyle/>
        <a:p>
          <a:endParaRPr lang="en-US" sz="2400"/>
        </a:p>
      </dgm:t>
    </dgm:pt>
    <dgm:pt modelId="{662DBB42-6B6F-4E2F-AB5B-47A324B2AF48}">
      <dgm:prSet custT="1"/>
      <dgm:spPr/>
      <dgm:t>
        <a:bodyPr/>
        <a:lstStyle/>
        <a:p>
          <a:endParaRPr lang="en-US"/>
        </a:p>
      </dgm:t>
    </dgm:pt>
    <dgm:pt modelId="{F43DA549-1A8F-401F-8572-DB69220274C1}" type="parTrans" cxnId="{1FBB6C08-A48B-4FC4-B345-E88B3FDF63C4}">
      <dgm:prSet/>
      <dgm:spPr/>
      <dgm:t>
        <a:bodyPr/>
        <a:lstStyle/>
        <a:p>
          <a:endParaRPr lang="en-US" sz="2400"/>
        </a:p>
      </dgm:t>
    </dgm:pt>
    <dgm:pt modelId="{68919ABD-E6B3-4956-B76B-060FFB30411A}" type="sibTrans" cxnId="{1FBB6C08-A48B-4FC4-B345-E88B3FDF63C4}">
      <dgm:prSet/>
      <dgm:spPr/>
      <dgm:t>
        <a:bodyPr/>
        <a:lstStyle/>
        <a:p>
          <a:endParaRPr lang="en-US" sz="2400"/>
        </a:p>
      </dgm:t>
    </dgm:pt>
    <dgm:pt modelId="{32DEE43A-8EEB-4806-831E-1BA4DF2E3026}">
      <dgm:prSet custT="1"/>
      <dgm:spPr/>
      <dgm:t>
        <a:bodyPr/>
        <a:lstStyle/>
        <a:p>
          <a:pPr>
            <a:defRPr sz="700"/>
          </a:pPr>
          <a:r>
            <a:rPr dirty="0" err="1"/>
            <a:t>Ulaşılması</a:t>
          </a:r>
          <a:r>
            <a:rPr dirty="0"/>
            <a:t> </a:t>
          </a:r>
          <a:r>
            <a:rPr dirty="0" err="1"/>
            <a:t>gereken</a:t>
          </a:r>
          <a:r>
            <a:rPr dirty="0"/>
            <a:t> </a:t>
          </a:r>
          <a:r>
            <a:rPr dirty="0" err="1"/>
            <a:t>hedefler</a:t>
          </a:r>
          <a:r>
            <a:rPr dirty="0"/>
            <a:t>:</a:t>
          </a:r>
          <a:endParaRPr lang="en-US" sz="700" dirty="0"/>
        </a:p>
      </dgm:t>
    </dgm:pt>
    <dgm:pt modelId="{54180405-CD94-4527-89A4-7D7A063D5400}" type="parTrans" cxnId="{1DDCD6D9-D973-46A0-AEB8-63BF119A3154}">
      <dgm:prSet/>
      <dgm:spPr/>
      <dgm:t>
        <a:bodyPr/>
        <a:lstStyle/>
        <a:p>
          <a:endParaRPr lang="en-US" sz="2400"/>
        </a:p>
      </dgm:t>
    </dgm:pt>
    <dgm:pt modelId="{2D47B347-240C-4D17-B5D5-A106158EFF99}" type="sibTrans" cxnId="{1DDCD6D9-D973-46A0-AEB8-63BF119A3154}">
      <dgm:prSet/>
      <dgm:spPr/>
      <dgm:t>
        <a:bodyPr/>
        <a:lstStyle/>
        <a:p>
          <a:endParaRPr lang="en-US" sz="2400"/>
        </a:p>
      </dgm:t>
    </dgm:pt>
    <dgm:pt modelId="{B8366EDC-DE56-4185-A1AE-C398FE738053}">
      <dgm:prSet custT="1"/>
      <dgm:spPr/>
      <dgm:t>
        <a:bodyPr/>
        <a:lstStyle/>
        <a:p>
          <a:pPr>
            <a:defRPr sz="600"/>
          </a:pPr>
          <a:r>
            <a:t>Ulaşım türlerinin optimizasyonu</a:t>
          </a:r>
          <a:endParaRPr lang="en-US" sz="600" dirty="0"/>
        </a:p>
      </dgm:t>
    </dgm:pt>
    <dgm:pt modelId="{F6894E61-0448-43F1-8D1B-334BDA877CCF}" type="parTrans" cxnId="{688FF2FC-785E-47B9-936A-E23DA95DA77C}">
      <dgm:prSet/>
      <dgm:spPr/>
      <dgm:t>
        <a:bodyPr/>
        <a:lstStyle/>
        <a:p>
          <a:endParaRPr lang="en-US" sz="2400"/>
        </a:p>
      </dgm:t>
    </dgm:pt>
    <dgm:pt modelId="{6F304B56-F310-4959-8D77-E3A2E4CC0F1D}" type="sibTrans" cxnId="{688FF2FC-785E-47B9-936A-E23DA95DA77C}">
      <dgm:prSet/>
      <dgm:spPr/>
      <dgm:t>
        <a:bodyPr/>
        <a:lstStyle/>
        <a:p>
          <a:endParaRPr lang="en-US" sz="2400"/>
        </a:p>
      </dgm:t>
    </dgm:pt>
    <dgm:pt modelId="{AE42D04C-972D-46DF-B355-E28B275E8EC0}">
      <dgm:prSet custT="1"/>
      <dgm:spPr/>
      <dgm:t>
        <a:bodyPr/>
        <a:lstStyle/>
        <a:p>
          <a:pPr>
            <a:defRPr sz="600"/>
          </a:pPr>
          <a:r>
            <a:t>Teslimat verimliliğininin artırılması</a:t>
          </a:r>
          <a:endParaRPr lang="en-US" sz="600" dirty="0"/>
        </a:p>
      </dgm:t>
    </dgm:pt>
    <dgm:pt modelId="{F8CCFD6D-B15B-4676-B256-1E5AC16D3705}" type="parTrans" cxnId="{4E102E51-DE69-4638-B028-C04F2DE7E10F}">
      <dgm:prSet/>
      <dgm:spPr/>
      <dgm:t>
        <a:bodyPr/>
        <a:lstStyle/>
        <a:p>
          <a:endParaRPr lang="en-US" sz="2400"/>
        </a:p>
      </dgm:t>
    </dgm:pt>
    <dgm:pt modelId="{0B648696-170B-41BF-9DB7-77E676633E6A}" type="sibTrans" cxnId="{4E102E51-DE69-4638-B028-C04F2DE7E10F}">
      <dgm:prSet/>
      <dgm:spPr/>
      <dgm:t>
        <a:bodyPr/>
        <a:lstStyle/>
        <a:p>
          <a:endParaRPr lang="en-US" sz="2400"/>
        </a:p>
      </dgm:t>
    </dgm:pt>
    <dgm:pt modelId="{375A55EE-2084-4F44-86A1-278EBAE98298}">
      <dgm:prSet custT="1"/>
      <dgm:spPr/>
      <dgm:t>
        <a:bodyPr/>
        <a:lstStyle/>
        <a:p>
          <a:pPr>
            <a:defRPr sz="600"/>
          </a:pPr>
          <a:r>
            <a:t>Taşımacılıkla ilgili dışsallıkların azaltılması</a:t>
          </a:r>
          <a:endParaRPr lang="en-US" sz="600" dirty="0"/>
        </a:p>
      </dgm:t>
    </dgm:pt>
    <dgm:pt modelId="{A6000F25-A22D-450D-A628-6F7A86291750}" type="parTrans" cxnId="{01979199-91BF-4713-B024-63755989C240}">
      <dgm:prSet/>
      <dgm:spPr/>
      <dgm:t>
        <a:bodyPr/>
        <a:lstStyle/>
        <a:p>
          <a:endParaRPr lang="en-US" sz="2400"/>
        </a:p>
      </dgm:t>
    </dgm:pt>
    <dgm:pt modelId="{41AC60C2-837C-478A-ACF0-77E9965D94C5}" type="sibTrans" cxnId="{01979199-91BF-4713-B024-63755989C240}">
      <dgm:prSet/>
      <dgm:spPr/>
      <dgm:t>
        <a:bodyPr/>
        <a:lstStyle/>
        <a:p>
          <a:endParaRPr lang="en-US" sz="2400"/>
        </a:p>
      </dgm:t>
    </dgm:pt>
    <dgm:pt modelId="{488FD084-94F0-47AD-A6E4-57F37B7BE1DD}">
      <dgm:prSet custT="1"/>
      <dgm:spPr/>
      <dgm:t>
        <a:bodyPr/>
        <a:lstStyle/>
        <a:p>
          <a:pPr>
            <a:defRPr sz="600"/>
          </a:pPr>
          <a:r>
            <a:t>Kentsel gelişim hedeflerinin desteklenmesi</a:t>
          </a:r>
          <a:endParaRPr lang="en-US" sz="600" dirty="0"/>
        </a:p>
      </dgm:t>
    </dgm:pt>
    <dgm:pt modelId="{0B0B21DD-9658-4C36-AD67-18D093BB4D09}" type="parTrans" cxnId="{38A2A430-0E91-4623-9257-24954D846D03}">
      <dgm:prSet/>
      <dgm:spPr/>
      <dgm:t>
        <a:bodyPr/>
        <a:lstStyle/>
        <a:p>
          <a:endParaRPr lang="en-US" sz="2400"/>
        </a:p>
      </dgm:t>
    </dgm:pt>
    <dgm:pt modelId="{2AAC37E5-09C4-4A39-962C-357990872271}" type="sibTrans" cxnId="{38A2A430-0E91-4623-9257-24954D846D03}">
      <dgm:prSet/>
      <dgm:spPr/>
      <dgm:t>
        <a:bodyPr/>
        <a:lstStyle/>
        <a:p>
          <a:endParaRPr lang="en-US" sz="2400"/>
        </a:p>
      </dgm:t>
    </dgm:pt>
    <dgm:pt modelId="{484F9D00-8953-42CC-8751-DCE60E0CF8FD}">
      <dgm:prSet custT="1"/>
      <dgm:spPr/>
      <dgm:t>
        <a:bodyPr/>
        <a:lstStyle/>
        <a:p>
          <a:pPr>
            <a:defRPr sz="600"/>
          </a:pPr>
          <a:r>
            <a:t>Modelleme, simülasyon ve performans ölçümü gibi çeşitli yöntemleri kullanarak şehir lojistik ulaşım sistemlerininin değerlendirilmesi ve optimize edilmesi</a:t>
          </a:r>
          <a:endParaRPr lang="en-US" sz="600" dirty="0"/>
        </a:p>
      </dgm:t>
    </dgm:pt>
    <dgm:pt modelId="{70BF9EFD-BB1A-4116-8F89-97D64BF7FF80}" type="parTrans" cxnId="{B572705C-D413-452B-8085-F26D18DB379D}">
      <dgm:prSet/>
      <dgm:spPr/>
      <dgm:t>
        <a:bodyPr/>
        <a:lstStyle/>
        <a:p>
          <a:endParaRPr lang="en-US" sz="2400"/>
        </a:p>
      </dgm:t>
    </dgm:pt>
    <dgm:pt modelId="{D171A26B-FA57-47DD-9CA8-A32983FDBC34}" type="sibTrans" cxnId="{B572705C-D413-452B-8085-F26D18DB379D}">
      <dgm:prSet/>
      <dgm:spPr/>
      <dgm:t>
        <a:bodyPr/>
        <a:lstStyle/>
        <a:p>
          <a:endParaRPr lang="en-US" sz="2400"/>
        </a:p>
      </dgm:t>
    </dgm:pt>
    <dgm:pt modelId="{CEF80C07-96C6-4616-837F-D6ACB3AD1056}">
      <dgm:prSet custT="1"/>
      <dgm:spPr/>
      <dgm:t>
        <a:bodyPr/>
        <a:lstStyle/>
        <a:p>
          <a:pPr>
            <a:defRPr sz="600"/>
          </a:pPr>
          <a:r>
            <a:rPr dirty="0"/>
            <a:t>Kentsel </a:t>
          </a:r>
          <a:r>
            <a:rPr dirty="0" err="1"/>
            <a:t>yük</a:t>
          </a:r>
          <a:r>
            <a:rPr dirty="0"/>
            <a:t> </a:t>
          </a:r>
          <a:r>
            <a:rPr dirty="0" err="1"/>
            <a:t>taşımacılığının</a:t>
          </a:r>
          <a:r>
            <a:rPr dirty="0"/>
            <a:t> </a:t>
          </a:r>
          <a:r>
            <a:rPr dirty="0" err="1"/>
            <a:t>verimliliğini</a:t>
          </a:r>
          <a:r>
            <a:rPr dirty="0"/>
            <a:t> </a:t>
          </a:r>
          <a:r>
            <a:rPr dirty="0" err="1"/>
            <a:t>ve</a:t>
          </a:r>
          <a:r>
            <a:rPr dirty="0"/>
            <a:t> </a:t>
          </a:r>
          <a:r>
            <a:rPr dirty="0" err="1"/>
            <a:t>sürdürülebilirliğini</a:t>
          </a:r>
          <a:r>
            <a:rPr dirty="0"/>
            <a:t> </a:t>
          </a:r>
          <a:r>
            <a:rPr dirty="0" err="1"/>
            <a:t>artırmak</a:t>
          </a:r>
          <a:r>
            <a:rPr dirty="0"/>
            <a:t> </a:t>
          </a:r>
          <a:r>
            <a:rPr dirty="0" err="1"/>
            <a:t>için</a:t>
          </a:r>
          <a:r>
            <a:rPr dirty="0"/>
            <a:t> </a:t>
          </a:r>
          <a:r>
            <a:rPr dirty="0" err="1"/>
            <a:t>şehir</a:t>
          </a:r>
          <a:r>
            <a:rPr dirty="0"/>
            <a:t> </a:t>
          </a:r>
          <a:r>
            <a:rPr dirty="0" err="1"/>
            <a:t>lojistiğini</a:t>
          </a:r>
          <a:r>
            <a:rPr lang="tr-TR" dirty="0"/>
            <a:t>n</a:t>
          </a:r>
          <a:r>
            <a:rPr dirty="0"/>
            <a:t> </a:t>
          </a:r>
          <a:r>
            <a:rPr lang="tr-TR" dirty="0"/>
            <a:t>şehir</a:t>
          </a:r>
          <a:r>
            <a:rPr dirty="0"/>
            <a:t> </a:t>
          </a:r>
          <a:r>
            <a:rPr dirty="0" err="1"/>
            <a:t>planlama</a:t>
          </a:r>
          <a:r>
            <a:rPr dirty="0"/>
            <a:t> </a:t>
          </a:r>
          <a:r>
            <a:rPr dirty="0" err="1"/>
            <a:t>ile</a:t>
          </a:r>
          <a:r>
            <a:rPr dirty="0"/>
            <a:t> </a:t>
          </a:r>
          <a:r>
            <a:rPr dirty="0" err="1"/>
            <a:t>entegre</a:t>
          </a:r>
          <a:r>
            <a:rPr dirty="0"/>
            <a:t> </a:t>
          </a:r>
          <a:r>
            <a:rPr dirty="0" err="1"/>
            <a:t>edilmesi</a:t>
          </a:r>
          <a:endParaRPr lang="en-US" sz="600" dirty="0"/>
        </a:p>
      </dgm:t>
    </dgm:pt>
    <dgm:pt modelId="{2B8ADF91-344C-4576-B0A3-519ECD1F60E0}" type="parTrans" cxnId="{023CDCE2-900B-432D-B880-730909B40A0E}">
      <dgm:prSet/>
      <dgm:spPr/>
      <dgm:t>
        <a:bodyPr/>
        <a:lstStyle/>
        <a:p>
          <a:endParaRPr lang="en-US" sz="2400"/>
        </a:p>
      </dgm:t>
    </dgm:pt>
    <dgm:pt modelId="{FB958B0E-6463-4179-A0E8-AD9D9F1457C2}" type="sibTrans" cxnId="{023CDCE2-900B-432D-B880-730909B40A0E}">
      <dgm:prSet/>
      <dgm:spPr/>
      <dgm:t>
        <a:bodyPr/>
        <a:lstStyle/>
        <a:p>
          <a:endParaRPr lang="en-US" sz="2400"/>
        </a:p>
      </dgm:t>
    </dgm:pt>
    <dgm:pt modelId="{8E9AB3E4-C182-41E4-8A42-21D0C9E22FDE}">
      <dgm:prSet custT="1"/>
      <dgm:spPr/>
      <dgm:t>
        <a:bodyPr/>
        <a:lstStyle/>
        <a:p>
          <a:pPr>
            <a:defRPr sz="600"/>
          </a:pPr>
          <a:r>
            <a:t>Paydaş katılımını, veri toplama ve analizini, performans metriklerinin geliştirilmesini ve yenilikçi teknolojilerin uygulanması</a:t>
          </a:r>
          <a:endParaRPr lang="en-US" sz="600" dirty="0"/>
        </a:p>
      </dgm:t>
    </dgm:pt>
    <dgm:pt modelId="{5C6D2CA2-5C78-4FB0-8B7A-2C101FF7FB38}" type="parTrans" cxnId="{01AE6DAF-CB1A-483A-8D54-6ED47EE232B8}">
      <dgm:prSet/>
      <dgm:spPr/>
      <dgm:t>
        <a:bodyPr/>
        <a:lstStyle/>
        <a:p>
          <a:endParaRPr lang="en-US" sz="2400"/>
        </a:p>
      </dgm:t>
    </dgm:pt>
    <dgm:pt modelId="{9F363E5E-2179-407E-80D6-403875C3428E}" type="sibTrans" cxnId="{01AE6DAF-CB1A-483A-8D54-6ED47EE232B8}">
      <dgm:prSet/>
      <dgm:spPr/>
      <dgm:t>
        <a:bodyPr/>
        <a:lstStyle/>
        <a:p>
          <a:endParaRPr lang="en-US" sz="2400"/>
        </a:p>
      </dgm:t>
    </dgm:pt>
    <dgm:pt modelId="{82748199-610F-41F5-A155-F7881A378B72}" type="pres">
      <dgm:prSet presAssocID="{81DCA02E-0165-4095-AE95-676C9EE72B1E}" presName="Name0" presStyleCnt="0">
        <dgm:presLayoutVars>
          <dgm:chMax val="1"/>
          <dgm:dir/>
          <dgm:animLvl val="ctr"/>
          <dgm:resizeHandles val="exact"/>
        </dgm:presLayoutVars>
      </dgm:prSet>
      <dgm:spPr/>
    </dgm:pt>
    <dgm:pt modelId="{BE0F088B-7D6A-41E6-AA5F-522B40C2E799}" type="pres">
      <dgm:prSet presAssocID="{32DEE43A-8EEB-4806-831E-1BA4DF2E3026}" presName="centerShape" presStyleLbl="node0" presStyleIdx="0" presStyleCnt="1"/>
      <dgm:spPr/>
    </dgm:pt>
    <dgm:pt modelId="{11CDC03E-2ABA-4E51-82C8-4601791B6313}" type="pres">
      <dgm:prSet presAssocID="{F6894E61-0448-43F1-8D1B-334BDA877CCF}" presName="parTrans" presStyleLbl="sibTrans2D1" presStyleIdx="0" presStyleCnt="7"/>
      <dgm:spPr/>
    </dgm:pt>
    <dgm:pt modelId="{1D379FAC-4781-4ACB-8670-A67FDB43380E}" type="pres">
      <dgm:prSet presAssocID="{F6894E61-0448-43F1-8D1B-334BDA877CCF}" presName="connectorText" presStyleLbl="sibTrans2D1" presStyleIdx="0" presStyleCnt="7"/>
      <dgm:spPr/>
    </dgm:pt>
    <dgm:pt modelId="{1A0BF95E-8311-4472-9096-905E11661470}" type="pres">
      <dgm:prSet presAssocID="{B8366EDC-DE56-4185-A1AE-C398FE738053}" presName="node" presStyleLbl="node1" presStyleIdx="0" presStyleCnt="7">
        <dgm:presLayoutVars>
          <dgm:bulletEnabled val="1"/>
        </dgm:presLayoutVars>
      </dgm:prSet>
      <dgm:spPr/>
    </dgm:pt>
    <dgm:pt modelId="{746AFD0D-8830-4F5C-8CF8-4ACA24641F06}" type="pres">
      <dgm:prSet presAssocID="{F8CCFD6D-B15B-4676-B256-1E5AC16D3705}" presName="parTrans" presStyleLbl="sibTrans2D1" presStyleIdx="1" presStyleCnt="7"/>
      <dgm:spPr/>
    </dgm:pt>
    <dgm:pt modelId="{17DF0E16-DBBE-4794-A774-6676F3A61159}" type="pres">
      <dgm:prSet presAssocID="{F8CCFD6D-B15B-4676-B256-1E5AC16D3705}" presName="connectorText" presStyleLbl="sibTrans2D1" presStyleIdx="1" presStyleCnt="7"/>
      <dgm:spPr/>
    </dgm:pt>
    <dgm:pt modelId="{042B56DB-3831-42CA-B43A-E0BD0427B166}" type="pres">
      <dgm:prSet presAssocID="{AE42D04C-972D-46DF-B355-E28B275E8EC0}" presName="node" presStyleLbl="node1" presStyleIdx="1" presStyleCnt="7">
        <dgm:presLayoutVars>
          <dgm:bulletEnabled val="1"/>
        </dgm:presLayoutVars>
      </dgm:prSet>
      <dgm:spPr/>
    </dgm:pt>
    <dgm:pt modelId="{C5221945-F6FB-4329-8B7A-F55FB1D88095}" type="pres">
      <dgm:prSet presAssocID="{A6000F25-A22D-450D-A628-6F7A86291750}" presName="parTrans" presStyleLbl="sibTrans2D1" presStyleIdx="2" presStyleCnt="7"/>
      <dgm:spPr/>
    </dgm:pt>
    <dgm:pt modelId="{BAFBD027-3524-46EC-ACFF-95CBCD19E467}" type="pres">
      <dgm:prSet presAssocID="{A6000F25-A22D-450D-A628-6F7A86291750}" presName="connectorText" presStyleLbl="sibTrans2D1" presStyleIdx="2" presStyleCnt="7"/>
      <dgm:spPr/>
    </dgm:pt>
    <dgm:pt modelId="{AD4265B2-C067-4D64-8696-C08CD5721A83}" type="pres">
      <dgm:prSet presAssocID="{375A55EE-2084-4F44-86A1-278EBAE98298}" presName="node" presStyleLbl="node1" presStyleIdx="2" presStyleCnt="7">
        <dgm:presLayoutVars>
          <dgm:bulletEnabled val="1"/>
        </dgm:presLayoutVars>
      </dgm:prSet>
      <dgm:spPr/>
    </dgm:pt>
    <dgm:pt modelId="{E6F92E13-8ABA-4AF1-B034-CA183BD8D98F}" type="pres">
      <dgm:prSet presAssocID="{0B0B21DD-9658-4C36-AD67-18D093BB4D09}" presName="parTrans" presStyleLbl="sibTrans2D1" presStyleIdx="3" presStyleCnt="7"/>
      <dgm:spPr/>
    </dgm:pt>
    <dgm:pt modelId="{ADB9D5CE-B4B5-4ED8-84C8-C05FE0EDFB70}" type="pres">
      <dgm:prSet presAssocID="{0B0B21DD-9658-4C36-AD67-18D093BB4D09}" presName="connectorText" presStyleLbl="sibTrans2D1" presStyleIdx="3" presStyleCnt="7"/>
      <dgm:spPr/>
    </dgm:pt>
    <dgm:pt modelId="{7B1DCA24-3533-46F5-9135-15BD181E5993}" type="pres">
      <dgm:prSet presAssocID="{488FD084-94F0-47AD-A6E4-57F37B7BE1DD}" presName="node" presStyleLbl="node1" presStyleIdx="3" presStyleCnt="7">
        <dgm:presLayoutVars>
          <dgm:bulletEnabled val="1"/>
        </dgm:presLayoutVars>
      </dgm:prSet>
      <dgm:spPr/>
    </dgm:pt>
    <dgm:pt modelId="{754EE1F2-756D-41E5-9859-AA6CF6AE86B3}" type="pres">
      <dgm:prSet presAssocID="{70BF9EFD-BB1A-4116-8F89-97D64BF7FF80}" presName="parTrans" presStyleLbl="sibTrans2D1" presStyleIdx="4" presStyleCnt="7"/>
      <dgm:spPr/>
    </dgm:pt>
    <dgm:pt modelId="{41BA1B11-79C5-453C-B9C1-7461CB11D600}" type="pres">
      <dgm:prSet presAssocID="{70BF9EFD-BB1A-4116-8F89-97D64BF7FF80}" presName="connectorText" presStyleLbl="sibTrans2D1" presStyleIdx="4" presStyleCnt="7"/>
      <dgm:spPr/>
    </dgm:pt>
    <dgm:pt modelId="{BF70E5A3-C770-4DC4-9149-7F452C154F9C}" type="pres">
      <dgm:prSet presAssocID="{484F9D00-8953-42CC-8751-DCE60E0CF8FD}" presName="node" presStyleLbl="node1" presStyleIdx="4" presStyleCnt="7">
        <dgm:presLayoutVars>
          <dgm:bulletEnabled val="1"/>
        </dgm:presLayoutVars>
      </dgm:prSet>
      <dgm:spPr/>
    </dgm:pt>
    <dgm:pt modelId="{3C3982BA-6C15-496F-80CB-55AEAC159356}" type="pres">
      <dgm:prSet presAssocID="{2B8ADF91-344C-4576-B0A3-519ECD1F60E0}" presName="parTrans" presStyleLbl="sibTrans2D1" presStyleIdx="5" presStyleCnt="7"/>
      <dgm:spPr/>
    </dgm:pt>
    <dgm:pt modelId="{BD456A6A-C4E7-43B8-B5C8-CD25D0410D54}" type="pres">
      <dgm:prSet presAssocID="{2B8ADF91-344C-4576-B0A3-519ECD1F60E0}" presName="connectorText" presStyleLbl="sibTrans2D1" presStyleIdx="5" presStyleCnt="7"/>
      <dgm:spPr/>
    </dgm:pt>
    <dgm:pt modelId="{8F277D05-DEB1-454B-B16A-B94E80ED339F}" type="pres">
      <dgm:prSet presAssocID="{CEF80C07-96C6-4616-837F-D6ACB3AD1056}" presName="node" presStyleLbl="node1" presStyleIdx="5" presStyleCnt="7">
        <dgm:presLayoutVars>
          <dgm:bulletEnabled val="1"/>
        </dgm:presLayoutVars>
      </dgm:prSet>
      <dgm:spPr/>
    </dgm:pt>
    <dgm:pt modelId="{BDC5E7BC-9510-4BFC-B578-3EFD9EC05D59}" type="pres">
      <dgm:prSet presAssocID="{5C6D2CA2-5C78-4FB0-8B7A-2C101FF7FB38}" presName="parTrans" presStyleLbl="sibTrans2D1" presStyleIdx="6" presStyleCnt="7"/>
      <dgm:spPr/>
    </dgm:pt>
    <dgm:pt modelId="{DDD0B1DF-8213-42BB-B925-6340D7C9CA3F}" type="pres">
      <dgm:prSet presAssocID="{5C6D2CA2-5C78-4FB0-8B7A-2C101FF7FB38}" presName="connectorText" presStyleLbl="sibTrans2D1" presStyleIdx="6" presStyleCnt="7"/>
      <dgm:spPr/>
    </dgm:pt>
    <dgm:pt modelId="{7D449939-E8EE-4D3D-A90A-ADCED9FD117C}" type="pres">
      <dgm:prSet presAssocID="{8E9AB3E4-C182-41E4-8A42-21D0C9E22FDE}" presName="node" presStyleLbl="node1" presStyleIdx="6" presStyleCnt="7">
        <dgm:presLayoutVars>
          <dgm:bulletEnabled val="1"/>
        </dgm:presLayoutVars>
      </dgm:prSet>
      <dgm:spPr/>
    </dgm:pt>
  </dgm:ptLst>
  <dgm:cxnLst>
    <dgm:cxn modelId="{871A1001-CDD0-487A-AFF4-61C2D3DCFDB7}" type="presOf" srcId="{375A55EE-2084-4F44-86A1-278EBAE98298}" destId="{AD4265B2-C067-4D64-8696-C08CD5721A83}" srcOrd="0" destOrd="0" presId="urn:microsoft.com/office/officeart/2005/8/layout/radial5"/>
    <dgm:cxn modelId="{1FBB6C08-A48B-4FC4-B345-E88B3FDF63C4}" srcId="{81DCA02E-0165-4095-AE95-676C9EE72B1E}" destId="{662DBB42-6B6F-4E2F-AB5B-47A324B2AF48}" srcOrd="4" destOrd="0" parTransId="{F43DA549-1A8F-401F-8572-DB69220274C1}" sibTransId="{68919ABD-E6B3-4956-B76B-060FFB30411A}"/>
    <dgm:cxn modelId="{405FD408-1793-4ADC-8556-D85401036CE9}" type="presOf" srcId="{B8366EDC-DE56-4185-A1AE-C398FE738053}" destId="{1A0BF95E-8311-4472-9096-905E11661470}" srcOrd="0" destOrd="0" presId="urn:microsoft.com/office/officeart/2005/8/layout/radial5"/>
    <dgm:cxn modelId="{49B9D70C-5ECF-4540-8020-42A7470AADC5}" srcId="{81DCA02E-0165-4095-AE95-676C9EE72B1E}" destId="{ED9A99A8-F10C-4DB6-B920-6F267D331DAC}" srcOrd="3" destOrd="0" parTransId="{93FE06F5-565B-4244-A6F6-10861852EDB3}" sibTransId="{FE4314DF-01A1-497B-9854-5E41800707F2}"/>
    <dgm:cxn modelId="{E5696D11-04F0-423B-9ADE-59079E4BB705}" type="presOf" srcId="{8E9AB3E4-C182-41E4-8A42-21D0C9E22FDE}" destId="{7D449939-E8EE-4D3D-A90A-ADCED9FD117C}" srcOrd="0" destOrd="0" presId="urn:microsoft.com/office/officeart/2005/8/layout/radial5"/>
    <dgm:cxn modelId="{8BDD5311-5488-408E-9A7F-177588965183}" type="presOf" srcId="{2B8ADF91-344C-4576-B0A3-519ECD1F60E0}" destId="{BD456A6A-C4E7-43B8-B5C8-CD25D0410D54}" srcOrd="1" destOrd="0" presId="urn:microsoft.com/office/officeart/2005/8/layout/radial5"/>
    <dgm:cxn modelId="{D4931F15-9B5E-45CA-948A-26A10372689F}" type="presOf" srcId="{488FD084-94F0-47AD-A6E4-57F37B7BE1DD}" destId="{7B1DCA24-3533-46F5-9135-15BD181E5993}" srcOrd="0" destOrd="0" presId="urn:microsoft.com/office/officeart/2005/8/layout/radial5"/>
    <dgm:cxn modelId="{9CB04D2E-9987-48BC-89EB-0FDC0612B1CB}" type="presOf" srcId="{F6894E61-0448-43F1-8D1B-334BDA877CCF}" destId="{11CDC03E-2ABA-4E51-82C8-4601791B6313}" srcOrd="0" destOrd="0" presId="urn:microsoft.com/office/officeart/2005/8/layout/radial5"/>
    <dgm:cxn modelId="{38A2A430-0E91-4623-9257-24954D846D03}" srcId="{32DEE43A-8EEB-4806-831E-1BA4DF2E3026}" destId="{488FD084-94F0-47AD-A6E4-57F37B7BE1DD}" srcOrd="3" destOrd="0" parTransId="{0B0B21DD-9658-4C36-AD67-18D093BB4D09}" sibTransId="{2AAC37E5-09C4-4A39-962C-357990872271}"/>
    <dgm:cxn modelId="{2093EA34-9302-4898-862E-E592C0C7E0DC}" type="presOf" srcId="{484F9D00-8953-42CC-8751-DCE60E0CF8FD}" destId="{BF70E5A3-C770-4DC4-9149-7F452C154F9C}" srcOrd="0" destOrd="0" presId="urn:microsoft.com/office/officeart/2005/8/layout/radial5"/>
    <dgm:cxn modelId="{A8017F39-8C71-46AF-936D-4CDF7498B642}" type="presOf" srcId="{0B0B21DD-9658-4C36-AD67-18D093BB4D09}" destId="{E6F92E13-8ABA-4AF1-B034-CA183BD8D98F}" srcOrd="0" destOrd="0" presId="urn:microsoft.com/office/officeart/2005/8/layout/radial5"/>
    <dgm:cxn modelId="{A747215B-7E99-4E18-AFAF-AB4C896248ED}" type="presOf" srcId="{5C6D2CA2-5C78-4FB0-8B7A-2C101FF7FB38}" destId="{DDD0B1DF-8213-42BB-B925-6340D7C9CA3F}" srcOrd="1" destOrd="0" presId="urn:microsoft.com/office/officeart/2005/8/layout/radial5"/>
    <dgm:cxn modelId="{B572705C-D413-452B-8085-F26D18DB379D}" srcId="{32DEE43A-8EEB-4806-831E-1BA4DF2E3026}" destId="{484F9D00-8953-42CC-8751-DCE60E0CF8FD}" srcOrd="4" destOrd="0" parTransId="{70BF9EFD-BB1A-4116-8F89-97D64BF7FF80}" sibTransId="{D171A26B-FA57-47DD-9CA8-A32983FDBC34}"/>
    <dgm:cxn modelId="{9EE9BD5F-8042-4F28-8EA7-E4BD336CD48D}" type="presOf" srcId="{32DEE43A-8EEB-4806-831E-1BA4DF2E3026}" destId="{BE0F088B-7D6A-41E6-AA5F-522B40C2E799}" srcOrd="0" destOrd="0" presId="urn:microsoft.com/office/officeart/2005/8/layout/radial5"/>
    <dgm:cxn modelId="{4D8AEC5F-65FD-4A1B-A806-AF059E7D95B3}" type="presOf" srcId="{F8CCFD6D-B15B-4676-B256-1E5AC16D3705}" destId="{17DF0E16-DBBE-4794-A774-6676F3A61159}" srcOrd="1" destOrd="0" presId="urn:microsoft.com/office/officeart/2005/8/layout/radial5"/>
    <dgm:cxn modelId="{EF44C763-6B3F-4068-8A74-D8F5965C1BA2}" type="presOf" srcId="{A6000F25-A22D-450D-A628-6F7A86291750}" destId="{C5221945-F6FB-4329-8B7A-F55FB1D88095}" srcOrd="0" destOrd="0" presId="urn:microsoft.com/office/officeart/2005/8/layout/radial5"/>
    <dgm:cxn modelId="{95D1EF50-B1FB-4FBD-8FB1-11E56D4F6624}" type="presOf" srcId="{AE42D04C-972D-46DF-B355-E28B275E8EC0}" destId="{042B56DB-3831-42CA-B43A-E0BD0427B166}" srcOrd="0" destOrd="0" presId="urn:microsoft.com/office/officeart/2005/8/layout/radial5"/>
    <dgm:cxn modelId="{4E102E51-DE69-4638-B028-C04F2DE7E10F}" srcId="{32DEE43A-8EEB-4806-831E-1BA4DF2E3026}" destId="{AE42D04C-972D-46DF-B355-E28B275E8EC0}" srcOrd="1" destOrd="0" parTransId="{F8CCFD6D-B15B-4676-B256-1E5AC16D3705}" sibTransId="{0B648696-170B-41BF-9DB7-77E676633E6A}"/>
    <dgm:cxn modelId="{4DD66F81-9D79-4026-B775-863F397BEA6C}" type="presOf" srcId="{F8CCFD6D-B15B-4676-B256-1E5AC16D3705}" destId="{746AFD0D-8830-4F5C-8CF8-4ACA24641F06}" srcOrd="0" destOrd="0" presId="urn:microsoft.com/office/officeart/2005/8/layout/radial5"/>
    <dgm:cxn modelId="{47D95C88-0D94-4289-BAA7-AB7C000E42B3}" type="presOf" srcId="{70BF9EFD-BB1A-4116-8F89-97D64BF7FF80}" destId="{754EE1F2-756D-41E5-9859-AA6CF6AE86B3}" srcOrd="0" destOrd="0" presId="urn:microsoft.com/office/officeart/2005/8/layout/radial5"/>
    <dgm:cxn modelId="{324E9393-096D-409C-84B4-A4E6FF243563}" type="presOf" srcId="{81DCA02E-0165-4095-AE95-676C9EE72B1E}" destId="{82748199-610F-41F5-A155-F7881A378B72}" srcOrd="0" destOrd="0" presId="urn:microsoft.com/office/officeart/2005/8/layout/radial5"/>
    <dgm:cxn modelId="{01979199-91BF-4713-B024-63755989C240}" srcId="{32DEE43A-8EEB-4806-831E-1BA4DF2E3026}" destId="{375A55EE-2084-4F44-86A1-278EBAE98298}" srcOrd="2" destOrd="0" parTransId="{A6000F25-A22D-450D-A628-6F7A86291750}" sibTransId="{41AC60C2-837C-478A-ACF0-77E9965D94C5}"/>
    <dgm:cxn modelId="{C5FFBBA4-D67D-486D-89B5-D951A7C644C4}" type="presOf" srcId="{F6894E61-0448-43F1-8D1B-334BDA877CCF}" destId="{1D379FAC-4781-4ACB-8670-A67FDB43380E}" srcOrd="1" destOrd="0" presId="urn:microsoft.com/office/officeart/2005/8/layout/radial5"/>
    <dgm:cxn modelId="{A1109CA7-2103-4F61-83FE-69B83DC145B8}" type="presOf" srcId="{CEF80C07-96C6-4616-837F-D6ACB3AD1056}" destId="{8F277D05-DEB1-454B-B16A-B94E80ED339F}" srcOrd="0" destOrd="0" presId="urn:microsoft.com/office/officeart/2005/8/layout/radial5"/>
    <dgm:cxn modelId="{01AE6DAF-CB1A-483A-8D54-6ED47EE232B8}" srcId="{32DEE43A-8EEB-4806-831E-1BA4DF2E3026}" destId="{8E9AB3E4-C182-41E4-8A42-21D0C9E22FDE}" srcOrd="6" destOrd="0" parTransId="{5C6D2CA2-5C78-4FB0-8B7A-2C101FF7FB38}" sibTransId="{9F363E5E-2179-407E-80D6-403875C3428E}"/>
    <dgm:cxn modelId="{DE8D72B9-8AA6-4013-9135-6BA6643989DE}" type="presOf" srcId="{70BF9EFD-BB1A-4116-8F89-97D64BF7FF80}" destId="{41BA1B11-79C5-453C-B9C1-7461CB11D600}" srcOrd="1" destOrd="0" presId="urn:microsoft.com/office/officeart/2005/8/layout/radial5"/>
    <dgm:cxn modelId="{1DDCD6D9-D973-46A0-AEB8-63BF119A3154}" srcId="{81DCA02E-0165-4095-AE95-676C9EE72B1E}" destId="{32DEE43A-8EEB-4806-831E-1BA4DF2E3026}" srcOrd="0" destOrd="0" parTransId="{54180405-CD94-4527-89A4-7D7A063D5400}" sibTransId="{2D47B347-240C-4D17-B5D5-A106158EFF99}"/>
    <dgm:cxn modelId="{A2E118DE-8357-4C6E-956E-0EFFBCA0C244}" srcId="{81DCA02E-0165-4095-AE95-676C9EE72B1E}" destId="{EB540262-1C5D-4E58-B409-F0968D7C8705}" srcOrd="1" destOrd="0" parTransId="{3419C81A-AE89-43F5-ADA8-59CE1EF8B6CD}" sibTransId="{7E0EBF3D-F4B6-43EA-99AC-04EBF5B764B5}"/>
    <dgm:cxn modelId="{94C286E2-99DF-49A8-A81C-579657F253B4}" type="presOf" srcId="{2B8ADF91-344C-4576-B0A3-519ECD1F60E0}" destId="{3C3982BA-6C15-496F-80CB-55AEAC159356}" srcOrd="0" destOrd="0" presId="urn:microsoft.com/office/officeart/2005/8/layout/radial5"/>
    <dgm:cxn modelId="{023CDCE2-900B-432D-B880-730909B40A0E}" srcId="{32DEE43A-8EEB-4806-831E-1BA4DF2E3026}" destId="{CEF80C07-96C6-4616-837F-D6ACB3AD1056}" srcOrd="5" destOrd="0" parTransId="{2B8ADF91-344C-4576-B0A3-519ECD1F60E0}" sibTransId="{FB958B0E-6463-4179-A0E8-AD9D9F1457C2}"/>
    <dgm:cxn modelId="{EBF33CEE-716B-4C74-82A3-00E2C1E046B8}" type="presOf" srcId="{5C6D2CA2-5C78-4FB0-8B7A-2C101FF7FB38}" destId="{BDC5E7BC-9510-4BFC-B578-3EFD9EC05D59}" srcOrd="0" destOrd="0" presId="urn:microsoft.com/office/officeart/2005/8/layout/radial5"/>
    <dgm:cxn modelId="{E76846F8-F9FA-450D-A6D5-3964CBA901A8}" srcId="{81DCA02E-0165-4095-AE95-676C9EE72B1E}" destId="{7C802D4A-6598-49C9-B9D5-F0CCA5A045BB}" srcOrd="2" destOrd="0" parTransId="{603394FA-4782-4F48-890A-D7B5FEF8AC14}" sibTransId="{45FBD15D-2A2A-4A5C-A4B2-A8BB893929CE}"/>
    <dgm:cxn modelId="{3206B5F8-A917-4B1A-91D9-86C15738AC84}" type="presOf" srcId="{0B0B21DD-9658-4C36-AD67-18D093BB4D09}" destId="{ADB9D5CE-B4B5-4ED8-84C8-C05FE0EDFB70}" srcOrd="1" destOrd="0" presId="urn:microsoft.com/office/officeart/2005/8/layout/radial5"/>
    <dgm:cxn modelId="{688FF2FC-785E-47B9-936A-E23DA95DA77C}" srcId="{32DEE43A-8EEB-4806-831E-1BA4DF2E3026}" destId="{B8366EDC-DE56-4185-A1AE-C398FE738053}" srcOrd="0" destOrd="0" parTransId="{F6894E61-0448-43F1-8D1B-334BDA877CCF}" sibTransId="{6F304B56-F310-4959-8D77-E3A2E4CC0F1D}"/>
    <dgm:cxn modelId="{E3269AFD-5DD1-4CF1-AA1D-481543F23099}" type="presOf" srcId="{A6000F25-A22D-450D-A628-6F7A86291750}" destId="{BAFBD027-3524-46EC-ACFF-95CBCD19E467}" srcOrd="1" destOrd="0" presId="urn:microsoft.com/office/officeart/2005/8/layout/radial5"/>
    <dgm:cxn modelId="{0BD79FB5-E5E0-471B-AA4D-EB8B166C3064}" type="presParOf" srcId="{82748199-610F-41F5-A155-F7881A378B72}" destId="{BE0F088B-7D6A-41E6-AA5F-522B40C2E799}" srcOrd="0" destOrd="0" presId="urn:microsoft.com/office/officeart/2005/8/layout/radial5"/>
    <dgm:cxn modelId="{91146389-AB12-48DB-ABEC-14B27EBEAE38}" type="presParOf" srcId="{82748199-610F-41F5-A155-F7881A378B72}" destId="{11CDC03E-2ABA-4E51-82C8-4601791B6313}" srcOrd="1" destOrd="0" presId="urn:microsoft.com/office/officeart/2005/8/layout/radial5"/>
    <dgm:cxn modelId="{5B808EEF-96A4-4841-8494-5E939D9DC522}" type="presParOf" srcId="{11CDC03E-2ABA-4E51-82C8-4601791B6313}" destId="{1D379FAC-4781-4ACB-8670-A67FDB43380E}" srcOrd="0" destOrd="0" presId="urn:microsoft.com/office/officeart/2005/8/layout/radial5"/>
    <dgm:cxn modelId="{CFDF7700-8580-4C5A-9681-6006F82825D6}" type="presParOf" srcId="{82748199-610F-41F5-A155-F7881A378B72}" destId="{1A0BF95E-8311-4472-9096-905E11661470}" srcOrd="2" destOrd="0" presId="urn:microsoft.com/office/officeart/2005/8/layout/radial5"/>
    <dgm:cxn modelId="{592F31C1-81FE-4061-B264-0BC15655093B}" type="presParOf" srcId="{82748199-610F-41F5-A155-F7881A378B72}" destId="{746AFD0D-8830-4F5C-8CF8-4ACA24641F06}" srcOrd="3" destOrd="0" presId="urn:microsoft.com/office/officeart/2005/8/layout/radial5"/>
    <dgm:cxn modelId="{EBC8D296-2073-4982-93CB-804BEC718C8A}" type="presParOf" srcId="{746AFD0D-8830-4F5C-8CF8-4ACA24641F06}" destId="{17DF0E16-DBBE-4794-A774-6676F3A61159}" srcOrd="0" destOrd="0" presId="urn:microsoft.com/office/officeart/2005/8/layout/radial5"/>
    <dgm:cxn modelId="{D72FAEA6-8681-49E7-B99D-24928837A3A8}" type="presParOf" srcId="{82748199-610F-41F5-A155-F7881A378B72}" destId="{042B56DB-3831-42CA-B43A-E0BD0427B166}" srcOrd="4" destOrd="0" presId="urn:microsoft.com/office/officeart/2005/8/layout/radial5"/>
    <dgm:cxn modelId="{4D9567BE-0648-4912-98F1-41750DB3AEE8}" type="presParOf" srcId="{82748199-610F-41F5-A155-F7881A378B72}" destId="{C5221945-F6FB-4329-8B7A-F55FB1D88095}" srcOrd="5" destOrd="0" presId="urn:microsoft.com/office/officeart/2005/8/layout/radial5"/>
    <dgm:cxn modelId="{9C0BB513-B7B8-49FD-B993-D3809C213947}" type="presParOf" srcId="{C5221945-F6FB-4329-8B7A-F55FB1D88095}" destId="{BAFBD027-3524-46EC-ACFF-95CBCD19E467}" srcOrd="0" destOrd="0" presId="urn:microsoft.com/office/officeart/2005/8/layout/radial5"/>
    <dgm:cxn modelId="{389C8EAD-73E5-4700-BEBE-29B07975A653}" type="presParOf" srcId="{82748199-610F-41F5-A155-F7881A378B72}" destId="{AD4265B2-C067-4D64-8696-C08CD5721A83}" srcOrd="6" destOrd="0" presId="urn:microsoft.com/office/officeart/2005/8/layout/radial5"/>
    <dgm:cxn modelId="{680578FA-08E9-4C2A-8445-48CAB725ACEC}" type="presParOf" srcId="{82748199-610F-41F5-A155-F7881A378B72}" destId="{E6F92E13-8ABA-4AF1-B034-CA183BD8D98F}" srcOrd="7" destOrd="0" presId="urn:microsoft.com/office/officeart/2005/8/layout/radial5"/>
    <dgm:cxn modelId="{44D8E006-29BC-441C-851F-30AF2A63F970}" type="presParOf" srcId="{E6F92E13-8ABA-4AF1-B034-CA183BD8D98F}" destId="{ADB9D5CE-B4B5-4ED8-84C8-C05FE0EDFB70}" srcOrd="0" destOrd="0" presId="urn:microsoft.com/office/officeart/2005/8/layout/radial5"/>
    <dgm:cxn modelId="{4DD96004-39B3-4705-8E30-FB2C08E43997}" type="presParOf" srcId="{82748199-610F-41F5-A155-F7881A378B72}" destId="{7B1DCA24-3533-46F5-9135-15BD181E5993}" srcOrd="8" destOrd="0" presId="urn:microsoft.com/office/officeart/2005/8/layout/radial5"/>
    <dgm:cxn modelId="{45DE6B0C-74E3-49A8-A4E9-BEB4C4C856C4}" type="presParOf" srcId="{82748199-610F-41F5-A155-F7881A378B72}" destId="{754EE1F2-756D-41E5-9859-AA6CF6AE86B3}" srcOrd="9" destOrd="0" presId="urn:microsoft.com/office/officeart/2005/8/layout/radial5"/>
    <dgm:cxn modelId="{AB67F064-B437-4FCE-9275-C0D356F77675}" type="presParOf" srcId="{754EE1F2-756D-41E5-9859-AA6CF6AE86B3}" destId="{41BA1B11-79C5-453C-B9C1-7461CB11D600}" srcOrd="0" destOrd="0" presId="urn:microsoft.com/office/officeart/2005/8/layout/radial5"/>
    <dgm:cxn modelId="{D4CCFCED-F5D2-484E-B742-05CDCB6A396A}" type="presParOf" srcId="{82748199-610F-41F5-A155-F7881A378B72}" destId="{BF70E5A3-C770-4DC4-9149-7F452C154F9C}" srcOrd="10" destOrd="0" presId="urn:microsoft.com/office/officeart/2005/8/layout/radial5"/>
    <dgm:cxn modelId="{3E737B94-9643-46AD-B277-0BDF44F4BD03}" type="presParOf" srcId="{82748199-610F-41F5-A155-F7881A378B72}" destId="{3C3982BA-6C15-496F-80CB-55AEAC159356}" srcOrd="11" destOrd="0" presId="urn:microsoft.com/office/officeart/2005/8/layout/radial5"/>
    <dgm:cxn modelId="{D074E1A7-0BC1-471C-9A89-F695BE770E42}" type="presParOf" srcId="{3C3982BA-6C15-496F-80CB-55AEAC159356}" destId="{BD456A6A-C4E7-43B8-B5C8-CD25D0410D54}" srcOrd="0" destOrd="0" presId="urn:microsoft.com/office/officeart/2005/8/layout/radial5"/>
    <dgm:cxn modelId="{FCC9CC7C-5850-4499-B915-2A690D9B8C4C}" type="presParOf" srcId="{82748199-610F-41F5-A155-F7881A378B72}" destId="{8F277D05-DEB1-454B-B16A-B94E80ED339F}" srcOrd="12" destOrd="0" presId="urn:microsoft.com/office/officeart/2005/8/layout/radial5"/>
    <dgm:cxn modelId="{BDCA2851-1835-47BD-810B-3B101647E5F6}" type="presParOf" srcId="{82748199-610F-41F5-A155-F7881A378B72}" destId="{BDC5E7BC-9510-4BFC-B578-3EFD9EC05D59}" srcOrd="13" destOrd="0" presId="urn:microsoft.com/office/officeart/2005/8/layout/radial5"/>
    <dgm:cxn modelId="{6279384B-5122-4A5B-80B4-E1743741BB57}" type="presParOf" srcId="{BDC5E7BC-9510-4BFC-B578-3EFD9EC05D59}" destId="{DDD0B1DF-8213-42BB-B925-6340D7C9CA3F}" srcOrd="0" destOrd="0" presId="urn:microsoft.com/office/officeart/2005/8/layout/radial5"/>
    <dgm:cxn modelId="{0797ABAE-A2E3-4A3C-9947-A5109FDFF793}" type="presParOf" srcId="{82748199-610F-41F5-A155-F7881A378B72}" destId="{7D449939-E8EE-4D3D-A90A-ADCED9FD117C}" srcOrd="14" destOrd="0" presId="urn:microsoft.com/office/officeart/2005/8/layout/radial5"/>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8EC05E30-2B6B-403D-9C30-025BAA3D3886}" type="doc">
      <dgm:prSet loTypeId="urn:microsoft.com/office/officeart/2005/8/layout/cycle4" loCatId="matrix" qsTypeId="urn:microsoft.com/office/officeart/2005/8/quickstyle/simple1" qsCatId="simple" csTypeId="urn:microsoft.com/office/officeart/2005/8/colors/colorful2" csCatId="colorful"/>
      <dgm:spPr/>
      <dgm:t>
        <a:bodyPr/>
        <a:lstStyle/>
        <a:p>
          <a:endParaRPr lang="en-US"/>
        </a:p>
      </dgm:t>
    </dgm:pt>
    <dgm:pt modelId="{27EBC0F2-CF98-4584-B7AB-5598A980F3A9}">
      <dgm:prSet/>
      <dgm:spPr/>
      <dgm:t>
        <a:bodyPr/>
        <a:lstStyle/>
        <a:p>
          <a:r>
            <a:t>Ankara, sıkışıklık, hava kirliliği ve yetersiz ulaşım altyapısı gibi çeşitli ulaşım zorluklarıyla karşı karşıya.</a:t>
          </a:r>
        </a:p>
      </dgm:t>
    </dgm:pt>
    <dgm:pt modelId="{BD345FDB-CCD6-4A11-98D9-5D48EE8F06DD}" type="parTrans" cxnId="{68669924-9EE8-4094-A65B-B0402F10438E}">
      <dgm:prSet/>
      <dgm:spPr/>
      <dgm:t>
        <a:bodyPr/>
        <a:lstStyle/>
        <a:p>
          <a:endParaRPr lang="en-US"/>
        </a:p>
      </dgm:t>
    </dgm:pt>
    <dgm:pt modelId="{DC999868-9AE3-4946-9931-9351F5A8A1E5}" type="sibTrans" cxnId="{68669924-9EE8-4094-A65B-B0402F10438E}">
      <dgm:prSet/>
      <dgm:spPr/>
      <dgm:t>
        <a:bodyPr/>
        <a:lstStyle/>
        <a:p>
          <a:endParaRPr lang="en-US"/>
        </a:p>
      </dgm:t>
    </dgm:pt>
    <dgm:pt modelId="{269D6255-C4EC-412C-ADF6-2FB38934123C}">
      <dgm:prSet/>
      <dgm:spPr/>
      <dgm:t>
        <a:bodyPr/>
        <a:lstStyle/>
        <a:p>
          <a:r>
            <a:t>Ankara'daki şehir lojistiği, yetersiz ulaşım modları, yetersiz lojistik tesisleri ve e - ticaret teslimatlarına artan talep gibi çeşitli zorluklarla karşı karşıya.</a:t>
          </a:r>
        </a:p>
      </dgm:t>
    </dgm:pt>
    <dgm:pt modelId="{8FA45C6F-FD5A-4A4E-9F10-1B1941EF2ED2}" type="parTrans" cxnId="{5FFBEDA8-4576-446E-89B6-D20DF016A858}">
      <dgm:prSet/>
      <dgm:spPr/>
      <dgm:t>
        <a:bodyPr/>
        <a:lstStyle/>
        <a:p>
          <a:endParaRPr lang="en-US"/>
        </a:p>
      </dgm:t>
    </dgm:pt>
    <dgm:pt modelId="{27D18308-1674-499E-B244-09245968F7C4}" type="sibTrans" cxnId="{5FFBEDA8-4576-446E-89B6-D20DF016A858}">
      <dgm:prSet/>
      <dgm:spPr/>
      <dgm:t>
        <a:bodyPr/>
        <a:lstStyle/>
        <a:p>
          <a:endParaRPr lang="en-US"/>
        </a:p>
      </dgm:t>
    </dgm:pt>
    <dgm:pt modelId="{8515A6AD-DAF8-4073-8FA0-457CAD589562}">
      <dgm:prSet/>
      <dgm:spPr/>
      <dgm:t>
        <a:bodyPr/>
        <a:lstStyle/>
        <a:p>
          <a:r>
            <a:rPr dirty="0"/>
            <a:t>Ankara </a:t>
          </a:r>
          <a:r>
            <a:rPr dirty="0" err="1"/>
            <a:t>Büyükşehir</a:t>
          </a:r>
          <a:r>
            <a:rPr dirty="0"/>
            <a:t> </a:t>
          </a:r>
          <a:r>
            <a:rPr dirty="0" err="1"/>
            <a:t>Belediyesi</a:t>
          </a:r>
          <a:r>
            <a:rPr dirty="0"/>
            <a:t>, </a:t>
          </a:r>
          <a:r>
            <a:rPr dirty="0" err="1"/>
            <a:t>lojistik</a:t>
          </a:r>
          <a:r>
            <a:rPr dirty="0"/>
            <a:t> </a:t>
          </a:r>
          <a:r>
            <a:rPr dirty="0" err="1"/>
            <a:t>merkezlerin</a:t>
          </a:r>
          <a:r>
            <a:rPr dirty="0"/>
            <a:t> </a:t>
          </a:r>
          <a:r>
            <a:rPr dirty="0" err="1"/>
            <a:t>kurulması</a:t>
          </a:r>
          <a:r>
            <a:rPr dirty="0"/>
            <a:t>, </a:t>
          </a:r>
          <a:r>
            <a:rPr dirty="0" err="1"/>
            <a:t>sürdürülebilir</a:t>
          </a:r>
          <a:r>
            <a:rPr dirty="0"/>
            <a:t> </a:t>
          </a:r>
          <a:r>
            <a:rPr dirty="0" err="1"/>
            <a:t>ulaşım</a:t>
          </a:r>
          <a:r>
            <a:rPr dirty="0"/>
            <a:t> </a:t>
          </a:r>
          <a:r>
            <a:rPr dirty="0" err="1"/>
            <a:t>modlarının</a:t>
          </a:r>
          <a:r>
            <a:rPr dirty="0"/>
            <a:t> </a:t>
          </a:r>
          <a:r>
            <a:rPr dirty="0" err="1"/>
            <a:t>teşvik</a:t>
          </a:r>
          <a:r>
            <a:rPr dirty="0"/>
            <a:t> </a:t>
          </a:r>
          <a:r>
            <a:rPr dirty="0" err="1"/>
            <a:t>edilmesi</a:t>
          </a:r>
          <a:r>
            <a:rPr dirty="0"/>
            <a:t> </a:t>
          </a:r>
          <a:r>
            <a:rPr dirty="0" err="1"/>
            <a:t>ve</a:t>
          </a:r>
          <a:r>
            <a:rPr dirty="0"/>
            <a:t> </a:t>
          </a:r>
          <a:r>
            <a:rPr dirty="0" err="1"/>
            <a:t>şehir</a:t>
          </a:r>
          <a:r>
            <a:rPr dirty="0"/>
            <a:t> </a:t>
          </a:r>
          <a:r>
            <a:rPr dirty="0" err="1"/>
            <a:t>lojistiğinin</a:t>
          </a:r>
          <a:r>
            <a:rPr dirty="0"/>
            <a:t> </a:t>
          </a:r>
          <a:r>
            <a:rPr dirty="0" err="1"/>
            <a:t>şehir</a:t>
          </a:r>
          <a:r>
            <a:rPr dirty="0"/>
            <a:t> </a:t>
          </a:r>
          <a:r>
            <a:rPr dirty="0" err="1"/>
            <a:t>planlaması</a:t>
          </a:r>
          <a:r>
            <a:rPr dirty="0"/>
            <a:t> </a:t>
          </a:r>
          <a:r>
            <a:rPr dirty="0" err="1"/>
            <a:t>ile</a:t>
          </a:r>
          <a:r>
            <a:rPr dirty="0"/>
            <a:t> </a:t>
          </a:r>
          <a:r>
            <a:rPr dirty="0" err="1"/>
            <a:t>entegrasyonu</a:t>
          </a:r>
          <a:r>
            <a:rPr dirty="0"/>
            <a:t> </a:t>
          </a:r>
          <a:r>
            <a:rPr dirty="0" err="1"/>
            <a:t>dahil</a:t>
          </a:r>
          <a:r>
            <a:rPr dirty="0"/>
            <a:t> </a:t>
          </a:r>
          <a:r>
            <a:rPr dirty="0" err="1"/>
            <a:t>olmak</a:t>
          </a:r>
          <a:r>
            <a:rPr dirty="0"/>
            <a:t> </a:t>
          </a:r>
          <a:r>
            <a:rPr dirty="0" err="1"/>
            <a:t>üzere</a:t>
          </a:r>
          <a:r>
            <a:rPr dirty="0"/>
            <a:t> </a:t>
          </a:r>
          <a:r>
            <a:rPr dirty="0" err="1"/>
            <a:t>şehir</a:t>
          </a:r>
          <a:r>
            <a:rPr dirty="0"/>
            <a:t> </a:t>
          </a:r>
          <a:r>
            <a:rPr dirty="0" err="1"/>
            <a:t>lojistiğini</a:t>
          </a:r>
          <a:r>
            <a:rPr dirty="0"/>
            <a:t> </a:t>
          </a:r>
          <a:r>
            <a:rPr dirty="0" err="1"/>
            <a:t>geliştirmek</a:t>
          </a:r>
          <a:r>
            <a:rPr dirty="0"/>
            <a:t> </a:t>
          </a:r>
          <a:r>
            <a:rPr dirty="0" err="1"/>
            <a:t>için</a:t>
          </a:r>
          <a:r>
            <a:rPr dirty="0"/>
            <a:t> </a:t>
          </a:r>
          <a:r>
            <a:rPr dirty="0" err="1"/>
            <a:t>çeşitli</a:t>
          </a:r>
          <a:r>
            <a:rPr dirty="0"/>
            <a:t> </a:t>
          </a:r>
          <a:r>
            <a:rPr dirty="0" err="1"/>
            <a:t>girişimlerde</a:t>
          </a:r>
          <a:r>
            <a:rPr dirty="0"/>
            <a:t> </a:t>
          </a:r>
          <a:r>
            <a:rPr dirty="0" err="1"/>
            <a:t>bulunmuştur</a:t>
          </a:r>
          <a:r>
            <a:rPr dirty="0"/>
            <a:t>.</a:t>
          </a:r>
        </a:p>
      </dgm:t>
    </dgm:pt>
    <dgm:pt modelId="{EC9A99B1-BB4C-4FA5-B169-624DDE97CB7F}" type="parTrans" cxnId="{8757CA01-4387-43F9-B470-2E92EF494131}">
      <dgm:prSet/>
      <dgm:spPr/>
      <dgm:t>
        <a:bodyPr/>
        <a:lstStyle/>
        <a:p>
          <a:endParaRPr lang="en-US"/>
        </a:p>
      </dgm:t>
    </dgm:pt>
    <dgm:pt modelId="{31CFC770-D64D-4241-BDBA-F2C4EA3E90EB}" type="sibTrans" cxnId="{8757CA01-4387-43F9-B470-2E92EF494131}">
      <dgm:prSet/>
      <dgm:spPr/>
      <dgm:t>
        <a:bodyPr/>
        <a:lstStyle/>
        <a:p>
          <a:endParaRPr lang="en-US"/>
        </a:p>
      </dgm:t>
    </dgm:pt>
    <dgm:pt modelId="{F10EBCAD-35E4-4C39-AD51-A92C5570EF5C}">
      <dgm:prSet/>
      <dgm:spPr/>
      <dgm:t>
        <a:bodyPr/>
        <a:lstStyle/>
        <a:p>
          <a:r>
            <a:rPr dirty="0" err="1"/>
            <a:t>Şehir</a:t>
          </a:r>
          <a:r>
            <a:rPr dirty="0"/>
            <a:t> </a:t>
          </a:r>
          <a:r>
            <a:rPr dirty="0" err="1"/>
            <a:t>lojistiği</a:t>
          </a:r>
          <a:r>
            <a:rPr dirty="0"/>
            <a:t>, </a:t>
          </a:r>
          <a:r>
            <a:rPr dirty="0" err="1"/>
            <a:t>ulaşım</a:t>
          </a:r>
          <a:r>
            <a:rPr dirty="0"/>
            <a:t> </a:t>
          </a:r>
          <a:r>
            <a:rPr dirty="0" err="1"/>
            <a:t>verimliliğini</a:t>
          </a:r>
          <a:r>
            <a:rPr dirty="0"/>
            <a:t> </a:t>
          </a:r>
          <a:r>
            <a:rPr dirty="0" err="1"/>
            <a:t>artırarak</a:t>
          </a:r>
          <a:r>
            <a:rPr dirty="0"/>
            <a:t>, </a:t>
          </a:r>
          <a:r>
            <a:rPr dirty="0" err="1"/>
            <a:t>ulaşımla</a:t>
          </a:r>
          <a:r>
            <a:rPr dirty="0"/>
            <a:t> </a:t>
          </a:r>
          <a:r>
            <a:rPr dirty="0" err="1"/>
            <a:t>ilgili</a:t>
          </a:r>
          <a:r>
            <a:rPr dirty="0"/>
            <a:t> </a:t>
          </a:r>
          <a:r>
            <a:rPr dirty="0" err="1"/>
            <a:t>dışsallıkları</a:t>
          </a:r>
          <a:r>
            <a:rPr dirty="0"/>
            <a:t> </a:t>
          </a:r>
          <a:r>
            <a:rPr dirty="0" err="1"/>
            <a:t>azaltarak</a:t>
          </a:r>
          <a:r>
            <a:rPr dirty="0"/>
            <a:t> </a:t>
          </a:r>
          <a:r>
            <a:rPr dirty="0" err="1"/>
            <a:t>ve</a:t>
          </a:r>
          <a:r>
            <a:rPr dirty="0"/>
            <a:t> </a:t>
          </a:r>
          <a:r>
            <a:rPr dirty="0" err="1"/>
            <a:t>kentsel</a:t>
          </a:r>
          <a:r>
            <a:rPr dirty="0"/>
            <a:t> </a:t>
          </a:r>
          <a:r>
            <a:rPr dirty="0" err="1"/>
            <a:t>erişilebilirliği</a:t>
          </a:r>
          <a:r>
            <a:rPr dirty="0"/>
            <a:t> </a:t>
          </a:r>
          <a:r>
            <a:rPr dirty="0" err="1"/>
            <a:t>artırarak</a:t>
          </a:r>
          <a:r>
            <a:rPr dirty="0"/>
            <a:t> </a:t>
          </a:r>
          <a:r>
            <a:rPr dirty="0" err="1"/>
            <a:t>Ankara'da</a:t>
          </a:r>
          <a:r>
            <a:rPr dirty="0"/>
            <a:t> </a:t>
          </a:r>
          <a:r>
            <a:rPr dirty="0" err="1"/>
            <a:t>ekonomik</a:t>
          </a:r>
          <a:r>
            <a:rPr dirty="0"/>
            <a:t> </a:t>
          </a:r>
          <a:r>
            <a:rPr dirty="0" err="1"/>
            <a:t>kalkınmanın</a:t>
          </a:r>
          <a:r>
            <a:rPr dirty="0"/>
            <a:t> </a:t>
          </a:r>
          <a:r>
            <a:rPr dirty="0" err="1"/>
            <a:t>ve</a:t>
          </a:r>
          <a:r>
            <a:rPr dirty="0"/>
            <a:t> </a:t>
          </a:r>
          <a:r>
            <a:rPr dirty="0" err="1"/>
            <a:t>sürdürülebilirliğin</a:t>
          </a:r>
          <a:r>
            <a:rPr dirty="0"/>
            <a:t> </a:t>
          </a:r>
          <a:r>
            <a:rPr dirty="0" err="1"/>
            <a:t>desteklenmesinde</a:t>
          </a:r>
          <a:r>
            <a:rPr dirty="0"/>
            <a:t> </a:t>
          </a:r>
          <a:r>
            <a:rPr dirty="0" err="1"/>
            <a:t>çok</a:t>
          </a:r>
          <a:r>
            <a:rPr dirty="0"/>
            <a:t> </a:t>
          </a:r>
          <a:r>
            <a:rPr dirty="0" err="1"/>
            <a:t>önemli</a:t>
          </a:r>
          <a:r>
            <a:rPr dirty="0"/>
            <a:t> </a:t>
          </a:r>
          <a:r>
            <a:rPr dirty="0" err="1"/>
            <a:t>bir</a:t>
          </a:r>
          <a:r>
            <a:rPr dirty="0"/>
            <a:t> </a:t>
          </a:r>
          <a:r>
            <a:rPr dirty="0" err="1"/>
            <a:t>rol</a:t>
          </a:r>
          <a:r>
            <a:rPr dirty="0"/>
            <a:t> </a:t>
          </a:r>
          <a:r>
            <a:rPr dirty="0" err="1"/>
            <a:t>oynamaktadır</a:t>
          </a:r>
          <a:r>
            <a:rPr dirty="0"/>
            <a:t>.</a:t>
          </a:r>
        </a:p>
      </dgm:t>
    </dgm:pt>
    <dgm:pt modelId="{B36314FE-E275-4056-9AD6-157CFB0BFFBF}" type="parTrans" cxnId="{30E68683-649D-48B7-9089-A3E738E40C98}">
      <dgm:prSet/>
      <dgm:spPr/>
      <dgm:t>
        <a:bodyPr/>
        <a:lstStyle/>
        <a:p>
          <a:endParaRPr lang="en-US"/>
        </a:p>
      </dgm:t>
    </dgm:pt>
    <dgm:pt modelId="{15B904A2-430A-4AD6-BCF9-EBFED1759AC3}" type="sibTrans" cxnId="{30E68683-649D-48B7-9089-A3E738E40C98}">
      <dgm:prSet/>
      <dgm:spPr/>
      <dgm:t>
        <a:bodyPr/>
        <a:lstStyle/>
        <a:p>
          <a:endParaRPr lang="en-US"/>
        </a:p>
      </dgm:t>
    </dgm:pt>
    <dgm:pt modelId="{DDECF959-3301-498D-BA7C-5F5CEF425588}" type="pres">
      <dgm:prSet presAssocID="{8EC05E30-2B6B-403D-9C30-025BAA3D3886}" presName="cycleMatrixDiagram" presStyleCnt="0">
        <dgm:presLayoutVars>
          <dgm:chMax val="1"/>
          <dgm:dir/>
          <dgm:animLvl val="lvl"/>
          <dgm:resizeHandles val="exact"/>
        </dgm:presLayoutVars>
      </dgm:prSet>
      <dgm:spPr/>
    </dgm:pt>
    <dgm:pt modelId="{866F4022-2368-480B-93E6-519D916CBE7D}" type="pres">
      <dgm:prSet presAssocID="{8EC05E30-2B6B-403D-9C30-025BAA3D3886}" presName="children" presStyleCnt="0"/>
      <dgm:spPr/>
    </dgm:pt>
    <dgm:pt modelId="{2B3B4213-795E-4B7F-88BD-5688B62E07A4}" type="pres">
      <dgm:prSet presAssocID="{8EC05E30-2B6B-403D-9C30-025BAA3D3886}" presName="childPlaceholder" presStyleCnt="0"/>
      <dgm:spPr/>
    </dgm:pt>
    <dgm:pt modelId="{9BEB271E-E4FF-4B46-8481-51A8A645AB50}" type="pres">
      <dgm:prSet presAssocID="{8EC05E30-2B6B-403D-9C30-025BAA3D3886}" presName="circle" presStyleCnt="0"/>
      <dgm:spPr/>
    </dgm:pt>
    <dgm:pt modelId="{7BF217FC-2570-4BCA-9078-DB652340F431}" type="pres">
      <dgm:prSet presAssocID="{8EC05E30-2B6B-403D-9C30-025BAA3D3886}" presName="quadrant1" presStyleLbl="node1" presStyleIdx="0" presStyleCnt="4">
        <dgm:presLayoutVars>
          <dgm:chMax val="1"/>
          <dgm:bulletEnabled val="1"/>
        </dgm:presLayoutVars>
      </dgm:prSet>
      <dgm:spPr/>
    </dgm:pt>
    <dgm:pt modelId="{4283C7AA-2607-406C-BE2B-B66AD5B5BC36}" type="pres">
      <dgm:prSet presAssocID="{8EC05E30-2B6B-403D-9C30-025BAA3D3886}" presName="quadrant2" presStyleLbl="node1" presStyleIdx="1" presStyleCnt="4">
        <dgm:presLayoutVars>
          <dgm:chMax val="1"/>
          <dgm:bulletEnabled val="1"/>
        </dgm:presLayoutVars>
      </dgm:prSet>
      <dgm:spPr/>
    </dgm:pt>
    <dgm:pt modelId="{73339131-15DE-43C7-956F-87A5FFC043A2}" type="pres">
      <dgm:prSet presAssocID="{8EC05E30-2B6B-403D-9C30-025BAA3D3886}" presName="quadrant3" presStyleLbl="node1" presStyleIdx="2" presStyleCnt="4">
        <dgm:presLayoutVars>
          <dgm:chMax val="1"/>
          <dgm:bulletEnabled val="1"/>
        </dgm:presLayoutVars>
      </dgm:prSet>
      <dgm:spPr/>
    </dgm:pt>
    <dgm:pt modelId="{F20AFF49-A990-4A4C-A8F2-5C6D4F0D3E56}" type="pres">
      <dgm:prSet presAssocID="{8EC05E30-2B6B-403D-9C30-025BAA3D3886}" presName="quadrant4" presStyleLbl="node1" presStyleIdx="3" presStyleCnt="4">
        <dgm:presLayoutVars>
          <dgm:chMax val="1"/>
          <dgm:bulletEnabled val="1"/>
        </dgm:presLayoutVars>
      </dgm:prSet>
      <dgm:spPr/>
    </dgm:pt>
    <dgm:pt modelId="{BBEF63C5-52A3-4723-841A-EBA91678D5D0}" type="pres">
      <dgm:prSet presAssocID="{8EC05E30-2B6B-403D-9C30-025BAA3D3886}" presName="quadrantPlaceholder" presStyleCnt="0"/>
      <dgm:spPr/>
    </dgm:pt>
    <dgm:pt modelId="{1E2B4A95-5B11-4ED0-9BF4-7B8FD44658BC}" type="pres">
      <dgm:prSet presAssocID="{8EC05E30-2B6B-403D-9C30-025BAA3D3886}" presName="center1" presStyleLbl="fgShp" presStyleIdx="0" presStyleCnt="2"/>
      <dgm:spPr/>
    </dgm:pt>
    <dgm:pt modelId="{6E9F38CC-8381-4FBB-8C46-A72F353B37EA}" type="pres">
      <dgm:prSet presAssocID="{8EC05E30-2B6B-403D-9C30-025BAA3D3886}" presName="center2" presStyleLbl="fgShp" presStyleIdx="1" presStyleCnt="2"/>
      <dgm:spPr/>
    </dgm:pt>
  </dgm:ptLst>
  <dgm:cxnLst>
    <dgm:cxn modelId="{8757CA01-4387-43F9-B470-2E92EF494131}" srcId="{8EC05E30-2B6B-403D-9C30-025BAA3D3886}" destId="{8515A6AD-DAF8-4073-8FA0-457CAD589562}" srcOrd="2" destOrd="0" parTransId="{EC9A99B1-BB4C-4FA5-B169-624DDE97CB7F}" sibTransId="{31CFC770-D64D-4241-BDBA-F2C4EA3E90EB}"/>
    <dgm:cxn modelId="{68669924-9EE8-4094-A65B-B0402F10438E}" srcId="{8EC05E30-2B6B-403D-9C30-025BAA3D3886}" destId="{27EBC0F2-CF98-4584-B7AB-5598A980F3A9}" srcOrd="0" destOrd="0" parTransId="{BD345FDB-CCD6-4A11-98D9-5D48EE8F06DD}" sibTransId="{DC999868-9AE3-4946-9931-9351F5A8A1E5}"/>
    <dgm:cxn modelId="{5CCC2C52-E3DB-4599-8020-910D21EE87CC}" type="presOf" srcId="{F10EBCAD-35E4-4C39-AD51-A92C5570EF5C}" destId="{F20AFF49-A990-4A4C-A8F2-5C6D4F0D3E56}" srcOrd="0" destOrd="0" presId="urn:microsoft.com/office/officeart/2005/8/layout/cycle4"/>
    <dgm:cxn modelId="{50FA7C73-C20C-43FD-B911-8926491EE9CE}" type="presOf" srcId="{27EBC0F2-CF98-4584-B7AB-5598A980F3A9}" destId="{7BF217FC-2570-4BCA-9078-DB652340F431}" srcOrd="0" destOrd="0" presId="urn:microsoft.com/office/officeart/2005/8/layout/cycle4"/>
    <dgm:cxn modelId="{30E68683-649D-48B7-9089-A3E738E40C98}" srcId="{8EC05E30-2B6B-403D-9C30-025BAA3D3886}" destId="{F10EBCAD-35E4-4C39-AD51-A92C5570EF5C}" srcOrd="3" destOrd="0" parTransId="{B36314FE-E275-4056-9AD6-157CFB0BFFBF}" sibTransId="{15B904A2-430A-4AD6-BCF9-EBFED1759AC3}"/>
    <dgm:cxn modelId="{8EA9638A-3928-412A-9179-4C24526F5CB1}" type="presOf" srcId="{8EC05E30-2B6B-403D-9C30-025BAA3D3886}" destId="{DDECF959-3301-498D-BA7C-5F5CEF425588}" srcOrd="0" destOrd="0" presId="urn:microsoft.com/office/officeart/2005/8/layout/cycle4"/>
    <dgm:cxn modelId="{5FFBEDA8-4576-446E-89B6-D20DF016A858}" srcId="{8EC05E30-2B6B-403D-9C30-025BAA3D3886}" destId="{269D6255-C4EC-412C-ADF6-2FB38934123C}" srcOrd="1" destOrd="0" parTransId="{8FA45C6F-FD5A-4A4E-9F10-1B1941EF2ED2}" sibTransId="{27D18308-1674-499E-B244-09245968F7C4}"/>
    <dgm:cxn modelId="{74C635D3-F870-44ED-A166-06064ACC6907}" type="presOf" srcId="{8515A6AD-DAF8-4073-8FA0-457CAD589562}" destId="{73339131-15DE-43C7-956F-87A5FFC043A2}" srcOrd="0" destOrd="0" presId="urn:microsoft.com/office/officeart/2005/8/layout/cycle4"/>
    <dgm:cxn modelId="{CC7C78DE-A4F5-46EF-AC1C-C8A5B0658C3C}" type="presOf" srcId="{269D6255-C4EC-412C-ADF6-2FB38934123C}" destId="{4283C7AA-2607-406C-BE2B-B66AD5B5BC36}" srcOrd="0" destOrd="0" presId="urn:microsoft.com/office/officeart/2005/8/layout/cycle4"/>
    <dgm:cxn modelId="{C0B831CF-305D-4DFD-8634-A146B22B737D}" type="presParOf" srcId="{DDECF959-3301-498D-BA7C-5F5CEF425588}" destId="{866F4022-2368-480B-93E6-519D916CBE7D}" srcOrd="0" destOrd="0" presId="urn:microsoft.com/office/officeart/2005/8/layout/cycle4"/>
    <dgm:cxn modelId="{24F173FB-2142-43F1-BBC1-11CE5F0B520E}" type="presParOf" srcId="{866F4022-2368-480B-93E6-519D916CBE7D}" destId="{2B3B4213-795E-4B7F-88BD-5688B62E07A4}" srcOrd="0" destOrd="0" presId="urn:microsoft.com/office/officeart/2005/8/layout/cycle4"/>
    <dgm:cxn modelId="{48F767D7-088D-4EE0-8BEF-7B9C4F79A0A8}" type="presParOf" srcId="{DDECF959-3301-498D-BA7C-5F5CEF425588}" destId="{9BEB271E-E4FF-4B46-8481-51A8A645AB50}" srcOrd="1" destOrd="0" presId="urn:microsoft.com/office/officeart/2005/8/layout/cycle4"/>
    <dgm:cxn modelId="{22AF26DA-ED6E-48EC-A250-62DCF4FC972C}" type="presParOf" srcId="{9BEB271E-E4FF-4B46-8481-51A8A645AB50}" destId="{7BF217FC-2570-4BCA-9078-DB652340F431}" srcOrd="0" destOrd="0" presId="urn:microsoft.com/office/officeart/2005/8/layout/cycle4"/>
    <dgm:cxn modelId="{0A6FF8BB-28C6-456B-AA55-E32AF012DDF6}" type="presParOf" srcId="{9BEB271E-E4FF-4B46-8481-51A8A645AB50}" destId="{4283C7AA-2607-406C-BE2B-B66AD5B5BC36}" srcOrd="1" destOrd="0" presId="urn:microsoft.com/office/officeart/2005/8/layout/cycle4"/>
    <dgm:cxn modelId="{A2CEC20D-7A21-44AB-905A-E939C93BA263}" type="presParOf" srcId="{9BEB271E-E4FF-4B46-8481-51A8A645AB50}" destId="{73339131-15DE-43C7-956F-87A5FFC043A2}" srcOrd="2" destOrd="0" presId="urn:microsoft.com/office/officeart/2005/8/layout/cycle4"/>
    <dgm:cxn modelId="{BF5640C9-79E8-49C4-8526-78F3C1C1EA30}" type="presParOf" srcId="{9BEB271E-E4FF-4B46-8481-51A8A645AB50}" destId="{F20AFF49-A990-4A4C-A8F2-5C6D4F0D3E56}" srcOrd="3" destOrd="0" presId="urn:microsoft.com/office/officeart/2005/8/layout/cycle4"/>
    <dgm:cxn modelId="{78A46F69-20F5-4904-8FC2-F02B48CE5B8C}" type="presParOf" srcId="{9BEB271E-E4FF-4B46-8481-51A8A645AB50}" destId="{BBEF63C5-52A3-4723-841A-EBA91678D5D0}" srcOrd="4" destOrd="0" presId="urn:microsoft.com/office/officeart/2005/8/layout/cycle4"/>
    <dgm:cxn modelId="{841236FB-A2DE-4B2A-A337-614B46658C9B}" type="presParOf" srcId="{DDECF959-3301-498D-BA7C-5F5CEF425588}" destId="{1E2B4A95-5B11-4ED0-9BF4-7B8FD44658BC}" srcOrd="2" destOrd="0" presId="urn:microsoft.com/office/officeart/2005/8/layout/cycle4"/>
    <dgm:cxn modelId="{D5888457-4BFA-40FC-850D-F1596B45598F}" type="presParOf" srcId="{DDECF959-3301-498D-BA7C-5F5CEF425588}" destId="{6E9F38CC-8381-4FBB-8C46-A72F353B37EA}" srcOrd="3" destOrd="0" presId="urn:microsoft.com/office/officeart/2005/8/layout/cycle4"/>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096CA984-99A2-43BE-8086-D5BD2EE6A9C1}" type="doc">
      <dgm:prSet loTypeId="urn:microsoft.com/office/officeart/2005/8/layout/hProcess11" loCatId="process" qsTypeId="urn:microsoft.com/office/officeart/2005/8/quickstyle/simple1" qsCatId="simple" csTypeId="urn:microsoft.com/office/officeart/2005/8/colors/accent2_2" csCatId="accent2"/>
      <dgm:spPr/>
      <dgm:t>
        <a:bodyPr/>
        <a:lstStyle/>
        <a:p>
          <a:endParaRPr lang="en-US"/>
        </a:p>
      </dgm:t>
    </dgm:pt>
    <dgm:pt modelId="{B223ED21-CC32-4428-AD0B-1E25F7493C40}">
      <dgm:prSet/>
      <dgm:spPr/>
      <dgm:t>
        <a:bodyPr/>
        <a:lstStyle/>
        <a:p>
          <a:r>
            <a:t>Paylaşılan hareketlilik, bir aracın, bisikletin veya diğer ulaşım biçimlerinin ortak kullanımını ifade eder.</a:t>
          </a:r>
        </a:p>
      </dgm:t>
    </dgm:pt>
    <dgm:pt modelId="{A356AEC0-0388-47D7-A4F9-BD97971500FD}" type="parTrans" cxnId="{0DD07E60-89B1-4FA2-8372-5ED345F5DEED}">
      <dgm:prSet/>
      <dgm:spPr/>
      <dgm:t>
        <a:bodyPr/>
        <a:lstStyle/>
        <a:p>
          <a:endParaRPr lang="en-US"/>
        </a:p>
      </dgm:t>
    </dgm:pt>
    <dgm:pt modelId="{15FE11F6-2A62-4CAB-966F-F29AB5BB9254}" type="sibTrans" cxnId="{0DD07E60-89B1-4FA2-8372-5ED345F5DEED}">
      <dgm:prSet/>
      <dgm:spPr/>
      <dgm:t>
        <a:bodyPr/>
        <a:lstStyle/>
        <a:p>
          <a:endParaRPr lang="en-US"/>
        </a:p>
      </dgm:t>
    </dgm:pt>
    <dgm:pt modelId="{ADEA85CE-2711-46FA-A2C1-5BAE59843E11}">
      <dgm:prSet/>
      <dgm:spPr/>
      <dgm:t>
        <a:bodyPr/>
        <a:lstStyle/>
        <a:p>
          <a:r>
            <a:t>Araç paylaşımı, bisiklet paylaşımı, yolculuk paylaşımı ve scooter paylaşımı gibi hizmetleri içerir.</a:t>
          </a:r>
        </a:p>
      </dgm:t>
    </dgm:pt>
    <dgm:pt modelId="{0DBB2DB8-9079-4A82-B5AC-57949F1AB9E4}" type="parTrans" cxnId="{53CD46FB-70D4-4CF3-8323-F5E1FA0D0640}">
      <dgm:prSet/>
      <dgm:spPr/>
      <dgm:t>
        <a:bodyPr/>
        <a:lstStyle/>
        <a:p>
          <a:endParaRPr lang="en-US"/>
        </a:p>
      </dgm:t>
    </dgm:pt>
    <dgm:pt modelId="{C6FF4205-0C5A-4AAB-861E-2BAB0A264F06}" type="sibTrans" cxnId="{53CD46FB-70D4-4CF3-8323-F5E1FA0D0640}">
      <dgm:prSet/>
      <dgm:spPr/>
      <dgm:t>
        <a:bodyPr/>
        <a:lstStyle/>
        <a:p>
          <a:endParaRPr lang="en-US"/>
        </a:p>
      </dgm:t>
    </dgm:pt>
    <dgm:pt modelId="{E325FEF7-D986-434A-B529-510649C46F29}">
      <dgm:prSet/>
      <dgm:spPr/>
      <dgm:t>
        <a:bodyPr/>
        <a:lstStyle/>
        <a:p>
          <a:r>
            <a:t>Paylaşılan hareketlilik hizmetleri genellikle özel şirketler, kamu yetkilileri veya topluluk kuruluşları tarafından sağlanır.</a:t>
          </a:r>
        </a:p>
      </dgm:t>
    </dgm:pt>
    <dgm:pt modelId="{9FBD5BBC-DD9A-46C2-B1E0-635DF427E1E3}" type="parTrans" cxnId="{27A6C9B7-5E04-4F25-9642-08324478D4F1}">
      <dgm:prSet/>
      <dgm:spPr/>
      <dgm:t>
        <a:bodyPr/>
        <a:lstStyle/>
        <a:p>
          <a:endParaRPr lang="en-US"/>
        </a:p>
      </dgm:t>
    </dgm:pt>
    <dgm:pt modelId="{0F431FEF-C0E2-42B7-8B83-9E45D74DAA98}" type="sibTrans" cxnId="{27A6C9B7-5E04-4F25-9642-08324478D4F1}">
      <dgm:prSet/>
      <dgm:spPr/>
      <dgm:t>
        <a:bodyPr/>
        <a:lstStyle/>
        <a:p>
          <a:endParaRPr lang="en-US"/>
        </a:p>
      </dgm:t>
    </dgm:pt>
    <dgm:pt modelId="{B2186AFE-DAF4-40D9-85C2-9C99508C0B22}">
      <dgm:prSet/>
      <dgm:spPr/>
      <dgm:t>
        <a:bodyPr/>
        <a:lstStyle/>
        <a:p>
          <a:r>
            <a:t>Paylaşılan mobilite, yoldaki tek kişilik araç sayısını azaltabilir, trafik sıkışıklığını azaltabilir ve daha sürdürülebilir ulaşım seçenekleri sağlayabilir.</a:t>
          </a:r>
        </a:p>
      </dgm:t>
    </dgm:pt>
    <dgm:pt modelId="{8DD1BD38-8C63-4611-8D4C-11A28AD3E9A9}" type="parTrans" cxnId="{BB54602A-A227-4E19-8E50-57FA32836B80}">
      <dgm:prSet/>
      <dgm:spPr/>
      <dgm:t>
        <a:bodyPr/>
        <a:lstStyle/>
        <a:p>
          <a:endParaRPr lang="en-US"/>
        </a:p>
      </dgm:t>
    </dgm:pt>
    <dgm:pt modelId="{10767A00-97F9-449A-BD9A-96C91A5D9FB8}" type="sibTrans" cxnId="{BB54602A-A227-4E19-8E50-57FA32836B80}">
      <dgm:prSet/>
      <dgm:spPr/>
      <dgm:t>
        <a:bodyPr/>
        <a:lstStyle/>
        <a:p>
          <a:endParaRPr lang="en-US"/>
        </a:p>
      </dgm:t>
    </dgm:pt>
    <dgm:pt modelId="{65E3E3BA-B26C-4CDC-A7FC-D34A7AC8DE33}">
      <dgm:prSet/>
      <dgm:spPr/>
      <dgm:t>
        <a:bodyPr/>
        <a:lstStyle/>
        <a:p>
          <a:r>
            <a:t>Paylaşılan mobilite, kullanıcıların paylaşılan mobilite hizmetlerini kolayca bulmasını ve rezerve etmesini sağlayan mobil uygulamalar gibi teknoloji platformları tarafından kolaylaştırılabilir.</a:t>
          </a:r>
        </a:p>
      </dgm:t>
    </dgm:pt>
    <dgm:pt modelId="{BB4B7E37-1884-4C7F-A396-7637D327486E}" type="parTrans" cxnId="{3C73F506-28A3-41C1-B397-BF1C567012F6}">
      <dgm:prSet/>
      <dgm:spPr/>
      <dgm:t>
        <a:bodyPr/>
        <a:lstStyle/>
        <a:p>
          <a:endParaRPr lang="en-US"/>
        </a:p>
      </dgm:t>
    </dgm:pt>
    <dgm:pt modelId="{2F9F1B19-147D-4357-8822-333AF76E9BD6}" type="sibTrans" cxnId="{3C73F506-28A3-41C1-B397-BF1C567012F6}">
      <dgm:prSet/>
      <dgm:spPr/>
      <dgm:t>
        <a:bodyPr/>
        <a:lstStyle/>
        <a:p>
          <a:endParaRPr lang="en-US"/>
        </a:p>
      </dgm:t>
    </dgm:pt>
    <dgm:pt modelId="{E0141A2D-4B81-461A-AB03-C68A11B2D942}">
      <dgm:prSet/>
      <dgm:spPr/>
      <dgm:t>
        <a:bodyPr/>
        <a:lstStyle/>
        <a:p>
          <a:r>
            <a:t>Nesnelerin İnterneti (IoT) ve otonom araçlar gibi teknolojideki ilerlemelerin, paylaşılan mobilite ortamını daha da dönüştürmesi bekleniyor.</a:t>
          </a:r>
        </a:p>
      </dgm:t>
    </dgm:pt>
    <dgm:pt modelId="{E6D516E5-3A40-4AE4-A897-20FBEA8DC016}" type="parTrans" cxnId="{FFE0670E-FCBC-4050-A66E-035AC0FE3E26}">
      <dgm:prSet/>
      <dgm:spPr/>
      <dgm:t>
        <a:bodyPr/>
        <a:lstStyle/>
        <a:p>
          <a:endParaRPr lang="en-US"/>
        </a:p>
      </dgm:t>
    </dgm:pt>
    <dgm:pt modelId="{2CCAC46E-F19C-4B00-B803-4C58ACBBF7EC}" type="sibTrans" cxnId="{FFE0670E-FCBC-4050-A66E-035AC0FE3E26}">
      <dgm:prSet/>
      <dgm:spPr/>
      <dgm:t>
        <a:bodyPr/>
        <a:lstStyle/>
        <a:p>
          <a:endParaRPr lang="en-US"/>
        </a:p>
      </dgm:t>
    </dgm:pt>
    <dgm:pt modelId="{1238E78D-C6F0-461F-BF2E-E1B86D8C0223}">
      <dgm:prSet/>
      <dgm:spPr/>
      <dgm:t>
        <a:bodyPr/>
        <a:lstStyle/>
        <a:p>
          <a:r>
            <a:t>Araba paylaşımı gibi bazı paylaşılan mobilite hizmetleri, araç rezervasyonlarını, erişimini ve kullanımını yönetmek için gelişmiş araç telematikleri ve diğer teknolojileri gerektirebilir.</a:t>
          </a:r>
        </a:p>
      </dgm:t>
    </dgm:pt>
    <dgm:pt modelId="{F0744B39-81A0-4A8D-A7BB-FE8AD2C87224}" type="parTrans" cxnId="{84594F38-2646-49D3-93EE-F76242083469}">
      <dgm:prSet/>
      <dgm:spPr/>
      <dgm:t>
        <a:bodyPr/>
        <a:lstStyle/>
        <a:p>
          <a:endParaRPr lang="en-US"/>
        </a:p>
      </dgm:t>
    </dgm:pt>
    <dgm:pt modelId="{1082899A-39AB-4900-A1F8-F49C90737EBA}" type="sibTrans" cxnId="{84594F38-2646-49D3-93EE-F76242083469}">
      <dgm:prSet/>
      <dgm:spPr/>
      <dgm:t>
        <a:bodyPr/>
        <a:lstStyle/>
        <a:p>
          <a:endParaRPr lang="en-US"/>
        </a:p>
      </dgm:t>
    </dgm:pt>
    <dgm:pt modelId="{12B44CC8-AA0A-4AA9-B3BC-767DC60A924D}" type="pres">
      <dgm:prSet presAssocID="{096CA984-99A2-43BE-8086-D5BD2EE6A9C1}" presName="Name0" presStyleCnt="0">
        <dgm:presLayoutVars>
          <dgm:dir/>
          <dgm:resizeHandles val="exact"/>
        </dgm:presLayoutVars>
      </dgm:prSet>
      <dgm:spPr/>
    </dgm:pt>
    <dgm:pt modelId="{F592CC84-F119-40D9-BA7A-D331FAE34F5B}" type="pres">
      <dgm:prSet presAssocID="{096CA984-99A2-43BE-8086-D5BD2EE6A9C1}" presName="arrow" presStyleLbl="bgShp" presStyleIdx="0" presStyleCnt="1"/>
      <dgm:spPr/>
    </dgm:pt>
    <dgm:pt modelId="{D01C3DDD-3DBC-46F1-81EB-2406C5FC604F}" type="pres">
      <dgm:prSet presAssocID="{096CA984-99A2-43BE-8086-D5BD2EE6A9C1}" presName="points" presStyleCnt="0"/>
      <dgm:spPr/>
    </dgm:pt>
    <dgm:pt modelId="{FB6166E0-2236-40B7-9897-2BC78DFD6DA2}" type="pres">
      <dgm:prSet presAssocID="{B223ED21-CC32-4428-AD0B-1E25F7493C40}" presName="compositeA" presStyleCnt="0"/>
      <dgm:spPr/>
    </dgm:pt>
    <dgm:pt modelId="{B6E263B8-0542-4F2A-9A9B-0C08B877F48A}" type="pres">
      <dgm:prSet presAssocID="{B223ED21-CC32-4428-AD0B-1E25F7493C40}" presName="textA" presStyleLbl="revTx" presStyleIdx="0" presStyleCnt="7">
        <dgm:presLayoutVars>
          <dgm:bulletEnabled val="1"/>
        </dgm:presLayoutVars>
      </dgm:prSet>
      <dgm:spPr/>
    </dgm:pt>
    <dgm:pt modelId="{7FAB71C4-B29D-41A7-B76E-33BB9E12A05A}" type="pres">
      <dgm:prSet presAssocID="{B223ED21-CC32-4428-AD0B-1E25F7493C40}" presName="circleA" presStyleLbl="node1" presStyleIdx="0" presStyleCnt="7"/>
      <dgm:spPr/>
    </dgm:pt>
    <dgm:pt modelId="{2F53DAF7-4866-4B1A-8116-F29926494336}" type="pres">
      <dgm:prSet presAssocID="{B223ED21-CC32-4428-AD0B-1E25F7493C40}" presName="spaceA" presStyleCnt="0"/>
      <dgm:spPr/>
    </dgm:pt>
    <dgm:pt modelId="{AD0EB420-5C30-4461-ADC2-A9989745FD27}" type="pres">
      <dgm:prSet presAssocID="{15FE11F6-2A62-4CAB-966F-F29AB5BB9254}" presName="space" presStyleCnt="0"/>
      <dgm:spPr/>
    </dgm:pt>
    <dgm:pt modelId="{83F1B565-1B41-4604-AA70-4C2ACDA1CB4D}" type="pres">
      <dgm:prSet presAssocID="{ADEA85CE-2711-46FA-A2C1-5BAE59843E11}" presName="compositeB" presStyleCnt="0"/>
      <dgm:spPr/>
    </dgm:pt>
    <dgm:pt modelId="{99ED1E63-7D4F-451C-A87C-211467201E5C}" type="pres">
      <dgm:prSet presAssocID="{ADEA85CE-2711-46FA-A2C1-5BAE59843E11}" presName="textB" presStyleLbl="revTx" presStyleIdx="1" presStyleCnt="7">
        <dgm:presLayoutVars>
          <dgm:bulletEnabled val="1"/>
        </dgm:presLayoutVars>
      </dgm:prSet>
      <dgm:spPr/>
    </dgm:pt>
    <dgm:pt modelId="{A25C85FC-39BA-481E-8121-009B62BD8DB2}" type="pres">
      <dgm:prSet presAssocID="{ADEA85CE-2711-46FA-A2C1-5BAE59843E11}" presName="circleB" presStyleLbl="node1" presStyleIdx="1" presStyleCnt="7"/>
      <dgm:spPr/>
    </dgm:pt>
    <dgm:pt modelId="{5172485B-54D1-431D-BD56-F52E832177F1}" type="pres">
      <dgm:prSet presAssocID="{ADEA85CE-2711-46FA-A2C1-5BAE59843E11}" presName="spaceB" presStyleCnt="0"/>
      <dgm:spPr/>
    </dgm:pt>
    <dgm:pt modelId="{D9C776A9-1178-47BD-A681-71254120583B}" type="pres">
      <dgm:prSet presAssocID="{C6FF4205-0C5A-4AAB-861E-2BAB0A264F06}" presName="space" presStyleCnt="0"/>
      <dgm:spPr/>
    </dgm:pt>
    <dgm:pt modelId="{0AE6AB61-2494-4DD9-867B-1AE8771EF359}" type="pres">
      <dgm:prSet presAssocID="{E325FEF7-D986-434A-B529-510649C46F29}" presName="compositeA" presStyleCnt="0"/>
      <dgm:spPr/>
    </dgm:pt>
    <dgm:pt modelId="{5A98EE9D-1F79-4AEB-B59C-A11BEF152A36}" type="pres">
      <dgm:prSet presAssocID="{E325FEF7-D986-434A-B529-510649C46F29}" presName="textA" presStyleLbl="revTx" presStyleIdx="2" presStyleCnt="7">
        <dgm:presLayoutVars>
          <dgm:bulletEnabled val="1"/>
        </dgm:presLayoutVars>
      </dgm:prSet>
      <dgm:spPr/>
    </dgm:pt>
    <dgm:pt modelId="{631D995D-78DB-46F0-9502-E1F16024DBB8}" type="pres">
      <dgm:prSet presAssocID="{E325FEF7-D986-434A-B529-510649C46F29}" presName="circleA" presStyleLbl="node1" presStyleIdx="2" presStyleCnt="7"/>
      <dgm:spPr/>
    </dgm:pt>
    <dgm:pt modelId="{C72CC0BC-1685-4392-95DB-8252AC51CFD7}" type="pres">
      <dgm:prSet presAssocID="{E325FEF7-D986-434A-B529-510649C46F29}" presName="spaceA" presStyleCnt="0"/>
      <dgm:spPr/>
    </dgm:pt>
    <dgm:pt modelId="{A76EE2E0-F895-4D62-810E-954A0E1D39CC}" type="pres">
      <dgm:prSet presAssocID="{0F431FEF-C0E2-42B7-8B83-9E45D74DAA98}" presName="space" presStyleCnt="0"/>
      <dgm:spPr/>
    </dgm:pt>
    <dgm:pt modelId="{7608BEA5-3599-4F12-9618-FF0FDDD27A28}" type="pres">
      <dgm:prSet presAssocID="{B2186AFE-DAF4-40D9-85C2-9C99508C0B22}" presName="compositeB" presStyleCnt="0"/>
      <dgm:spPr/>
    </dgm:pt>
    <dgm:pt modelId="{53914EE8-8EA1-4035-8EA9-BECBBF618702}" type="pres">
      <dgm:prSet presAssocID="{B2186AFE-DAF4-40D9-85C2-9C99508C0B22}" presName="textB" presStyleLbl="revTx" presStyleIdx="3" presStyleCnt="7">
        <dgm:presLayoutVars>
          <dgm:bulletEnabled val="1"/>
        </dgm:presLayoutVars>
      </dgm:prSet>
      <dgm:spPr/>
    </dgm:pt>
    <dgm:pt modelId="{2A203A87-85B2-44FD-8E7D-5661D26C8894}" type="pres">
      <dgm:prSet presAssocID="{B2186AFE-DAF4-40D9-85C2-9C99508C0B22}" presName="circleB" presStyleLbl="node1" presStyleIdx="3" presStyleCnt="7"/>
      <dgm:spPr/>
    </dgm:pt>
    <dgm:pt modelId="{EB3D60E1-760E-4604-86F2-87982E396ABE}" type="pres">
      <dgm:prSet presAssocID="{B2186AFE-DAF4-40D9-85C2-9C99508C0B22}" presName="spaceB" presStyleCnt="0"/>
      <dgm:spPr/>
    </dgm:pt>
    <dgm:pt modelId="{18A833F1-869D-4587-B3FF-EC8EF7F669F3}" type="pres">
      <dgm:prSet presAssocID="{10767A00-97F9-449A-BD9A-96C91A5D9FB8}" presName="space" presStyleCnt="0"/>
      <dgm:spPr/>
    </dgm:pt>
    <dgm:pt modelId="{023114F0-1002-4F96-B943-630FF6204335}" type="pres">
      <dgm:prSet presAssocID="{65E3E3BA-B26C-4CDC-A7FC-D34A7AC8DE33}" presName="compositeA" presStyleCnt="0"/>
      <dgm:spPr/>
    </dgm:pt>
    <dgm:pt modelId="{9CD31DEE-5081-4D9F-9900-74A583D6424E}" type="pres">
      <dgm:prSet presAssocID="{65E3E3BA-B26C-4CDC-A7FC-D34A7AC8DE33}" presName="textA" presStyleLbl="revTx" presStyleIdx="4" presStyleCnt="7">
        <dgm:presLayoutVars>
          <dgm:bulletEnabled val="1"/>
        </dgm:presLayoutVars>
      </dgm:prSet>
      <dgm:spPr/>
    </dgm:pt>
    <dgm:pt modelId="{DEACD8E7-279E-445C-994B-9DBC4981B585}" type="pres">
      <dgm:prSet presAssocID="{65E3E3BA-B26C-4CDC-A7FC-D34A7AC8DE33}" presName="circleA" presStyleLbl="node1" presStyleIdx="4" presStyleCnt="7"/>
      <dgm:spPr/>
    </dgm:pt>
    <dgm:pt modelId="{662AFE98-C7EF-4FEA-A0A8-23EB52B7F62C}" type="pres">
      <dgm:prSet presAssocID="{65E3E3BA-B26C-4CDC-A7FC-D34A7AC8DE33}" presName="spaceA" presStyleCnt="0"/>
      <dgm:spPr/>
    </dgm:pt>
    <dgm:pt modelId="{5FE05128-CB79-441B-B148-EA971604D09C}" type="pres">
      <dgm:prSet presAssocID="{2F9F1B19-147D-4357-8822-333AF76E9BD6}" presName="space" presStyleCnt="0"/>
      <dgm:spPr/>
    </dgm:pt>
    <dgm:pt modelId="{31CDC11E-FE7D-4F90-AA26-3B9BF52510F3}" type="pres">
      <dgm:prSet presAssocID="{E0141A2D-4B81-461A-AB03-C68A11B2D942}" presName="compositeB" presStyleCnt="0"/>
      <dgm:spPr/>
    </dgm:pt>
    <dgm:pt modelId="{4E8F29CF-14D9-409F-9DDE-B05B5B31C1DA}" type="pres">
      <dgm:prSet presAssocID="{E0141A2D-4B81-461A-AB03-C68A11B2D942}" presName="textB" presStyleLbl="revTx" presStyleIdx="5" presStyleCnt="7">
        <dgm:presLayoutVars>
          <dgm:bulletEnabled val="1"/>
        </dgm:presLayoutVars>
      </dgm:prSet>
      <dgm:spPr/>
    </dgm:pt>
    <dgm:pt modelId="{2E11B187-219F-4A4B-9D0D-BE6A28F334D2}" type="pres">
      <dgm:prSet presAssocID="{E0141A2D-4B81-461A-AB03-C68A11B2D942}" presName="circleB" presStyleLbl="node1" presStyleIdx="5" presStyleCnt="7"/>
      <dgm:spPr/>
    </dgm:pt>
    <dgm:pt modelId="{9C8D084F-2625-48E3-AAC4-D527C318CBE9}" type="pres">
      <dgm:prSet presAssocID="{E0141A2D-4B81-461A-AB03-C68A11B2D942}" presName="spaceB" presStyleCnt="0"/>
      <dgm:spPr/>
    </dgm:pt>
    <dgm:pt modelId="{DAC8A88D-55CB-4E15-BC28-F812F83A3AE2}" type="pres">
      <dgm:prSet presAssocID="{2CCAC46E-F19C-4B00-B803-4C58ACBBF7EC}" presName="space" presStyleCnt="0"/>
      <dgm:spPr/>
    </dgm:pt>
    <dgm:pt modelId="{9DB6148A-3DE0-4210-AC4A-F1B5B8C4D775}" type="pres">
      <dgm:prSet presAssocID="{1238E78D-C6F0-461F-BF2E-E1B86D8C0223}" presName="compositeA" presStyleCnt="0"/>
      <dgm:spPr/>
    </dgm:pt>
    <dgm:pt modelId="{34BE3C4D-EF98-4578-857B-2EA77A9D8986}" type="pres">
      <dgm:prSet presAssocID="{1238E78D-C6F0-461F-BF2E-E1B86D8C0223}" presName="textA" presStyleLbl="revTx" presStyleIdx="6" presStyleCnt="7">
        <dgm:presLayoutVars>
          <dgm:bulletEnabled val="1"/>
        </dgm:presLayoutVars>
      </dgm:prSet>
      <dgm:spPr/>
    </dgm:pt>
    <dgm:pt modelId="{E09191A0-9656-4698-A7D4-7779B1F5EAFA}" type="pres">
      <dgm:prSet presAssocID="{1238E78D-C6F0-461F-BF2E-E1B86D8C0223}" presName="circleA" presStyleLbl="node1" presStyleIdx="6" presStyleCnt="7"/>
      <dgm:spPr/>
    </dgm:pt>
    <dgm:pt modelId="{7505E28F-1A59-49E9-8B95-541AF8C78544}" type="pres">
      <dgm:prSet presAssocID="{1238E78D-C6F0-461F-BF2E-E1B86D8C0223}" presName="spaceA" presStyleCnt="0"/>
      <dgm:spPr/>
    </dgm:pt>
  </dgm:ptLst>
  <dgm:cxnLst>
    <dgm:cxn modelId="{B9F60302-B942-4EA2-AC72-3CC62D3054E4}" type="presOf" srcId="{ADEA85CE-2711-46FA-A2C1-5BAE59843E11}" destId="{99ED1E63-7D4F-451C-A87C-211467201E5C}" srcOrd="0" destOrd="0" presId="urn:microsoft.com/office/officeart/2005/8/layout/hProcess11"/>
    <dgm:cxn modelId="{3C73F506-28A3-41C1-B397-BF1C567012F6}" srcId="{096CA984-99A2-43BE-8086-D5BD2EE6A9C1}" destId="{65E3E3BA-B26C-4CDC-A7FC-D34A7AC8DE33}" srcOrd="4" destOrd="0" parTransId="{BB4B7E37-1884-4C7F-A396-7637D327486E}" sibTransId="{2F9F1B19-147D-4357-8822-333AF76E9BD6}"/>
    <dgm:cxn modelId="{FFE0670E-FCBC-4050-A66E-035AC0FE3E26}" srcId="{096CA984-99A2-43BE-8086-D5BD2EE6A9C1}" destId="{E0141A2D-4B81-461A-AB03-C68A11B2D942}" srcOrd="5" destOrd="0" parTransId="{E6D516E5-3A40-4AE4-A897-20FBEA8DC016}" sibTransId="{2CCAC46E-F19C-4B00-B803-4C58ACBBF7EC}"/>
    <dgm:cxn modelId="{D338851E-8C74-4424-BC0B-5C29080C91EE}" type="presOf" srcId="{B223ED21-CC32-4428-AD0B-1E25F7493C40}" destId="{B6E263B8-0542-4F2A-9A9B-0C08B877F48A}" srcOrd="0" destOrd="0" presId="urn:microsoft.com/office/officeart/2005/8/layout/hProcess11"/>
    <dgm:cxn modelId="{BB54602A-A227-4E19-8E50-57FA32836B80}" srcId="{096CA984-99A2-43BE-8086-D5BD2EE6A9C1}" destId="{B2186AFE-DAF4-40D9-85C2-9C99508C0B22}" srcOrd="3" destOrd="0" parTransId="{8DD1BD38-8C63-4611-8D4C-11A28AD3E9A9}" sibTransId="{10767A00-97F9-449A-BD9A-96C91A5D9FB8}"/>
    <dgm:cxn modelId="{B23E4E37-DF27-4977-BF2A-461062EADAF4}" type="presOf" srcId="{E325FEF7-D986-434A-B529-510649C46F29}" destId="{5A98EE9D-1F79-4AEB-B59C-A11BEF152A36}" srcOrd="0" destOrd="0" presId="urn:microsoft.com/office/officeart/2005/8/layout/hProcess11"/>
    <dgm:cxn modelId="{84594F38-2646-49D3-93EE-F76242083469}" srcId="{096CA984-99A2-43BE-8086-D5BD2EE6A9C1}" destId="{1238E78D-C6F0-461F-BF2E-E1B86D8C0223}" srcOrd="6" destOrd="0" parTransId="{F0744B39-81A0-4A8D-A7BB-FE8AD2C87224}" sibTransId="{1082899A-39AB-4900-A1F8-F49C90737EBA}"/>
    <dgm:cxn modelId="{0DD07E60-89B1-4FA2-8372-5ED345F5DEED}" srcId="{096CA984-99A2-43BE-8086-D5BD2EE6A9C1}" destId="{B223ED21-CC32-4428-AD0B-1E25F7493C40}" srcOrd="0" destOrd="0" parTransId="{A356AEC0-0388-47D7-A4F9-BD97971500FD}" sibTransId="{15FE11F6-2A62-4CAB-966F-F29AB5BB9254}"/>
    <dgm:cxn modelId="{BEB6FEAD-4161-4BF6-A387-085421B0C4A9}" type="presOf" srcId="{65E3E3BA-B26C-4CDC-A7FC-D34A7AC8DE33}" destId="{9CD31DEE-5081-4D9F-9900-74A583D6424E}" srcOrd="0" destOrd="0" presId="urn:microsoft.com/office/officeart/2005/8/layout/hProcess11"/>
    <dgm:cxn modelId="{170A91B0-BB95-4D2F-8FEE-1EABC3117B32}" type="presOf" srcId="{B2186AFE-DAF4-40D9-85C2-9C99508C0B22}" destId="{53914EE8-8EA1-4035-8EA9-BECBBF618702}" srcOrd="0" destOrd="0" presId="urn:microsoft.com/office/officeart/2005/8/layout/hProcess11"/>
    <dgm:cxn modelId="{EA99EBB1-6542-4027-8619-8629CA2E392C}" type="presOf" srcId="{E0141A2D-4B81-461A-AB03-C68A11B2D942}" destId="{4E8F29CF-14D9-409F-9DDE-B05B5B31C1DA}" srcOrd="0" destOrd="0" presId="urn:microsoft.com/office/officeart/2005/8/layout/hProcess11"/>
    <dgm:cxn modelId="{27A6C9B7-5E04-4F25-9642-08324478D4F1}" srcId="{096CA984-99A2-43BE-8086-D5BD2EE6A9C1}" destId="{E325FEF7-D986-434A-B529-510649C46F29}" srcOrd="2" destOrd="0" parTransId="{9FBD5BBC-DD9A-46C2-B1E0-635DF427E1E3}" sibTransId="{0F431FEF-C0E2-42B7-8B83-9E45D74DAA98}"/>
    <dgm:cxn modelId="{FDE368DD-D595-4203-8A22-7867C96A8E3F}" type="presOf" srcId="{096CA984-99A2-43BE-8086-D5BD2EE6A9C1}" destId="{12B44CC8-AA0A-4AA9-B3BC-767DC60A924D}" srcOrd="0" destOrd="0" presId="urn:microsoft.com/office/officeart/2005/8/layout/hProcess11"/>
    <dgm:cxn modelId="{526E13F1-35D2-41F0-A8AD-8D63E0022CEA}" type="presOf" srcId="{1238E78D-C6F0-461F-BF2E-E1B86D8C0223}" destId="{34BE3C4D-EF98-4578-857B-2EA77A9D8986}" srcOrd="0" destOrd="0" presId="urn:microsoft.com/office/officeart/2005/8/layout/hProcess11"/>
    <dgm:cxn modelId="{53CD46FB-70D4-4CF3-8323-F5E1FA0D0640}" srcId="{096CA984-99A2-43BE-8086-D5BD2EE6A9C1}" destId="{ADEA85CE-2711-46FA-A2C1-5BAE59843E11}" srcOrd="1" destOrd="0" parTransId="{0DBB2DB8-9079-4A82-B5AC-57949F1AB9E4}" sibTransId="{C6FF4205-0C5A-4AAB-861E-2BAB0A264F06}"/>
    <dgm:cxn modelId="{48B3B71A-46DF-403A-914B-F11700F5B408}" type="presParOf" srcId="{12B44CC8-AA0A-4AA9-B3BC-767DC60A924D}" destId="{F592CC84-F119-40D9-BA7A-D331FAE34F5B}" srcOrd="0" destOrd="0" presId="urn:microsoft.com/office/officeart/2005/8/layout/hProcess11"/>
    <dgm:cxn modelId="{D7B6F1E8-9F53-4CC6-BC43-F9C501CAE5D6}" type="presParOf" srcId="{12B44CC8-AA0A-4AA9-B3BC-767DC60A924D}" destId="{D01C3DDD-3DBC-46F1-81EB-2406C5FC604F}" srcOrd="1" destOrd="0" presId="urn:microsoft.com/office/officeart/2005/8/layout/hProcess11"/>
    <dgm:cxn modelId="{7AA88901-331E-4660-8B01-A3C4CEA0ACAE}" type="presParOf" srcId="{D01C3DDD-3DBC-46F1-81EB-2406C5FC604F}" destId="{FB6166E0-2236-40B7-9897-2BC78DFD6DA2}" srcOrd="0" destOrd="0" presId="urn:microsoft.com/office/officeart/2005/8/layout/hProcess11"/>
    <dgm:cxn modelId="{DBF6BB2B-8A88-48A7-A2DA-9F2BDA8F80FD}" type="presParOf" srcId="{FB6166E0-2236-40B7-9897-2BC78DFD6DA2}" destId="{B6E263B8-0542-4F2A-9A9B-0C08B877F48A}" srcOrd="0" destOrd="0" presId="urn:microsoft.com/office/officeart/2005/8/layout/hProcess11"/>
    <dgm:cxn modelId="{7E44FFB1-D1CC-412A-B839-50F6DB7A7413}" type="presParOf" srcId="{FB6166E0-2236-40B7-9897-2BC78DFD6DA2}" destId="{7FAB71C4-B29D-41A7-B76E-33BB9E12A05A}" srcOrd="1" destOrd="0" presId="urn:microsoft.com/office/officeart/2005/8/layout/hProcess11"/>
    <dgm:cxn modelId="{15F40508-9F70-4ADA-94B3-24AC42FB22AB}" type="presParOf" srcId="{FB6166E0-2236-40B7-9897-2BC78DFD6DA2}" destId="{2F53DAF7-4866-4B1A-8116-F29926494336}" srcOrd="2" destOrd="0" presId="urn:microsoft.com/office/officeart/2005/8/layout/hProcess11"/>
    <dgm:cxn modelId="{8494F443-F5F7-4CAB-95D5-BC718206EB00}" type="presParOf" srcId="{D01C3DDD-3DBC-46F1-81EB-2406C5FC604F}" destId="{AD0EB420-5C30-4461-ADC2-A9989745FD27}" srcOrd="1" destOrd="0" presId="urn:microsoft.com/office/officeart/2005/8/layout/hProcess11"/>
    <dgm:cxn modelId="{EFF403B7-D687-4C14-8789-F5DAD945B593}" type="presParOf" srcId="{D01C3DDD-3DBC-46F1-81EB-2406C5FC604F}" destId="{83F1B565-1B41-4604-AA70-4C2ACDA1CB4D}" srcOrd="2" destOrd="0" presId="urn:microsoft.com/office/officeart/2005/8/layout/hProcess11"/>
    <dgm:cxn modelId="{47F517EC-D9F7-4C70-8989-793AB92FB89B}" type="presParOf" srcId="{83F1B565-1B41-4604-AA70-4C2ACDA1CB4D}" destId="{99ED1E63-7D4F-451C-A87C-211467201E5C}" srcOrd="0" destOrd="0" presId="urn:microsoft.com/office/officeart/2005/8/layout/hProcess11"/>
    <dgm:cxn modelId="{8F2301C8-8801-47EB-8C1B-B1FE3159BF6E}" type="presParOf" srcId="{83F1B565-1B41-4604-AA70-4C2ACDA1CB4D}" destId="{A25C85FC-39BA-481E-8121-009B62BD8DB2}" srcOrd="1" destOrd="0" presId="urn:microsoft.com/office/officeart/2005/8/layout/hProcess11"/>
    <dgm:cxn modelId="{C7766E41-E5A3-4519-A4DC-E127347C52C5}" type="presParOf" srcId="{83F1B565-1B41-4604-AA70-4C2ACDA1CB4D}" destId="{5172485B-54D1-431D-BD56-F52E832177F1}" srcOrd="2" destOrd="0" presId="urn:microsoft.com/office/officeart/2005/8/layout/hProcess11"/>
    <dgm:cxn modelId="{15DF2459-397E-4FBE-B362-C58AE5DE13BF}" type="presParOf" srcId="{D01C3DDD-3DBC-46F1-81EB-2406C5FC604F}" destId="{D9C776A9-1178-47BD-A681-71254120583B}" srcOrd="3" destOrd="0" presId="urn:microsoft.com/office/officeart/2005/8/layout/hProcess11"/>
    <dgm:cxn modelId="{A4958E5F-F9B4-4D78-8F23-7716C8BAB44E}" type="presParOf" srcId="{D01C3DDD-3DBC-46F1-81EB-2406C5FC604F}" destId="{0AE6AB61-2494-4DD9-867B-1AE8771EF359}" srcOrd="4" destOrd="0" presId="urn:microsoft.com/office/officeart/2005/8/layout/hProcess11"/>
    <dgm:cxn modelId="{DA3C86D1-00D9-49C2-8F29-208D43ABE2A4}" type="presParOf" srcId="{0AE6AB61-2494-4DD9-867B-1AE8771EF359}" destId="{5A98EE9D-1F79-4AEB-B59C-A11BEF152A36}" srcOrd="0" destOrd="0" presId="urn:microsoft.com/office/officeart/2005/8/layout/hProcess11"/>
    <dgm:cxn modelId="{803FA613-C7C4-4DEC-9068-82A1EB039D77}" type="presParOf" srcId="{0AE6AB61-2494-4DD9-867B-1AE8771EF359}" destId="{631D995D-78DB-46F0-9502-E1F16024DBB8}" srcOrd="1" destOrd="0" presId="urn:microsoft.com/office/officeart/2005/8/layout/hProcess11"/>
    <dgm:cxn modelId="{713B1C97-0325-401F-8CB6-4575636E52A8}" type="presParOf" srcId="{0AE6AB61-2494-4DD9-867B-1AE8771EF359}" destId="{C72CC0BC-1685-4392-95DB-8252AC51CFD7}" srcOrd="2" destOrd="0" presId="urn:microsoft.com/office/officeart/2005/8/layout/hProcess11"/>
    <dgm:cxn modelId="{36010A36-B524-415A-A6BB-CC7740414907}" type="presParOf" srcId="{D01C3DDD-3DBC-46F1-81EB-2406C5FC604F}" destId="{A76EE2E0-F895-4D62-810E-954A0E1D39CC}" srcOrd="5" destOrd="0" presId="urn:microsoft.com/office/officeart/2005/8/layout/hProcess11"/>
    <dgm:cxn modelId="{4B654F4A-BC62-4E4F-908F-A5B99B9763F5}" type="presParOf" srcId="{D01C3DDD-3DBC-46F1-81EB-2406C5FC604F}" destId="{7608BEA5-3599-4F12-9618-FF0FDDD27A28}" srcOrd="6" destOrd="0" presId="urn:microsoft.com/office/officeart/2005/8/layout/hProcess11"/>
    <dgm:cxn modelId="{8D6EB12C-72E7-4B1E-9EAF-45C14E278DB3}" type="presParOf" srcId="{7608BEA5-3599-4F12-9618-FF0FDDD27A28}" destId="{53914EE8-8EA1-4035-8EA9-BECBBF618702}" srcOrd="0" destOrd="0" presId="urn:microsoft.com/office/officeart/2005/8/layout/hProcess11"/>
    <dgm:cxn modelId="{FF85AF5A-7220-4CF0-B9EE-B274E6C27213}" type="presParOf" srcId="{7608BEA5-3599-4F12-9618-FF0FDDD27A28}" destId="{2A203A87-85B2-44FD-8E7D-5661D26C8894}" srcOrd="1" destOrd="0" presId="urn:microsoft.com/office/officeart/2005/8/layout/hProcess11"/>
    <dgm:cxn modelId="{763859B3-6C23-4E93-8750-AA8A3CE6308F}" type="presParOf" srcId="{7608BEA5-3599-4F12-9618-FF0FDDD27A28}" destId="{EB3D60E1-760E-4604-86F2-87982E396ABE}" srcOrd="2" destOrd="0" presId="urn:microsoft.com/office/officeart/2005/8/layout/hProcess11"/>
    <dgm:cxn modelId="{A6A1C57B-95B5-4EB4-BA16-ECCB95EC9C1F}" type="presParOf" srcId="{D01C3DDD-3DBC-46F1-81EB-2406C5FC604F}" destId="{18A833F1-869D-4587-B3FF-EC8EF7F669F3}" srcOrd="7" destOrd="0" presId="urn:microsoft.com/office/officeart/2005/8/layout/hProcess11"/>
    <dgm:cxn modelId="{EC0C0EB2-6F63-446F-ADA2-9D7FA5A2C4CC}" type="presParOf" srcId="{D01C3DDD-3DBC-46F1-81EB-2406C5FC604F}" destId="{023114F0-1002-4F96-B943-630FF6204335}" srcOrd="8" destOrd="0" presId="urn:microsoft.com/office/officeart/2005/8/layout/hProcess11"/>
    <dgm:cxn modelId="{6ACEAB01-8B79-4FBF-8330-F6A8DD98BF79}" type="presParOf" srcId="{023114F0-1002-4F96-B943-630FF6204335}" destId="{9CD31DEE-5081-4D9F-9900-74A583D6424E}" srcOrd="0" destOrd="0" presId="urn:microsoft.com/office/officeart/2005/8/layout/hProcess11"/>
    <dgm:cxn modelId="{9BE60ADF-F5C4-481B-A164-277E009F48B3}" type="presParOf" srcId="{023114F0-1002-4F96-B943-630FF6204335}" destId="{DEACD8E7-279E-445C-994B-9DBC4981B585}" srcOrd="1" destOrd="0" presId="urn:microsoft.com/office/officeart/2005/8/layout/hProcess11"/>
    <dgm:cxn modelId="{7697308B-FC1D-4550-9E56-4CED782085DF}" type="presParOf" srcId="{023114F0-1002-4F96-B943-630FF6204335}" destId="{662AFE98-C7EF-4FEA-A0A8-23EB52B7F62C}" srcOrd="2" destOrd="0" presId="urn:microsoft.com/office/officeart/2005/8/layout/hProcess11"/>
    <dgm:cxn modelId="{E9F1C1C5-6568-4483-A6D5-FD5EDF679C47}" type="presParOf" srcId="{D01C3DDD-3DBC-46F1-81EB-2406C5FC604F}" destId="{5FE05128-CB79-441B-B148-EA971604D09C}" srcOrd="9" destOrd="0" presId="urn:microsoft.com/office/officeart/2005/8/layout/hProcess11"/>
    <dgm:cxn modelId="{5ECEA33A-C4D7-4277-B9C4-2CB5A7C147C4}" type="presParOf" srcId="{D01C3DDD-3DBC-46F1-81EB-2406C5FC604F}" destId="{31CDC11E-FE7D-4F90-AA26-3B9BF52510F3}" srcOrd="10" destOrd="0" presId="urn:microsoft.com/office/officeart/2005/8/layout/hProcess11"/>
    <dgm:cxn modelId="{9D6E554D-64F3-473D-9855-9542ACD25F12}" type="presParOf" srcId="{31CDC11E-FE7D-4F90-AA26-3B9BF52510F3}" destId="{4E8F29CF-14D9-409F-9DDE-B05B5B31C1DA}" srcOrd="0" destOrd="0" presId="urn:microsoft.com/office/officeart/2005/8/layout/hProcess11"/>
    <dgm:cxn modelId="{0D81706A-D8DD-4845-99A5-42B5CEACF819}" type="presParOf" srcId="{31CDC11E-FE7D-4F90-AA26-3B9BF52510F3}" destId="{2E11B187-219F-4A4B-9D0D-BE6A28F334D2}" srcOrd="1" destOrd="0" presId="urn:microsoft.com/office/officeart/2005/8/layout/hProcess11"/>
    <dgm:cxn modelId="{E64CBCC3-FFA4-49BF-8A46-BE1E2989EACC}" type="presParOf" srcId="{31CDC11E-FE7D-4F90-AA26-3B9BF52510F3}" destId="{9C8D084F-2625-48E3-AAC4-D527C318CBE9}" srcOrd="2" destOrd="0" presId="urn:microsoft.com/office/officeart/2005/8/layout/hProcess11"/>
    <dgm:cxn modelId="{0C3E18E9-EF2D-498C-BD67-C703C75B2B93}" type="presParOf" srcId="{D01C3DDD-3DBC-46F1-81EB-2406C5FC604F}" destId="{DAC8A88D-55CB-4E15-BC28-F812F83A3AE2}" srcOrd="11" destOrd="0" presId="urn:microsoft.com/office/officeart/2005/8/layout/hProcess11"/>
    <dgm:cxn modelId="{64C884C1-7ABD-490F-91B1-0915C61CCE66}" type="presParOf" srcId="{D01C3DDD-3DBC-46F1-81EB-2406C5FC604F}" destId="{9DB6148A-3DE0-4210-AC4A-F1B5B8C4D775}" srcOrd="12" destOrd="0" presId="urn:microsoft.com/office/officeart/2005/8/layout/hProcess11"/>
    <dgm:cxn modelId="{B0F0050A-9744-4854-807E-2772F8F56BBF}" type="presParOf" srcId="{9DB6148A-3DE0-4210-AC4A-F1B5B8C4D775}" destId="{34BE3C4D-EF98-4578-857B-2EA77A9D8986}" srcOrd="0" destOrd="0" presId="urn:microsoft.com/office/officeart/2005/8/layout/hProcess11"/>
    <dgm:cxn modelId="{E9B780B9-2A8C-4325-B4B0-284B14590DE1}" type="presParOf" srcId="{9DB6148A-3DE0-4210-AC4A-F1B5B8C4D775}" destId="{E09191A0-9656-4698-A7D4-7779B1F5EAFA}" srcOrd="1" destOrd="0" presId="urn:microsoft.com/office/officeart/2005/8/layout/hProcess11"/>
    <dgm:cxn modelId="{784C4703-0767-40C3-8FFC-50EFDF87E660}" type="presParOf" srcId="{9DB6148A-3DE0-4210-AC4A-F1B5B8C4D775}" destId="{7505E28F-1A59-49E9-8B95-541AF8C78544}" srcOrd="2" destOrd="0" presId="urn:microsoft.com/office/officeart/2005/8/layout/hProcess1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1D5053AF-04D1-4290-9E27-36D29956BF4B}" type="doc">
      <dgm:prSet loTypeId="urn:microsoft.com/office/officeart/2008/layout/LinedList" loCatId="list" qsTypeId="urn:microsoft.com/office/officeart/2005/8/quickstyle/simple5" qsCatId="simple" csTypeId="urn:microsoft.com/office/officeart/2005/8/colors/accent0_3" csCatId="mainScheme"/>
      <dgm:spPr/>
      <dgm:t>
        <a:bodyPr/>
        <a:lstStyle/>
        <a:p>
          <a:endParaRPr lang="en-US"/>
        </a:p>
      </dgm:t>
    </dgm:pt>
    <dgm:pt modelId="{997CAC5A-8B1A-4ECA-B961-C6A35F432205}">
      <dgm:prSet/>
      <dgm:spPr/>
      <dgm:t>
        <a:bodyPr/>
        <a:lstStyle/>
        <a:p>
          <a:pPr algn="just"/>
          <a:r>
            <a:t>Araç paylaşımı: Kullanıcıların kısa bir süre için, genellikle saat veya dakika olarak araç kiralamasına izin verir. Araba paylaşım hizmetleri istasyon tabanlı veya serbest yüzer olabilir.</a:t>
          </a:r>
        </a:p>
      </dgm:t>
    </dgm:pt>
    <dgm:pt modelId="{CEE15668-E4F2-4891-A13E-FC3CE902033A}" type="parTrans" cxnId="{2406E5FE-DD04-4855-8B13-E8D9BAB134CE}">
      <dgm:prSet/>
      <dgm:spPr/>
      <dgm:t>
        <a:bodyPr/>
        <a:lstStyle/>
        <a:p>
          <a:pPr algn="just"/>
          <a:endParaRPr lang="en-US" sz="2000"/>
        </a:p>
      </dgm:t>
    </dgm:pt>
    <dgm:pt modelId="{27D38377-B391-4E2A-AC85-04051D86FB16}" type="sibTrans" cxnId="{2406E5FE-DD04-4855-8B13-E8D9BAB134CE}">
      <dgm:prSet/>
      <dgm:spPr/>
      <dgm:t>
        <a:bodyPr/>
        <a:lstStyle/>
        <a:p>
          <a:pPr algn="just"/>
          <a:endParaRPr lang="en-US"/>
        </a:p>
      </dgm:t>
    </dgm:pt>
    <dgm:pt modelId="{FACE8DF0-073D-4121-82E8-39E4F39BE773}">
      <dgm:prSet/>
      <dgm:spPr/>
      <dgm:t>
        <a:bodyPr/>
        <a:lstStyle/>
        <a:p>
          <a:pPr algn="just"/>
          <a:r>
            <a:t>Bisiklet paylaşımı: Kullanıcıların genellikle saat veya dakika olarak kısa bir süre için bisiklet kiralamasına izin verir. Bisiklet paylaşım hizmetleri istasyon tabanlı veya serbest yüzer olabilir.</a:t>
          </a:r>
        </a:p>
      </dgm:t>
    </dgm:pt>
    <dgm:pt modelId="{BEEDCC5B-57DE-48C6-AE99-50A03CF541CD}" type="parTrans" cxnId="{43690631-EABF-426B-9EBF-06BCED35E42E}">
      <dgm:prSet/>
      <dgm:spPr/>
      <dgm:t>
        <a:bodyPr/>
        <a:lstStyle/>
        <a:p>
          <a:pPr algn="just"/>
          <a:endParaRPr lang="en-US" sz="2000"/>
        </a:p>
      </dgm:t>
    </dgm:pt>
    <dgm:pt modelId="{5DE99585-1249-441C-B8BC-68E41D49A35C}" type="sibTrans" cxnId="{43690631-EABF-426B-9EBF-06BCED35E42E}">
      <dgm:prSet/>
      <dgm:spPr/>
      <dgm:t>
        <a:bodyPr/>
        <a:lstStyle/>
        <a:p>
          <a:pPr algn="just"/>
          <a:endParaRPr lang="en-US"/>
        </a:p>
      </dgm:t>
    </dgm:pt>
    <dgm:pt modelId="{0E84B7CF-8820-4017-87D3-ABA596D27D3D}">
      <dgm:prSet/>
      <dgm:spPr/>
      <dgm:t>
        <a:bodyPr/>
        <a:lstStyle/>
        <a:p>
          <a:pPr algn="just"/>
          <a:r>
            <a:t>Yolculuk paylaşımı: Kullanıcıların aynı yöne giden başkalarıyla yolculuk paylaşmasına olanak tanır. Yolculuk paylaşım hizmetleri özel şahıslar veya şirketler tarafından sağlanabilir.</a:t>
          </a:r>
        </a:p>
      </dgm:t>
    </dgm:pt>
    <dgm:pt modelId="{03C4471D-DBE3-4E38-ABAD-A3BB0C07EB01}" type="parTrans" cxnId="{B2F83510-83CB-4392-B125-E75E2AD4D871}">
      <dgm:prSet/>
      <dgm:spPr/>
      <dgm:t>
        <a:bodyPr/>
        <a:lstStyle/>
        <a:p>
          <a:pPr algn="just"/>
          <a:endParaRPr lang="en-US" sz="2000"/>
        </a:p>
      </dgm:t>
    </dgm:pt>
    <dgm:pt modelId="{DD4AB875-9E00-461D-A609-852CF10393B3}" type="sibTrans" cxnId="{B2F83510-83CB-4392-B125-E75E2AD4D871}">
      <dgm:prSet/>
      <dgm:spPr/>
      <dgm:t>
        <a:bodyPr/>
        <a:lstStyle/>
        <a:p>
          <a:pPr algn="just"/>
          <a:endParaRPr lang="en-US"/>
        </a:p>
      </dgm:t>
    </dgm:pt>
    <dgm:pt modelId="{AD0D282D-0A70-44D7-9CDC-3AD0C6A96EE8}">
      <dgm:prSet/>
      <dgm:spPr/>
      <dgm:t>
        <a:bodyPr/>
        <a:lstStyle/>
        <a:p>
          <a:pPr algn="just"/>
          <a:r>
            <a:t>Scooter paylaşımı: Kullanıcıların kısa bir süre için, genellikle dakika başına motorlu bir scooter kiralamasına izin verir. Scooter paylaşım hizmetleri genellikle özel şirketler tarafından sağlanmaktadır.</a:t>
          </a:r>
        </a:p>
      </dgm:t>
    </dgm:pt>
    <dgm:pt modelId="{5DD665E4-C293-4B06-ABE7-6559F6173D26}" type="parTrans" cxnId="{AC4E2525-59D1-4915-A4EF-CF159F21F7C2}">
      <dgm:prSet/>
      <dgm:spPr/>
      <dgm:t>
        <a:bodyPr/>
        <a:lstStyle/>
        <a:p>
          <a:pPr algn="just"/>
          <a:endParaRPr lang="en-US" sz="2000"/>
        </a:p>
      </dgm:t>
    </dgm:pt>
    <dgm:pt modelId="{3A2A498F-25A8-404F-A3B1-8521CD11578D}" type="sibTrans" cxnId="{AC4E2525-59D1-4915-A4EF-CF159F21F7C2}">
      <dgm:prSet/>
      <dgm:spPr/>
      <dgm:t>
        <a:bodyPr/>
        <a:lstStyle/>
        <a:p>
          <a:pPr algn="just"/>
          <a:endParaRPr lang="en-US"/>
        </a:p>
      </dgm:t>
    </dgm:pt>
    <dgm:pt modelId="{3B58A8D1-5E64-43D7-A3B2-4C79C98E06A5}">
      <dgm:prSet/>
      <dgm:spPr/>
      <dgm:t>
        <a:bodyPr/>
        <a:lstStyle/>
        <a:p>
          <a:pPr algn="just"/>
          <a:r>
            <a:t>İstasyon tabanlı bisiklet paylaşım sistemleri, kullanıcıların belirlenen istasyonlarda bisiklet alıp bırakmalarını gerektirir ve bu da sistemin esnekliğini sınırlayabilir.</a:t>
          </a:r>
        </a:p>
      </dgm:t>
    </dgm:pt>
    <dgm:pt modelId="{CA2E3BBE-CAF9-478A-997A-AB4ACE2243C9}" type="parTrans" cxnId="{BFD067C1-01B6-41F8-B1CD-DD0E6E1FFA63}">
      <dgm:prSet/>
      <dgm:spPr/>
      <dgm:t>
        <a:bodyPr/>
        <a:lstStyle/>
        <a:p>
          <a:pPr algn="just"/>
          <a:endParaRPr lang="en-US" sz="2000"/>
        </a:p>
      </dgm:t>
    </dgm:pt>
    <dgm:pt modelId="{F3E1B10C-9849-4C7A-989B-C8B5E3806761}" type="sibTrans" cxnId="{BFD067C1-01B6-41F8-B1CD-DD0E6E1FFA63}">
      <dgm:prSet/>
      <dgm:spPr/>
      <dgm:t>
        <a:bodyPr/>
        <a:lstStyle/>
        <a:p>
          <a:pPr algn="just"/>
          <a:endParaRPr lang="en-US"/>
        </a:p>
      </dgm:t>
    </dgm:pt>
    <dgm:pt modelId="{FC7CA5F9-61C0-4C3A-96FD-E47CCE56850E}">
      <dgm:prSet/>
      <dgm:spPr/>
      <dgm:t>
        <a:bodyPr/>
        <a:lstStyle/>
        <a:p>
          <a:pPr algn="just"/>
          <a:r>
            <a:t>Serbest yüzer bisiklet paylaşım sistemleri, kullanıcıların bisiklet kullanılabilirliğini sağlamak ve hırsızlığı önlemek için gelişmiş GPS izleme ve coğrafi eskrim teknolojileri gerektiren herhangi bir halka açık yere bisiklet park etmelerini ve kilitlemelerini sağlar.</a:t>
          </a:r>
        </a:p>
      </dgm:t>
    </dgm:pt>
    <dgm:pt modelId="{594BA948-EBF6-449D-80F6-65AA9A8756D1}" type="parTrans" cxnId="{259FFC98-427B-41F5-8DFF-AFDBD6C7C65C}">
      <dgm:prSet/>
      <dgm:spPr/>
      <dgm:t>
        <a:bodyPr/>
        <a:lstStyle/>
        <a:p>
          <a:pPr algn="just"/>
          <a:endParaRPr lang="en-US" sz="2000"/>
        </a:p>
      </dgm:t>
    </dgm:pt>
    <dgm:pt modelId="{DBF997A7-EB40-46FA-9EA0-BBEBEB72E9B2}" type="sibTrans" cxnId="{259FFC98-427B-41F5-8DFF-AFDBD6C7C65C}">
      <dgm:prSet/>
      <dgm:spPr/>
      <dgm:t>
        <a:bodyPr/>
        <a:lstStyle/>
        <a:p>
          <a:pPr algn="just"/>
          <a:endParaRPr lang="en-US"/>
        </a:p>
      </dgm:t>
    </dgm:pt>
    <dgm:pt modelId="{55121DCB-EE1B-407C-8BFF-28D438852510}">
      <dgm:prSet/>
      <dgm:spPr/>
      <dgm:t>
        <a:bodyPr/>
        <a:lstStyle/>
        <a:p>
          <a:pPr algn="just"/>
          <a:r>
            <a:t>Yolculuk paylaşımı hizmetleri, aynı yöne giden sürücü ortaklarıyla yolcuları eşleştirmek ve güzergah planlamasını optimize etmek için algoritmalar kullanan mobil uygulamalarla kolaylaştırılabilir.</a:t>
          </a:r>
        </a:p>
      </dgm:t>
    </dgm:pt>
    <dgm:pt modelId="{8CB951BA-B3C3-4E33-8C2F-3A41ED79DA25}" type="parTrans" cxnId="{2D3B806E-DF77-44DE-815D-98462F8A7B01}">
      <dgm:prSet/>
      <dgm:spPr/>
      <dgm:t>
        <a:bodyPr/>
        <a:lstStyle/>
        <a:p>
          <a:pPr algn="just"/>
          <a:endParaRPr lang="en-US" sz="2000"/>
        </a:p>
      </dgm:t>
    </dgm:pt>
    <dgm:pt modelId="{4AEA476D-74D8-4748-AE24-238F4464702C}" type="sibTrans" cxnId="{2D3B806E-DF77-44DE-815D-98462F8A7B01}">
      <dgm:prSet/>
      <dgm:spPr/>
      <dgm:t>
        <a:bodyPr/>
        <a:lstStyle/>
        <a:p>
          <a:pPr algn="just"/>
          <a:endParaRPr lang="en-US"/>
        </a:p>
      </dgm:t>
    </dgm:pt>
    <dgm:pt modelId="{92D1A332-C138-412A-9148-652FD42B37EB}">
      <dgm:prSet/>
      <dgm:spPr/>
      <dgm:t>
        <a:bodyPr/>
        <a:lstStyle/>
        <a:p>
          <a:pPr algn="just"/>
          <a:r>
            <a:t>Scooter paylaşım hizmetleri genellikle gelişmiş pil yönetim sistemleri ve scooter kullanılabilirliği, şarj ve bakım yönetmek için gerçek zamanlı GPS izleme gerektirir.</a:t>
          </a:r>
        </a:p>
      </dgm:t>
    </dgm:pt>
    <dgm:pt modelId="{C4DF8EC0-8670-4852-A427-D4CC16111BE7}" type="parTrans" cxnId="{1A4C8870-EF26-4E3B-9A4C-B396BB284AAC}">
      <dgm:prSet/>
      <dgm:spPr/>
      <dgm:t>
        <a:bodyPr/>
        <a:lstStyle/>
        <a:p>
          <a:pPr algn="just"/>
          <a:endParaRPr lang="en-US" sz="2000"/>
        </a:p>
      </dgm:t>
    </dgm:pt>
    <dgm:pt modelId="{1E629EEA-88E6-4FAA-81C9-41856D3417CD}" type="sibTrans" cxnId="{1A4C8870-EF26-4E3B-9A4C-B396BB284AAC}">
      <dgm:prSet/>
      <dgm:spPr/>
      <dgm:t>
        <a:bodyPr/>
        <a:lstStyle/>
        <a:p>
          <a:pPr algn="just"/>
          <a:endParaRPr lang="en-US"/>
        </a:p>
      </dgm:t>
    </dgm:pt>
    <dgm:pt modelId="{F353C4A6-4254-4CDB-AE2D-2663F1743A29}" type="pres">
      <dgm:prSet presAssocID="{1D5053AF-04D1-4290-9E27-36D29956BF4B}" presName="vert0" presStyleCnt="0">
        <dgm:presLayoutVars>
          <dgm:dir/>
          <dgm:animOne val="branch"/>
          <dgm:animLvl val="lvl"/>
        </dgm:presLayoutVars>
      </dgm:prSet>
      <dgm:spPr/>
    </dgm:pt>
    <dgm:pt modelId="{473BADB2-F52A-43C5-89B2-F2910FDD1CCE}" type="pres">
      <dgm:prSet presAssocID="{997CAC5A-8B1A-4ECA-B961-C6A35F432205}" presName="thickLine" presStyleLbl="alignNode1" presStyleIdx="0" presStyleCnt="8"/>
      <dgm:spPr/>
    </dgm:pt>
    <dgm:pt modelId="{7D9348B8-18E8-414C-93C3-E33798027A86}" type="pres">
      <dgm:prSet presAssocID="{997CAC5A-8B1A-4ECA-B961-C6A35F432205}" presName="horz1" presStyleCnt="0"/>
      <dgm:spPr/>
    </dgm:pt>
    <dgm:pt modelId="{18866107-FBE6-454D-AFD3-BBDB041B448A}" type="pres">
      <dgm:prSet presAssocID="{997CAC5A-8B1A-4ECA-B961-C6A35F432205}" presName="tx1" presStyleLbl="revTx" presStyleIdx="0" presStyleCnt="8"/>
      <dgm:spPr/>
    </dgm:pt>
    <dgm:pt modelId="{6E3E1587-F309-42EF-B813-CBDF54641B2E}" type="pres">
      <dgm:prSet presAssocID="{997CAC5A-8B1A-4ECA-B961-C6A35F432205}" presName="vert1" presStyleCnt="0"/>
      <dgm:spPr/>
    </dgm:pt>
    <dgm:pt modelId="{F67D4D9E-97F1-4053-95DC-D5CF72DA87FF}" type="pres">
      <dgm:prSet presAssocID="{FACE8DF0-073D-4121-82E8-39E4F39BE773}" presName="thickLine" presStyleLbl="alignNode1" presStyleIdx="1" presStyleCnt="8"/>
      <dgm:spPr/>
    </dgm:pt>
    <dgm:pt modelId="{471CC0A2-1B4B-44F3-8B78-0FE46A82BD53}" type="pres">
      <dgm:prSet presAssocID="{FACE8DF0-073D-4121-82E8-39E4F39BE773}" presName="horz1" presStyleCnt="0"/>
      <dgm:spPr/>
    </dgm:pt>
    <dgm:pt modelId="{CD191B83-1324-4E3E-8A95-B0D9D3BF618F}" type="pres">
      <dgm:prSet presAssocID="{FACE8DF0-073D-4121-82E8-39E4F39BE773}" presName="tx1" presStyleLbl="revTx" presStyleIdx="1" presStyleCnt="8"/>
      <dgm:spPr/>
    </dgm:pt>
    <dgm:pt modelId="{F509EC54-79A7-4B05-B00B-002C45CB45A6}" type="pres">
      <dgm:prSet presAssocID="{FACE8DF0-073D-4121-82E8-39E4F39BE773}" presName="vert1" presStyleCnt="0"/>
      <dgm:spPr/>
    </dgm:pt>
    <dgm:pt modelId="{22523843-1A54-4AE7-95A8-C49870BF35B1}" type="pres">
      <dgm:prSet presAssocID="{0E84B7CF-8820-4017-87D3-ABA596D27D3D}" presName="thickLine" presStyleLbl="alignNode1" presStyleIdx="2" presStyleCnt="8"/>
      <dgm:spPr/>
    </dgm:pt>
    <dgm:pt modelId="{91273141-2CB3-4B37-8836-0BE2810EE9D5}" type="pres">
      <dgm:prSet presAssocID="{0E84B7CF-8820-4017-87D3-ABA596D27D3D}" presName="horz1" presStyleCnt="0"/>
      <dgm:spPr/>
    </dgm:pt>
    <dgm:pt modelId="{4573FD48-0BF9-4799-A44B-90301406922D}" type="pres">
      <dgm:prSet presAssocID="{0E84B7CF-8820-4017-87D3-ABA596D27D3D}" presName="tx1" presStyleLbl="revTx" presStyleIdx="2" presStyleCnt="8"/>
      <dgm:spPr/>
    </dgm:pt>
    <dgm:pt modelId="{309468D0-A348-4AEE-BBEE-9305F15DFF72}" type="pres">
      <dgm:prSet presAssocID="{0E84B7CF-8820-4017-87D3-ABA596D27D3D}" presName="vert1" presStyleCnt="0"/>
      <dgm:spPr/>
    </dgm:pt>
    <dgm:pt modelId="{70724973-3A2C-4FE9-88C5-BB1208C44E6B}" type="pres">
      <dgm:prSet presAssocID="{AD0D282D-0A70-44D7-9CDC-3AD0C6A96EE8}" presName="thickLine" presStyleLbl="alignNode1" presStyleIdx="3" presStyleCnt="8"/>
      <dgm:spPr/>
    </dgm:pt>
    <dgm:pt modelId="{3ACDCC38-3E3D-41AB-B4C4-CCC203D0D1B3}" type="pres">
      <dgm:prSet presAssocID="{AD0D282D-0A70-44D7-9CDC-3AD0C6A96EE8}" presName="horz1" presStyleCnt="0"/>
      <dgm:spPr/>
    </dgm:pt>
    <dgm:pt modelId="{BC671FEB-611D-41C3-B1BC-73322D1A9600}" type="pres">
      <dgm:prSet presAssocID="{AD0D282D-0A70-44D7-9CDC-3AD0C6A96EE8}" presName="tx1" presStyleLbl="revTx" presStyleIdx="3" presStyleCnt="8"/>
      <dgm:spPr/>
    </dgm:pt>
    <dgm:pt modelId="{6C030DF3-0612-496A-B997-74CF8B395E40}" type="pres">
      <dgm:prSet presAssocID="{AD0D282D-0A70-44D7-9CDC-3AD0C6A96EE8}" presName="vert1" presStyleCnt="0"/>
      <dgm:spPr/>
    </dgm:pt>
    <dgm:pt modelId="{A51003EE-F4BD-43EB-AB40-F2C4ADD37F16}" type="pres">
      <dgm:prSet presAssocID="{3B58A8D1-5E64-43D7-A3B2-4C79C98E06A5}" presName="thickLine" presStyleLbl="alignNode1" presStyleIdx="4" presStyleCnt="8"/>
      <dgm:spPr/>
    </dgm:pt>
    <dgm:pt modelId="{B581F3D9-3D6B-4961-9FF4-F684455E1D42}" type="pres">
      <dgm:prSet presAssocID="{3B58A8D1-5E64-43D7-A3B2-4C79C98E06A5}" presName="horz1" presStyleCnt="0"/>
      <dgm:spPr/>
    </dgm:pt>
    <dgm:pt modelId="{9C989269-92E0-4A7D-8D6A-7CDF731F1D17}" type="pres">
      <dgm:prSet presAssocID="{3B58A8D1-5E64-43D7-A3B2-4C79C98E06A5}" presName="tx1" presStyleLbl="revTx" presStyleIdx="4" presStyleCnt="8"/>
      <dgm:spPr/>
    </dgm:pt>
    <dgm:pt modelId="{B708101A-3BB9-4F42-993B-9E2A48AD1001}" type="pres">
      <dgm:prSet presAssocID="{3B58A8D1-5E64-43D7-A3B2-4C79C98E06A5}" presName="vert1" presStyleCnt="0"/>
      <dgm:spPr/>
    </dgm:pt>
    <dgm:pt modelId="{E409FC67-8F6E-409A-8D47-33725B4A9100}" type="pres">
      <dgm:prSet presAssocID="{FC7CA5F9-61C0-4C3A-96FD-E47CCE56850E}" presName="thickLine" presStyleLbl="alignNode1" presStyleIdx="5" presStyleCnt="8"/>
      <dgm:spPr/>
    </dgm:pt>
    <dgm:pt modelId="{89651672-7595-4D7D-88D8-1C13600CDF35}" type="pres">
      <dgm:prSet presAssocID="{FC7CA5F9-61C0-4C3A-96FD-E47CCE56850E}" presName="horz1" presStyleCnt="0"/>
      <dgm:spPr/>
    </dgm:pt>
    <dgm:pt modelId="{1DEF5F8B-2362-413D-9742-322511E49FB2}" type="pres">
      <dgm:prSet presAssocID="{FC7CA5F9-61C0-4C3A-96FD-E47CCE56850E}" presName="tx1" presStyleLbl="revTx" presStyleIdx="5" presStyleCnt="8"/>
      <dgm:spPr/>
    </dgm:pt>
    <dgm:pt modelId="{D057D119-7C0A-421F-8E5E-FF4818E0D6E4}" type="pres">
      <dgm:prSet presAssocID="{FC7CA5F9-61C0-4C3A-96FD-E47CCE56850E}" presName="vert1" presStyleCnt="0"/>
      <dgm:spPr/>
    </dgm:pt>
    <dgm:pt modelId="{9F2CC80E-3F58-4163-AA9D-78766406B010}" type="pres">
      <dgm:prSet presAssocID="{55121DCB-EE1B-407C-8BFF-28D438852510}" presName="thickLine" presStyleLbl="alignNode1" presStyleIdx="6" presStyleCnt="8"/>
      <dgm:spPr/>
    </dgm:pt>
    <dgm:pt modelId="{6D6A8C0F-E9CB-4E16-9BE5-09EEF58E327C}" type="pres">
      <dgm:prSet presAssocID="{55121DCB-EE1B-407C-8BFF-28D438852510}" presName="horz1" presStyleCnt="0"/>
      <dgm:spPr/>
    </dgm:pt>
    <dgm:pt modelId="{EF3A97FB-8396-4AA8-AEFE-36AB3342AD45}" type="pres">
      <dgm:prSet presAssocID="{55121DCB-EE1B-407C-8BFF-28D438852510}" presName="tx1" presStyleLbl="revTx" presStyleIdx="6" presStyleCnt="8"/>
      <dgm:spPr/>
    </dgm:pt>
    <dgm:pt modelId="{C3B0C2CB-22CC-48C1-9FF1-65B45309F4F3}" type="pres">
      <dgm:prSet presAssocID="{55121DCB-EE1B-407C-8BFF-28D438852510}" presName="vert1" presStyleCnt="0"/>
      <dgm:spPr/>
    </dgm:pt>
    <dgm:pt modelId="{2B98A810-55C2-46EC-8986-0707B8EB8300}" type="pres">
      <dgm:prSet presAssocID="{92D1A332-C138-412A-9148-652FD42B37EB}" presName="thickLine" presStyleLbl="alignNode1" presStyleIdx="7" presStyleCnt="8"/>
      <dgm:spPr/>
    </dgm:pt>
    <dgm:pt modelId="{3692F10F-7D29-48B3-91A7-78F8E3AA81F9}" type="pres">
      <dgm:prSet presAssocID="{92D1A332-C138-412A-9148-652FD42B37EB}" presName="horz1" presStyleCnt="0"/>
      <dgm:spPr/>
    </dgm:pt>
    <dgm:pt modelId="{E1A6852D-4059-48DC-A320-73F6DEAF14AD}" type="pres">
      <dgm:prSet presAssocID="{92D1A332-C138-412A-9148-652FD42B37EB}" presName="tx1" presStyleLbl="revTx" presStyleIdx="7" presStyleCnt="8"/>
      <dgm:spPr/>
    </dgm:pt>
    <dgm:pt modelId="{8D5BF3E5-3C61-4BB1-A5A3-BD178C0DF655}" type="pres">
      <dgm:prSet presAssocID="{92D1A332-C138-412A-9148-652FD42B37EB}" presName="vert1" presStyleCnt="0"/>
      <dgm:spPr/>
    </dgm:pt>
  </dgm:ptLst>
  <dgm:cxnLst>
    <dgm:cxn modelId="{E4DBE308-EA37-487A-9D37-D347656B15DE}" type="presOf" srcId="{FACE8DF0-073D-4121-82E8-39E4F39BE773}" destId="{CD191B83-1324-4E3E-8A95-B0D9D3BF618F}" srcOrd="0" destOrd="0" presId="urn:microsoft.com/office/officeart/2008/layout/LinedList"/>
    <dgm:cxn modelId="{B2F83510-83CB-4392-B125-E75E2AD4D871}" srcId="{1D5053AF-04D1-4290-9E27-36D29956BF4B}" destId="{0E84B7CF-8820-4017-87D3-ABA596D27D3D}" srcOrd="2" destOrd="0" parTransId="{03C4471D-DBE3-4E38-ABAD-A3BB0C07EB01}" sibTransId="{DD4AB875-9E00-461D-A609-852CF10393B3}"/>
    <dgm:cxn modelId="{5525461E-59B2-4719-99B4-2F7B4AD583B9}" type="presOf" srcId="{0E84B7CF-8820-4017-87D3-ABA596D27D3D}" destId="{4573FD48-0BF9-4799-A44B-90301406922D}" srcOrd="0" destOrd="0" presId="urn:microsoft.com/office/officeart/2008/layout/LinedList"/>
    <dgm:cxn modelId="{AC4E2525-59D1-4915-A4EF-CF159F21F7C2}" srcId="{1D5053AF-04D1-4290-9E27-36D29956BF4B}" destId="{AD0D282D-0A70-44D7-9CDC-3AD0C6A96EE8}" srcOrd="3" destOrd="0" parTransId="{5DD665E4-C293-4B06-ABE7-6559F6173D26}" sibTransId="{3A2A498F-25A8-404F-A3B1-8521CD11578D}"/>
    <dgm:cxn modelId="{43690631-EABF-426B-9EBF-06BCED35E42E}" srcId="{1D5053AF-04D1-4290-9E27-36D29956BF4B}" destId="{FACE8DF0-073D-4121-82E8-39E4F39BE773}" srcOrd="1" destOrd="0" parTransId="{BEEDCC5B-57DE-48C6-AE99-50A03CF541CD}" sibTransId="{5DE99585-1249-441C-B8BC-68E41D49A35C}"/>
    <dgm:cxn modelId="{69AEDE3A-D3AB-46B6-A617-C4E697C85368}" type="presOf" srcId="{3B58A8D1-5E64-43D7-A3B2-4C79C98E06A5}" destId="{9C989269-92E0-4A7D-8D6A-7CDF731F1D17}" srcOrd="0" destOrd="0" presId="urn:microsoft.com/office/officeart/2008/layout/LinedList"/>
    <dgm:cxn modelId="{2D3B806E-DF77-44DE-815D-98462F8A7B01}" srcId="{1D5053AF-04D1-4290-9E27-36D29956BF4B}" destId="{55121DCB-EE1B-407C-8BFF-28D438852510}" srcOrd="6" destOrd="0" parTransId="{8CB951BA-B3C3-4E33-8C2F-3A41ED79DA25}" sibTransId="{4AEA476D-74D8-4748-AE24-238F4464702C}"/>
    <dgm:cxn modelId="{85D86950-C13D-40C6-8C8F-285C2D54B543}" type="presOf" srcId="{92D1A332-C138-412A-9148-652FD42B37EB}" destId="{E1A6852D-4059-48DC-A320-73F6DEAF14AD}" srcOrd="0" destOrd="0" presId="urn:microsoft.com/office/officeart/2008/layout/LinedList"/>
    <dgm:cxn modelId="{1A4C8870-EF26-4E3B-9A4C-B396BB284AAC}" srcId="{1D5053AF-04D1-4290-9E27-36D29956BF4B}" destId="{92D1A332-C138-412A-9148-652FD42B37EB}" srcOrd="7" destOrd="0" parTransId="{C4DF8EC0-8670-4852-A427-D4CC16111BE7}" sibTransId="{1E629EEA-88E6-4FAA-81C9-41856D3417CD}"/>
    <dgm:cxn modelId="{B5284C82-89B9-476F-9296-CC58D1868845}" type="presOf" srcId="{1D5053AF-04D1-4290-9E27-36D29956BF4B}" destId="{F353C4A6-4254-4CDB-AE2D-2663F1743A29}" srcOrd="0" destOrd="0" presId="urn:microsoft.com/office/officeart/2008/layout/LinedList"/>
    <dgm:cxn modelId="{259FFC98-427B-41F5-8DFF-AFDBD6C7C65C}" srcId="{1D5053AF-04D1-4290-9E27-36D29956BF4B}" destId="{FC7CA5F9-61C0-4C3A-96FD-E47CCE56850E}" srcOrd="5" destOrd="0" parTransId="{594BA948-EBF6-449D-80F6-65AA9A8756D1}" sibTransId="{DBF997A7-EB40-46FA-9EA0-BBEBEB72E9B2}"/>
    <dgm:cxn modelId="{692473B2-39EE-4946-8845-818F46A1CA24}" type="presOf" srcId="{AD0D282D-0A70-44D7-9CDC-3AD0C6A96EE8}" destId="{BC671FEB-611D-41C3-B1BC-73322D1A9600}" srcOrd="0" destOrd="0" presId="urn:microsoft.com/office/officeart/2008/layout/LinedList"/>
    <dgm:cxn modelId="{BFD067C1-01B6-41F8-B1CD-DD0E6E1FFA63}" srcId="{1D5053AF-04D1-4290-9E27-36D29956BF4B}" destId="{3B58A8D1-5E64-43D7-A3B2-4C79C98E06A5}" srcOrd="4" destOrd="0" parTransId="{CA2E3BBE-CAF9-478A-997A-AB4ACE2243C9}" sibTransId="{F3E1B10C-9849-4C7A-989B-C8B5E3806761}"/>
    <dgm:cxn modelId="{12E4A3CB-FD84-4100-841E-8F82739D414D}" type="presOf" srcId="{55121DCB-EE1B-407C-8BFF-28D438852510}" destId="{EF3A97FB-8396-4AA8-AEFE-36AB3342AD45}" srcOrd="0" destOrd="0" presId="urn:microsoft.com/office/officeart/2008/layout/LinedList"/>
    <dgm:cxn modelId="{48AC23D1-8DF7-421E-8ACB-84B1153A7FD4}" type="presOf" srcId="{997CAC5A-8B1A-4ECA-B961-C6A35F432205}" destId="{18866107-FBE6-454D-AFD3-BBDB041B448A}" srcOrd="0" destOrd="0" presId="urn:microsoft.com/office/officeart/2008/layout/LinedList"/>
    <dgm:cxn modelId="{D56EF6E9-ECAE-450A-8621-691E11F6ED7A}" type="presOf" srcId="{FC7CA5F9-61C0-4C3A-96FD-E47CCE56850E}" destId="{1DEF5F8B-2362-413D-9742-322511E49FB2}" srcOrd="0" destOrd="0" presId="urn:microsoft.com/office/officeart/2008/layout/LinedList"/>
    <dgm:cxn modelId="{2406E5FE-DD04-4855-8B13-E8D9BAB134CE}" srcId="{1D5053AF-04D1-4290-9E27-36D29956BF4B}" destId="{997CAC5A-8B1A-4ECA-B961-C6A35F432205}" srcOrd="0" destOrd="0" parTransId="{CEE15668-E4F2-4891-A13E-FC3CE902033A}" sibTransId="{27D38377-B391-4E2A-AC85-04051D86FB16}"/>
    <dgm:cxn modelId="{9361542B-C933-4864-9BD9-B7753E111AE9}" type="presParOf" srcId="{F353C4A6-4254-4CDB-AE2D-2663F1743A29}" destId="{473BADB2-F52A-43C5-89B2-F2910FDD1CCE}" srcOrd="0" destOrd="0" presId="urn:microsoft.com/office/officeart/2008/layout/LinedList"/>
    <dgm:cxn modelId="{DCD00FA8-1FB8-4ED5-AAB8-D109B2F63C44}" type="presParOf" srcId="{F353C4A6-4254-4CDB-AE2D-2663F1743A29}" destId="{7D9348B8-18E8-414C-93C3-E33798027A86}" srcOrd="1" destOrd="0" presId="urn:microsoft.com/office/officeart/2008/layout/LinedList"/>
    <dgm:cxn modelId="{50C55CF8-6FE9-4B33-8E83-2B66A56761C0}" type="presParOf" srcId="{7D9348B8-18E8-414C-93C3-E33798027A86}" destId="{18866107-FBE6-454D-AFD3-BBDB041B448A}" srcOrd="0" destOrd="0" presId="urn:microsoft.com/office/officeart/2008/layout/LinedList"/>
    <dgm:cxn modelId="{54E64A1E-6763-41C6-802E-8A1231BD2070}" type="presParOf" srcId="{7D9348B8-18E8-414C-93C3-E33798027A86}" destId="{6E3E1587-F309-42EF-B813-CBDF54641B2E}" srcOrd="1" destOrd="0" presId="urn:microsoft.com/office/officeart/2008/layout/LinedList"/>
    <dgm:cxn modelId="{A077730E-A23A-400D-A465-AC225EF56D9E}" type="presParOf" srcId="{F353C4A6-4254-4CDB-AE2D-2663F1743A29}" destId="{F67D4D9E-97F1-4053-95DC-D5CF72DA87FF}" srcOrd="2" destOrd="0" presId="urn:microsoft.com/office/officeart/2008/layout/LinedList"/>
    <dgm:cxn modelId="{D337810E-518D-4941-B435-C4660CF61316}" type="presParOf" srcId="{F353C4A6-4254-4CDB-AE2D-2663F1743A29}" destId="{471CC0A2-1B4B-44F3-8B78-0FE46A82BD53}" srcOrd="3" destOrd="0" presId="urn:microsoft.com/office/officeart/2008/layout/LinedList"/>
    <dgm:cxn modelId="{5A0AEE52-9DD4-4F42-8FBA-8C883CE1E269}" type="presParOf" srcId="{471CC0A2-1B4B-44F3-8B78-0FE46A82BD53}" destId="{CD191B83-1324-4E3E-8A95-B0D9D3BF618F}" srcOrd="0" destOrd="0" presId="urn:microsoft.com/office/officeart/2008/layout/LinedList"/>
    <dgm:cxn modelId="{AA9FC667-7483-483F-963B-42B811EC2861}" type="presParOf" srcId="{471CC0A2-1B4B-44F3-8B78-0FE46A82BD53}" destId="{F509EC54-79A7-4B05-B00B-002C45CB45A6}" srcOrd="1" destOrd="0" presId="urn:microsoft.com/office/officeart/2008/layout/LinedList"/>
    <dgm:cxn modelId="{342B60B1-02A6-47D2-AC86-57DE873FC14E}" type="presParOf" srcId="{F353C4A6-4254-4CDB-AE2D-2663F1743A29}" destId="{22523843-1A54-4AE7-95A8-C49870BF35B1}" srcOrd="4" destOrd="0" presId="urn:microsoft.com/office/officeart/2008/layout/LinedList"/>
    <dgm:cxn modelId="{B9DDABE0-28A1-48D8-B512-98448924B553}" type="presParOf" srcId="{F353C4A6-4254-4CDB-AE2D-2663F1743A29}" destId="{91273141-2CB3-4B37-8836-0BE2810EE9D5}" srcOrd="5" destOrd="0" presId="urn:microsoft.com/office/officeart/2008/layout/LinedList"/>
    <dgm:cxn modelId="{4F97D865-8C78-49C6-93EF-7EA87840D0EE}" type="presParOf" srcId="{91273141-2CB3-4B37-8836-0BE2810EE9D5}" destId="{4573FD48-0BF9-4799-A44B-90301406922D}" srcOrd="0" destOrd="0" presId="urn:microsoft.com/office/officeart/2008/layout/LinedList"/>
    <dgm:cxn modelId="{F3DF92F6-CD1D-47CB-A446-433DC1608673}" type="presParOf" srcId="{91273141-2CB3-4B37-8836-0BE2810EE9D5}" destId="{309468D0-A348-4AEE-BBEE-9305F15DFF72}" srcOrd="1" destOrd="0" presId="urn:microsoft.com/office/officeart/2008/layout/LinedList"/>
    <dgm:cxn modelId="{729FF2D3-EC9A-44FB-8980-A3A17E376877}" type="presParOf" srcId="{F353C4A6-4254-4CDB-AE2D-2663F1743A29}" destId="{70724973-3A2C-4FE9-88C5-BB1208C44E6B}" srcOrd="6" destOrd="0" presId="urn:microsoft.com/office/officeart/2008/layout/LinedList"/>
    <dgm:cxn modelId="{2CA1F618-F5ED-4976-8335-A1769FAFE246}" type="presParOf" srcId="{F353C4A6-4254-4CDB-AE2D-2663F1743A29}" destId="{3ACDCC38-3E3D-41AB-B4C4-CCC203D0D1B3}" srcOrd="7" destOrd="0" presId="urn:microsoft.com/office/officeart/2008/layout/LinedList"/>
    <dgm:cxn modelId="{AD8568FA-8A68-43E1-9741-43A0C7B5EBAC}" type="presParOf" srcId="{3ACDCC38-3E3D-41AB-B4C4-CCC203D0D1B3}" destId="{BC671FEB-611D-41C3-B1BC-73322D1A9600}" srcOrd="0" destOrd="0" presId="urn:microsoft.com/office/officeart/2008/layout/LinedList"/>
    <dgm:cxn modelId="{63CEEBA8-4039-4D4A-A994-2A7967D6AD4A}" type="presParOf" srcId="{3ACDCC38-3E3D-41AB-B4C4-CCC203D0D1B3}" destId="{6C030DF3-0612-496A-B997-74CF8B395E40}" srcOrd="1" destOrd="0" presId="urn:microsoft.com/office/officeart/2008/layout/LinedList"/>
    <dgm:cxn modelId="{E759238E-31F4-4DEF-954C-CB4623777CDE}" type="presParOf" srcId="{F353C4A6-4254-4CDB-AE2D-2663F1743A29}" destId="{A51003EE-F4BD-43EB-AB40-F2C4ADD37F16}" srcOrd="8" destOrd="0" presId="urn:microsoft.com/office/officeart/2008/layout/LinedList"/>
    <dgm:cxn modelId="{FD7B353C-6361-4527-B32C-92D4E2219042}" type="presParOf" srcId="{F353C4A6-4254-4CDB-AE2D-2663F1743A29}" destId="{B581F3D9-3D6B-4961-9FF4-F684455E1D42}" srcOrd="9" destOrd="0" presId="urn:microsoft.com/office/officeart/2008/layout/LinedList"/>
    <dgm:cxn modelId="{0E936CC8-1DB9-4896-8947-8F858B42052F}" type="presParOf" srcId="{B581F3D9-3D6B-4961-9FF4-F684455E1D42}" destId="{9C989269-92E0-4A7D-8D6A-7CDF731F1D17}" srcOrd="0" destOrd="0" presId="urn:microsoft.com/office/officeart/2008/layout/LinedList"/>
    <dgm:cxn modelId="{287EE1DD-C2DC-42BB-ACFF-E6973C76153F}" type="presParOf" srcId="{B581F3D9-3D6B-4961-9FF4-F684455E1D42}" destId="{B708101A-3BB9-4F42-993B-9E2A48AD1001}" srcOrd="1" destOrd="0" presId="urn:microsoft.com/office/officeart/2008/layout/LinedList"/>
    <dgm:cxn modelId="{1FBDF82B-EEFE-4739-A0C7-13D378917E20}" type="presParOf" srcId="{F353C4A6-4254-4CDB-AE2D-2663F1743A29}" destId="{E409FC67-8F6E-409A-8D47-33725B4A9100}" srcOrd="10" destOrd="0" presId="urn:microsoft.com/office/officeart/2008/layout/LinedList"/>
    <dgm:cxn modelId="{5B2CCE17-30D7-4D5A-9B6C-DBA985FD176D}" type="presParOf" srcId="{F353C4A6-4254-4CDB-AE2D-2663F1743A29}" destId="{89651672-7595-4D7D-88D8-1C13600CDF35}" srcOrd="11" destOrd="0" presId="urn:microsoft.com/office/officeart/2008/layout/LinedList"/>
    <dgm:cxn modelId="{B9863F48-98C1-4AD4-B047-CB10E00287BA}" type="presParOf" srcId="{89651672-7595-4D7D-88D8-1C13600CDF35}" destId="{1DEF5F8B-2362-413D-9742-322511E49FB2}" srcOrd="0" destOrd="0" presId="urn:microsoft.com/office/officeart/2008/layout/LinedList"/>
    <dgm:cxn modelId="{6E9CCE0C-125A-4689-B59C-948956F975C9}" type="presParOf" srcId="{89651672-7595-4D7D-88D8-1C13600CDF35}" destId="{D057D119-7C0A-421F-8E5E-FF4818E0D6E4}" srcOrd="1" destOrd="0" presId="urn:microsoft.com/office/officeart/2008/layout/LinedList"/>
    <dgm:cxn modelId="{1CA0DB6D-B4E7-4C75-8DAC-7A39E9F9B324}" type="presParOf" srcId="{F353C4A6-4254-4CDB-AE2D-2663F1743A29}" destId="{9F2CC80E-3F58-4163-AA9D-78766406B010}" srcOrd="12" destOrd="0" presId="urn:microsoft.com/office/officeart/2008/layout/LinedList"/>
    <dgm:cxn modelId="{54E1C7F9-2998-459C-857C-ACD9AD4F5DA3}" type="presParOf" srcId="{F353C4A6-4254-4CDB-AE2D-2663F1743A29}" destId="{6D6A8C0F-E9CB-4E16-9BE5-09EEF58E327C}" srcOrd="13" destOrd="0" presId="urn:microsoft.com/office/officeart/2008/layout/LinedList"/>
    <dgm:cxn modelId="{D2BE17CF-02C5-4F04-8BD6-BFE2D8DFF2BC}" type="presParOf" srcId="{6D6A8C0F-E9CB-4E16-9BE5-09EEF58E327C}" destId="{EF3A97FB-8396-4AA8-AEFE-36AB3342AD45}" srcOrd="0" destOrd="0" presId="urn:microsoft.com/office/officeart/2008/layout/LinedList"/>
    <dgm:cxn modelId="{0A042D3B-C7DA-411A-8919-2D02DF604577}" type="presParOf" srcId="{6D6A8C0F-E9CB-4E16-9BE5-09EEF58E327C}" destId="{C3B0C2CB-22CC-48C1-9FF1-65B45309F4F3}" srcOrd="1" destOrd="0" presId="urn:microsoft.com/office/officeart/2008/layout/LinedList"/>
    <dgm:cxn modelId="{57F94FB9-17FB-49C6-A0F1-FE1B0579FB1B}" type="presParOf" srcId="{F353C4A6-4254-4CDB-AE2D-2663F1743A29}" destId="{2B98A810-55C2-46EC-8986-0707B8EB8300}" srcOrd="14" destOrd="0" presId="urn:microsoft.com/office/officeart/2008/layout/LinedList"/>
    <dgm:cxn modelId="{8A4E2486-AD68-4AC8-8342-A06DE280983C}" type="presParOf" srcId="{F353C4A6-4254-4CDB-AE2D-2663F1743A29}" destId="{3692F10F-7D29-48B3-91A7-78F8E3AA81F9}" srcOrd="15" destOrd="0" presId="urn:microsoft.com/office/officeart/2008/layout/LinedList"/>
    <dgm:cxn modelId="{301E8C09-8B43-4278-BBC1-71B06A864E51}" type="presParOf" srcId="{3692F10F-7D29-48B3-91A7-78F8E3AA81F9}" destId="{E1A6852D-4059-48DC-A320-73F6DEAF14AD}" srcOrd="0" destOrd="0" presId="urn:microsoft.com/office/officeart/2008/layout/LinedList"/>
    <dgm:cxn modelId="{31DEF740-2A14-47B6-B429-7BC75803492F}" type="presParOf" srcId="{3692F10F-7D29-48B3-91A7-78F8E3AA81F9}" destId="{8D5BF3E5-3C61-4BB1-A5A3-BD178C0DF655}"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23A97C8A-9FED-4FD4-AE44-BAAA5041CFEF}" type="doc">
      <dgm:prSet loTypeId="urn:microsoft.com/office/officeart/2005/8/layout/default" loCatId="list" qsTypeId="urn:microsoft.com/office/officeart/2005/8/quickstyle/simple1" qsCatId="simple" csTypeId="urn:microsoft.com/office/officeart/2005/8/colors/accent0_3" csCatId="mainScheme"/>
      <dgm:spPr/>
      <dgm:t>
        <a:bodyPr/>
        <a:lstStyle/>
        <a:p>
          <a:endParaRPr lang="en-US"/>
        </a:p>
      </dgm:t>
    </dgm:pt>
    <dgm:pt modelId="{853129C6-23FC-41B6-B4D4-E4535BA02060}">
      <dgm:prSet/>
      <dgm:spPr/>
      <dgm:t>
        <a:bodyPr/>
        <a:lstStyle/>
        <a:p>
          <a:r>
            <a:t>Bakım, sigorta ve park etme gibi araçla ilgili masraflarda kullanıcılardan tasarruf sağlayan araç sahipliği ihtiyacını azaltır.</a:t>
          </a:r>
        </a:p>
      </dgm:t>
    </dgm:pt>
    <dgm:pt modelId="{2A25F634-862A-421D-A598-C7E29B1A202C}" type="parTrans" cxnId="{A852A100-D0E4-4A76-AC61-6FFDAA496A12}">
      <dgm:prSet/>
      <dgm:spPr/>
      <dgm:t>
        <a:bodyPr/>
        <a:lstStyle/>
        <a:p>
          <a:endParaRPr lang="en-US"/>
        </a:p>
      </dgm:t>
    </dgm:pt>
    <dgm:pt modelId="{49EB1B89-ED4B-45AC-9B78-BA87A73B9828}" type="sibTrans" cxnId="{A852A100-D0E4-4A76-AC61-6FFDAA496A12}">
      <dgm:prSet/>
      <dgm:spPr/>
      <dgm:t>
        <a:bodyPr/>
        <a:lstStyle/>
        <a:p>
          <a:endParaRPr lang="en-US"/>
        </a:p>
      </dgm:t>
    </dgm:pt>
    <dgm:pt modelId="{F57D0AA9-EA26-40F3-BD5F-247386E24F6E}">
      <dgm:prSet/>
      <dgm:spPr/>
      <dgm:t>
        <a:bodyPr/>
        <a:lstStyle/>
        <a:p>
          <a:r>
            <a:t>Özellikle toplu ulaşımın sınırlı olduğu veya olmadığı alanlarda ulaşım seçeneklerine erişimi artırır.</a:t>
          </a:r>
        </a:p>
      </dgm:t>
    </dgm:pt>
    <dgm:pt modelId="{D8991270-A06A-4E12-A1C6-C9C62512E925}" type="parTrans" cxnId="{E410E368-3E82-4889-AF41-47512F41806F}">
      <dgm:prSet/>
      <dgm:spPr/>
      <dgm:t>
        <a:bodyPr/>
        <a:lstStyle/>
        <a:p>
          <a:endParaRPr lang="en-US"/>
        </a:p>
      </dgm:t>
    </dgm:pt>
    <dgm:pt modelId="{15241AA4-5E51-435D-8F8F-DFE3D6089CE1}" type="sibTrans" cxnId="{E410E368-3E82-4889-AF41-47512F41806F}">
      <dgm:prSet/>
      <dgm:spPr/>
      <dgm:t>
        <a:bodyPr/>
        <a:lstStyle/>
        <a:p>
          <a:endParaRPr lang="en-US"/>
        </a:p>
      </dgm:t>
    </dgm:pt>
    <dgm:pt modelId="{6478BC8E-D23B-43A9-AAB6-2F9BF290508C}">
      <dgm:prSet/>
      <dgm:spPr/>
      <dgm:t>
        <a:bodyPr/>
        <a:lstStyle/>
        <a:p>
          <a:r>
            <a:t>Yoldaki tek kullanımlık araç sayısını azaltarak trafik sıkışıklığını azaltır.</a:t>
          </a:r>
        </a:p>
      </dgm:t>
    </dgm:pt>
    <dgm:pt modelId="{5B95D967-EC1B-4F00-A12D-B65EFF4EBD76}" type="parTrans" cxnId="{8A0EF0A1-0BD3-4BE4-8F8D-C715010318A1}">
      <dgm:prSet/>
      <dgm:spPr/>
      <dgm:t>
        <a:bodyPr/>
        <a:lstStyle/>
        <a:p>
          <a:endParaRPr lang="en-US"/>
        </a:p>
      </dgm:t>
    </dgm:pt>
    <dgm:pt modelId="{40242E81-78BB-4242-BE09-9854A0AFCCD1}" type="sibTrans" cxnId="{8A0EF0A1-0BD3-4BE4-8F8D-C715010318A1}">
      <dgm:prSet/>
      <dgm:spPr/>
      <dgm:t>
        <a:bodyPr/>
        <a:lstStyle/>
        <a:p>
          <a:endParaRPr lang="en-US"/>
        </a:p>
      </dgm:t>
    </dgm:pt>
    <dgm:pt modelId="{CEAA87A2-DC67-48CC-A05A-16CFBD1178FF}">
      <dgm:prSet/>
      <dgm:spPr/>
      <dgm:t>
        <a:bodyPr/>
        <a:lstStyle/>
        <a:p>
          <a:r>
            <a:rPr dirty="0" err="1"/>
            <a:t>Daha</a:t>
          </a:r>
          <a:r>
            <a:rPr dirty="0"/>
            <a:t> </a:t>
          </a:r>
          <a:r>
            <a:rPr dirty="0" err="1"/>
            <a:t>sürdürülebilir</a:t>
          </a:r>
          <a:r>
            <a:rPr dirty="0"/>
            <a:t> </a:t>
          </a:r>
          <a:r>
            <a:rPr dirty="0" err="1"/>
            <a:t>ulaşım</a:t>
          </a:r>
          <a:r>
            <a:rPr dirty="0"/>
            <a:t> </a:t>
          </a:r>
          <a:r>
            <a:rPr dirty="0" err="1"/>
            <a:t>seçeneklerini</a:t>
          </a:r>
          <a:r>
            <a:rPr dirty="0"/>
            <a:t> </a:t>
          </a:r>
          <a:r>
            <a:rPr dirty="0" err="1"/>
            <a:t>teşvik</a:t>
          </a:r>
          <a:r>
            <a:rPr dirty="0"/>
            <a:t> </a:t>
          </a:r>
          <a:r>
            <a:rPr dirty="0" err="1"/>
            <a:t>ederek</a:t>
          </a:r>
          <a:r>
            <a:rPr dirty="0"/>
            <a:t> sera </a:t>
          </a:r>
          <a:r>
            <a:rPr dirty="0" err="1"/>
            <a:t>gazı</a:t>
          </a:r>
          <a:r>
            <a:rPr dirty="0"/>
            <a:t> </a:t>
          </a:r>
          <a:r>
            <a:rPr dirty="0" err="1"/>
            <a:t>emisyonlarını</a:t>
          </a:r>
          <a:r>
            <a:rPr dirty="0"/>
            <a:t> </a:t>
          </a:r>
          <a:r>
            <a:rPr dirty="0" err="1"/>
            <a:t>ve</a:t>
          </a:r>
          <a:r>
            <a:rPr dirty="0"/>
            <a:t> </a:t>
          </a:r>
          <a:r>
            <a:rPr dirty="0" err="1"/>
            <a:t>hava</a:t>
          </a:r>
          <a:r>
            <a:rPr dirty="0"/>
            <a:t> </a:t>
          </a:r>
          <a:r>
            <a:rPr dirty="0" err="1"/>
            <a:t>kirliliğini</a:t>
          </a:r>
          <a:r>
            <a:rPr dirty="0"/>
            <a:t> </a:t>
          </a:r>
          <a:r>
            <a:rPr dirty="0" err="1"/>
            <a:t>azaltır</a:t>
          </a:r>
          <a:r>
            <a:rPr dirty="0"/>
            <a:t>.</a:t>
          </a:r>
        </a:p>
      </dgm:t>
    </dgm:pt>
    <dgm:pt modelId="{94FA02EA-FB54-4F27-A25F-7D4C19B97940}" type="parTrans" cxnId="{98238E8B-6F30-4777-AE0A-7E43D1F48E6F}">
      <dgm:prSet/>
      <dgm:spPr/>
      <dgm:t>
        <a:bodyPr/>
        <a:lstStyle/>
        <a:p>
          <a:endParaRPr lang="en-US"/>
        </a:p>
      </dgm:t>
    </dgm:pt>
    <dgm:pt modelId="{F3B4103E-42CD-425D-BFB6-8321E7658723}" type="sibTrans" cxnId="{98238E8B-6F30-4777-AE0A-7E43D1F48E6F}">
      <dgm:prSet/>
      <dgm:spPr/>
      <dgm:t>
        <a:bodyPr/>
        <a:lstStyle/>
        <a:p>
          <a:endParaRPr lang="en-US"/>
        </a:p>
      </dgm:t>
    </dgm:pt>
    <dgm:pt modelId="{40F11747-D1FC-41A0-B9F3-48E4EA811EAD}">
      <dgm:prSet/>
      <dgm:spPr/>
      <dgm:t>
        <a:bodyPr/>
        <a:lstStyle/>
        <a:p>
          <a:r>
            <a:t>Düşük gelirli bireyler ve topluluklar için hareketlilik seçeneklerini geliştirebilir.</a:t>
          </a:r>
        </a:p>
      </dgm:t>
    </dgm:pt>
    <dgm:pt modelId="{84B92DB1-7C5D-4998-A201-85A5A49DA118}" type="parTrans" cxnId="{96891F0F-9FC8-463E-8D99-2705C683C68A}">
      <dgm:prSet/>
      <dgm:spPr/>
      <dgm:t>
        <a:bodyPr/>
        <a:lstStyle/>
        <a:p>
          <a:endParaRPr lang="en-US"/>
        </a:p>
      </dgm:t>
    </dgm:pt>
    <dgm:pt modelId="{AC4906D9-1557-4A47-89BE-3339E2EA02D4}" type="sibTrans" cxnId="{96891F0F-9FC8-463E-8D99-2705C683C68A}">
      <dgm:prSet/>
      <dgm:spPr/>
      <dgm:t>
        <a:bodyPr/>
        <a:lstStyle/>
        <a:p>
          <a:endParaRPr lang="en-US"/>
        </a:p>
      </dgm:t>
    </dgm:pt>
    <dgm:pt modelId="{DB7BDCD1-58C3-4A5D-A5E6-5286F46A9E20}">
      <dgm:prSet/>
      <dgm:spPr/>
      <dgm:t>
        <a:bodyPr/>
        <a:lstStyle/>
        <a:p>
          <a:r>
            <a:rPr dirty="0" err="1"/>
            <a:t>Paylaşılan</a:t>
          </a:r>
          <a:r>
            <a:rPr dirty="0"/>
            <a:t> </a:t>
          </a:r>
          <a:r>
            <a:rPr dirty="0" err="1"/>
            <a:t>mobilite</a:t>
          </a:r>
          <a:r>
            <a:rPr dirty="0"/>
            <a:t> </a:t>
          </a:r>
          <a:r>
            <a:rPr dirty="0" err="1"/>
            <a:t>hizmetleri</a:t>
          </a:r>
          <a:r>
            <a:rPr dirty="0"/>
            <a:t>, </a:t>
          </a:r>
          <a:r>
            <a:rPr dirty="0" err="1"/>
            <a:t>hizmet</a:t>
          </a:r>
          <a:r>
            <a:rPr dirty="0"/>
            <a:t> </a:t>
          </a:r>
          <a:r>
            <a:rPr dirty="0" err="1"/>
            <a:t>verimliliğini</a:t>
          </a:r>
          <a:r>
            <a:rPr dirty="0"/>
            <a:t> </a:t>
          </a:r>
          <a:r>
            <a:rPr dirty="0" err="1"/>
            <a:t>artırmak</a:t>
          </a:r>
          <a:r>
            <a:rPr dirty="0"/>
            <a:t> </a:t>
          </a:r>
          <a:r>
            <a:rPr dirty="0" err="1"/>
            <a:t>ve</a:t>
          </a:r>
          <a:r>
            <a:rPr dirty="0"/>
            <a:t> </a:t>
          </a:r>
          <a:r>
            <a:rPr dirty="0" err="1"/>
            <a:t>ulaşım</a:t>
          </a:r>
          <a:r>
            <a:rPr dirty="0"/>
            <a:t> </a:t>
          </a:r>
          <a:r>
            <a:rPr dirty="0" err="1"/>
            <a:t>planlamasını</a:t>
          </a:r>
          <a:r>
            <a:rPr dirty="0"/>
            <a:t> </a:t>
          </a:r>
          <a:r>
            <a:rPr dirty="0" err="1"/>
            <a:t>bilgilendirmek</a:t>
          </a:r>
          <a:r>
            <a:rPr dirty="0"/>
            <a:t> </a:t>
          </a:r>
          <a:r>
            <a:rPr dirty="0" err="1"/>
            <a:t>için</a:t>
          </a:r>
          <a:r>
            <a:rPr dirty="0"/>
            <a:t> </a:t>
          </a:r>
          <a:r>
            <a:rPr dirty="0" err="1"/>
            <a:t>kullanılabilecek</a:t>
          </a:r>
          <a:r>
            <a:rPr dirty="0"/>
            <a:t> </a:t>
          </a:r>
          <a:r>
            <a:rPr dirty="0" err="1"/>
            <a:t>kullanıcı</a:t>
          </a:r>
          <a:r>
            <a:rPr dirty="0"/>
            <a:t> </a:t>
          </a:r>
          <a:r>
            <a:rPr dirty="0" err="1"/>
            <a:t>davranışı</a:t>
          </a:r>
          <a:r>
            <a:rPr dirty="0"/>
            <a:t>, </a:t>
          </a:r>
          <a:r>
            <a:rPr dirty="0" err="1"/>
            <a:t>seyahat</a:t>
          </a:r>
          <a:r>
            <a:rPr dirty="0"/>
            <a:t> </a:t>
          </a:r>
          <a:r>
            <a:rPr dirty="0" err="1"/>
            <a:t>kalıpları</a:t>
          </a:r>
          <a:r>
            <a:rPr dirty="0"/>
            <a:t> </a:t>
          </a:r>
          <a:r>
            <a:rPr dirty="0" err="1"/>
            <a:t>ve</a:t>
          </a:r>
          <a:r>
            <a:rPr dirty="0"/>
            <a:t> </a:t>
          </a:r>
          <a:r>
            <a:rPr dirty="0" err="1"/>
            <a:t>kullanım</a:t>
          </a:r>
          <a:r>
            <a:rPr dirty="0"/>
            <a:t> </a:t>
          </a:r>
          <a:r>
            <a:rPr dirty="0" err="1"/>
            <a:t>kalıpları</a:t>
          </a:r>
          <a:r>
            <a:rPr dirty="0"/>
            <a:t> </a:t>
          </a:r>
          <a:r>
            <a:rPr dirty="0" err="1"/>
            <a:t>hakkında</a:t>
          </a:r>
          <a:r>
            <a:rPr dirty="0"/>
            <a:t> </a:t>
          </a:r>
          <a:r>
            <a:rPr dirty="0" err="1"/>
            <a:t>büyük</a:t>
          </a:r>
          <a:r>
            <a:rPr dirty="0"/>
            <a:t> </a:t>
          </a:r>
          <a:r>
            <a:rPr dirty="0" err="1"/>
            <a:t>miktarda</a:t>
          </a:r>
          <a:r>
            <a:rPr dirty="0"/>
            <a:t> </a:t>
          </a:r>
          <a:r>
            <a:rPr dirty="0" err="1"/>
            <a:t>veri</a:t>
          </a:r>
          <a:r>
            <a:rPr dirty="0"/>
            <a:t> </a:t>
          </a:r>
          <a:r>
            <a:rPr dirty="0" err="1"/>
            <a:t>üretebilir</a:t>
          </a:r>
          <a:r>
            <a:rPr dirty="0"/>
            <a:t>.</a:t>
          </a:r>
        </a:p>
      </dgm:t>
    </dgm:pt>
    <dgm:pt modelId="{2F088EB2-5A38-4675-8BDF-56A251091683}" type="parTrans" cxnId="{8948BA92-5338-4CA6-8C6F-5E9CE94BB71C}">
      <dgm:prSet/>
      <dgm:spPr/>
      <dgm:t>
        <a:bodyPr/>
        <a:lstStyle/>
        <a:p>
          <a:endParaRPr lang="en-US"/>
        </a:p>
      </dgm:t>
    </dgm:pt>
    <dgm:pt modelId="{718C7D67-68A0-42C8-8FF5-F111ECFBC07A}" type="sibTrans" cxnId="{8948BA92-5338-4CA6-8C6F-5E9CE94BB71C}">
      <dgm:prSet/>
      <dgm:spPr/>
      <dgm:t>
        <a:bodyPr/>
        <a:lstStyle/>
        <a:p>
          <a:endParaRPr lang="en-US"/>
        </a:p>
      </dgm:t>
    </dgm:pt>
    <dgm:pt modelId="{7FF388BD-0DF5-478C-A710-85FE3E48C128}">
      <dgm:prSet/>
      <dgm:spPr/>
      <dgm:t>
        <a:bodyPr/>
        <a:lstStyle/>
        <a:p>
          <a:r>
            <a:t>Paylaşımlı mobilite hizmetlerinin toplu taşıma gibi diğer ulaşım modlarıyla entegrasyonu, kullanıcılar için kesintisiz ve çok modlu ulaşım seçenekleri sağlayabilir.</a:t>
          </a:r>
        </a:p>
      </dgm:t>
    </dgm:pt>
    <dgm:pt modelId="{B5BC6CDE-9412-4162-B651-3EA868567DAF}" type="parTrans" cxnId="{092AC5EC-8043-487A-BCDA-D1161701A1E6}">
      <dgm:prSet/>
      <dgm:spPr/>
      <dgm:t>
        <a:bodyPr/>
        <a:lstStyle/>
        <a:p>
          <a:endParaRPr lang="en-US"/>
        </a:p>
      </dgm:t>
    </dgm:pt>
    <dgm:pt modelId="{89CADE4C-CB12-4D8F-AF42-4EADA07049A0}" type="sibTrans" cxnId="{092AC5EC-8043-487A-BCDA-D1161701A1E6}">
      <dgm:prSet/>
      <dgm:spPr/>
      <dgm:t>
        <a:bodyPr/>
        <a:lstStyle/>
        <a:p>
          <a:endParaRPr lang="en-US"/>
        </a:p>
      </dgm:t>
    </dgm:pt>
    <dgm:pt modelId="{1C3C8D42-0639-43FA-B59D-E08AE3C85FDD}" type="pres">
      <dgm:prSet presAssocID="{23A97C8A-9FED-4FD4-AE44-BAAA5041CFEF}" presName="diagram" presStyleCnt="0">
        <dgm:presLayoutVars>
          <dgm:dir/>
          <dgm:resizeHandles val="exact"/>
        </dgm:presLayoutVars>
      </dgm:prSet>
      <dgm:spPr/>
    </dgm:pt>
    <dgm:pt modelId="{70156A87-AAB8-4E36-9447-636A7D98F772}" type="pres">
      <dgm:prSet presAssocID="{853129C6-23FC-41B6-B4D4-E4535BA02060}" presName="node" presStyleLbl="node1" presStyleIdx="0" presStyleCnt="7">
        <dgm:presLayoutVars>
          <dgm:bulletEnabled val="1"/>
        </dgm:presLayoutVars>
      </dgm:prSet>
      <dgm:spPr/>
    </dgm:pt>
    <dgm:pt modelId="{77D48A35-1F47-4509-8E12-075150F04664}" type="pres">
      <dgm:prSet presAssocID="{49EB1B89-ED4B-45AC-9B78-BA87A73B9828}" presName="sibTrans" presStyleCnt="0"/>
      <dgm:spPr/>
    </dgm:pt>
    <dgm:pt modelId="{61D0249D-AB3B-4DCB-A61A-81F190BB6F23}" type="pres">
      <dgm:prSet presAssocID="{F57D0AA9-EA26-40F3-BD5F-247386E24F6E}" presName="node" presStyleLbl="node1" presStyleIdx="1" presStyleCnt="7">
        <dgm:presLayoutVars>
          <dgm:bulletEnabled val="1"/>
        </dgm:presLayoutVars>
      </dgm:prSet>
      <dgm:spPr/>
    </dgm:pt>
    <dgm:pt modelId="{BBA257F2-7E3F-4275-9DFB-8A4BFAB7E1E9}" type="pres">
      <dgm:prSet presAssocID="{15241AA4-5E51-435D-8F8F-DFE3D6089CE1}" presName="sibTrans" presStyleCnt="0"/>
      <dgm:spPr/>
    </dgm:pt>
    <dgm:pt modelId="{484CABBC-BFBD-407B-B5DB-83FD9629742E}" type="pres">
      <dgm:prSet presAssocID="{6478BC8E-D23B-43A9-AAB6-2F9BF290508C}" presName="node" presStyleLbl="node1" presStyleIdx="2" presStyleCnt="7">
        <dgm:presLayoutVars>
          <dgm:bulletEnabled val="1"/>
        </dgm:presLayoutVars>
      </dgm:prSet>
      <dgm:spPr/>
    </dgm:pt>
    <dgm:pt modelId="{C28C8D28-28BA-4FBC-ABA6-1B95BEC3DB5F}" type="pres">
      <dgm:prSet presAssocID="{40242E81-78BB-4242-BE09-9854A0AFCCD1}" presName="sibTrans" presStyleCnt="0"/>
      <dgm:spPr/>
    </dgm:pt>
    <dgm:pt modelId="{BC107FFF-8A8B-47A2-AD7F-E9E2C073DCF8}" type="pres">
      <dgm:prSet presAssocID="{CEAA87A2-DC67-48CC-A05A-16CFBD1178FF}" presName="node" presStyleLbl="node1" presStyleIdx="3" presStyleCnt="7">
        <dgm:presLayoutVars>
          <dgm:bulletEnabled val="1"/>
        </dgm:presLayoutVars>
      </dgm:prSet>
      <dgm:spPr/>
    </dgm:pt>
    <dgm:pt modelId="{B84162AE-933E-412B-A4A0-A65DDB2A563A}" type="pres">
      <dgm:prSet presAssocID="{F3B4103E-42CD-425D-BFB6-8321E7658723}" presName="sibTrans" presStyleCnt="0"/>
      <dgm:spPr/>
    </dgm:pt>
    <dgm:pt modelId="{E0F0DFC9-DD40-4417-B2F7-A6E83AE88821}" type="pres">
      <dgm:prSet presAssocID="{40F11747-D1FC-41A0-B9F3-48E4EA811EAD}" presName="node" presStyleLbl="node1" presStyleIdx="4" presStyleCnt="7">
        <dgm:presLayoutVars>
          <dgm:bulletEnabled val="1"/>
        </dgm:presLayoutVars>
      </dgm:prSet>
      <dgm:spPr/>
    </dgm:pt>
    <dgm:pt modelId="{517F2B97-0C96-4511-B386-7AA59C6C6E67}" type="pres">
      <dgm:prSet presAssocID="{AC4906D9-1557-4A47-89BE-3339E2EA02D4}" presName="sibTrans" presStyleCnt="0"/>
      <dgm:spPr/>
    </dgm:pt>
    <dgm:pt modelId="{AA4927E4-1485-4695-B019-CB5B25364067}" type="pres">
      <dgm:prSet presAssocID="{DB7BDCD1-58C3-4A5D-A5E6-5286F46A9E20}" presName="node" presStyleLbl="node1" presStyleIdx="5" presStyleCnt="7">
        <dgm:presLayoutVars>
          <dgm:bulletEnabled val="1"/>
        </dgm:presLayoutVars>
      </dgm:prSet>
      <dgm:spPr/>
    </dgm:pt>
    <dgm:pt modelId="{FB15A183-664D-4A34-9608-5556C5AFD2C0}" type="pres">
      <dgm:prSet presAssocID="{718C7D67-68A0-42C8-8FF5-F111ECFBC07A}" presName="sibTrans" presStyleCnt="0"/>
      <dgm:spPr/>
    </dgm:pt>
    <dgm:pt modelId="{02C5B5E3-AA88-4929-9FFD-889CC4DFC20B}" type="pres">
      <dgm:prSet presAssocID="{7FF388BD-0DF5-478C-A710-85FE3E48C128}" presName="node" presStyleLbl="node1" presStyleIdx="6" presStyleCnt="7">
        <dgm:presLayoutVars>
          <dgm:bulletEnabled val="1"/>
        </dgm:presLayoutVars>
      </dgm:prSet>
      <dgm:spPr/>
    </dgm:pt>
  </dgm:ptLst>
  <dgm:cxnLst>
    <dgm:cxn modelId="{A852A100-D0E4-4A76-AC61-6FFDAA496A12}" srcId="{23A97C8A-9FED-4FD4-AE44-BAAA5041CFEF}" destId="{853129C6-23FC-41B6-B4D4-E4535BA02060}" srcOrd="0" destOrd="0" parTransId="{2A25F634-862A-421D-A598-C7E29B1A202C}" sibTransId="{49EB1B89-ED4B-45AC-9B78-BA87A73B9828}"/>
    <dgm:cxn modelId="{96891F0F-9FC8-463E-8D99-2705C683C68A}" srcId="{23A97C8A-9FED-4FD4-AE44-BAAA5041CFEF}" destId="{40F11747-D1FC-41A0-B9F3-48E4EA811EAD}" srcOrd="4" destOrd="0" parTransId="{84B92DB1-7C5D-4998-A201-85A5A49DA118}" sibTransId="{AC4906D9-1557-4A47-89BE-3339E2EA02D4}"/>
    <dgm:cxn modelId="{492B7F19-F041-4F75-9B86-6B1AD99A6BE3}" type="presOf" srcId="{40F11747-D1FC-41A0-B9F3-48E4EA811EAD}" destId="{E0F0DFC9-DD40-4417-B2F7-A6E83AE88821}" srcOrd="0" destOrd="0" presId="urn:microsoft.com/office/officeart/2005/8/layout/default"/>
    <dgm:cxn modelId="{45A20431-E2A0-4CA1-9001-1E6A0338B1F4}" type="presOf" srcId="{23A97C8A-9FED-4FD4-AE44-BAAA5041CFEF}" destId="{1C3C8D42-0639-43FA-B59D-E08AE3C85FDD}" srcOrd="0" destOrd="0" presId="urn:microsoft.com/office/officeart/2005/8/layout/default"/>
    <dgm:cxn modelId="{43ACBE46-5B4C-4B9F-B126-03C3A3F06F94}" type="presOf" srcId="{DB7BDCD1-58C3-4A5D-A5E6-5286F46A9E20}" destId="{AA4927E4-1485-4695-B019-CB5B25364067}" srcOrd="0" destOrd="0" presId="urn:microsoft.com/office/officeart/2005/8/layout/default"/>
    <dgm:cxn modelId="{E410E368-3E82-4889-AF41-47512F41806F}" srcId="{23A97C8A-9FED-4FD4-AE44-BAAA5041CFEF}" destId="{F57D0AA9-EA26-40F3-BD5F-247386E24F6E}" srcOrd="1" destOrd="0" parTransId="{D8991270-A06A-4E12-A1C6-C9C62512E925}" sibTransId="{15241AA4-5E51-435D-8F8F-DFE3D6089CE1}"/>
    <dgm:cxn modelId="{DF726B52-F287-4B6E-ADD5-E88193891902}" type="presOf" srcId="{CEAA87A2-DC67-48CC-A05A-16CFBD1178FF}" destId="{BC107FFF-8A8B-47A2-AD7F-E9E2C073DCF8}" srcOrd="0" destOrd="0" presId="urn:microsoft.com/office/officeart/2005/8/layout/default"/>
    <dgm:cxn modelId="{98238E8B-6F30-4777-AE0A-7E43D1F48E6F}" srcId="{23A97C8A-9FED-4FD4-AE44-BAAA5041CFEF}" destId="{CEAA87A2-DC67-48CC-A05A-16CFBD1178FF}" srcOrd="3" destOrd="0" parTransId="{94FA02EA-FB54-4F27-A25F-7D4C19B97940}" sibTransId="{F3B4103E-42CD-425D-BFB6-8321E7658723}"/>
    <dgm:cxn modelId="{8948BA92-5338-4CA6-8C6F-5E9CE94BB71C}" srcId="{23A97C8A-9FED-4FD4-AE44-BAAA5041CFEF}" destId="{DB7BDCD1-58C3-4A5D-A5E6-5286F46A9E20}" srcOrd="5" destOrd="0" parTransId="{2F088EB2-5A38-4675-8BDF-56A251091683}" sibTransId="{718C7D67-68A0-42C8-8FF5-F111ECFBC07A}"/>
    <dgm:cxn modelId="{4C33D899-67E9-4BD1-B2EE-84BC951C28B9}" type="presOf" srcId="{853129C6-23FC-41B6-B4D4-E4535BA02060}" destId="{70156A87-AAB8-4E36-9447-636A7D98F772}" srcOrd="0" destOrd="0" presId="urn:microsoft.com/office/officeart/2005/8/layout/default"/>
    <dgm:cxn modelId="{8A0EF0A1-0BD3-4BE4-8F8D-C715010318A1}" srcId="{23A97C8A-9FED-4FD4-AE44-BAAA5041CFEF}" destId="{6478BC8E-D23B-43A9-AAB6-2F9BF290508C}" srcOrd="2" destOrd="0" parTransId="{5B95D967-EC1B-4F00-A12D-B65EFF4EBD76}" sibTransId="{40242E81-78BB-4242-BE09-9854A0AFCCD1}"/>
    <dgm:cxn modelId="{9D86BBE6-5003-47B5-A440-653AD880C4AF}" type="presOf" srcId="{6478BC8E-D23B-43A9-AAB6-2F9BF290508C}" destId="{484CABBC-BFBD-407B-B5DB-83FD9629742E}" srcOrd="0" destOrd="0" presId="urn:microsoft.com/office/officeart/2005/8/layout/default"/>
    <dgm:cxn modelId="{7EF5D5E6-5588-4651-81AE-F47522F4FDEC}" type="presOf" srcId="{7FF388BD-0DF5-478C-A710-85FE3E48C128}" destId="{02C5B5E3-AA88-4929-9FFD-889CC4DFC20B}" srcOrd="0" destOrd="0" presId="urn:microsoft.com/office/officeart/2005/8/layout/default"/>
    <dgm:cxn modelId="{092AC5EC-8043-487A-BCDA-D1161701A1E6}" srcId="{23A97C8A-9FED-4FD4-AE44-BAAA5041CFEF}" destId="{7FF388BD-0DF5-478C-A710-85FE3E48C128}" srcOrd="6" destOrd="0" parTransId="{B5BC6CDE-9412-4162-B651-3EA868567DAF}" sibTransId="{89CADE4C-CB12-4D8F-AF42-4EADA07049A0}"/>
    <dgm:cxn modelId="{20FAF7F2-5D05-434D-B8F2-7DB6A4BB87ED}" type="presOf" srcId="{F57D0AA9-EA26-40F3-BD5F-247386E24F6E}" destId="{61D0249D-AB3B-4DCB-A61A-81F190BB6F23}" srcOrd="0" destOrd="0" presId="urn:microsoft.com/office/officeart/2005/8/layout/default"/>
    <dgm:cxn modelId="{DB036803-C396-43CA-9048-57D79E8B7E54}" type="presParOf" srcId="{1C3C8D42-0639-43FA-B59D-E08AE3C85FDD}" destId="{70156A87-AAB8-4E36-9447-636A7D98F772}" srcOrd="0" destOrd="0" presId="urn:microsoft.com/office/officeart/2005/8/layout/default"/>
    <dgm:cxn modelId="{1A9428A2-FC4D-44A9-98FD-A348FF4F203E}" type="presParOf" srcId="{1C3C8D42-0639-43FA-B59D-E08AE3C85FDD}" destId="{77D48A35-1F47-4509-8E12-075150F04664}" srcOrd="1" destOrd="0" presId="urn:microsoft.com/office/officeart/2005/8/layout/default"/>
    <dgm:cxn modelId="{5AB4651F-E0D9-49B9-937C-94BAFC7F38CD}" type="presParOf" srcId="{1C3C8D42-0639-43FA-B59D-E08AE3C85FDD}" destId="{61D0249D-AB3B-4DCB-A61A-81F190BB6F23}" srcOrd="2" destOrd="0" presId="urn:microsoft.com/office/officeart/2005/8/layout/default"/>
    <dgm:cxn modelId="{0BF7C8BE-DA85-4571-BC6E-3685E5BE7619}" type="presParOf" srcId="{1C3C8D42-0639-43FA-B59D-E08AE3C85FDD}" destId="{BBA257F2-7E3F-4275-9DFB-8A4BFAB7E1E9}" srcOrd="3" destOrd="0" presId="urn:microsoft.com/office/officeart/2005/8/layout/default"/>
    <dgm:cxn modelId="{37742DA0-7247-427D-9146-B856E1AC647A}" type="presParOf" srcId="{1C3C8D42-0639-43FA-B59D-E08AE3C85FDD}" destId="{484CABBC-BFBD-407B-B5DB-83FD9629742E}" srcOrd="4" destOrd="0" presId="urn:microsoft.com/office/officeart/2005/8/layout/default"/>
    <dgm:cxn modelId="{5C682C87-B529-4BAC-888C-F90E65667301}" type="presParOf" srcId="{1C3C8D42-0639-43FA-B59D-E08AE3C85FDD}" destId="{C28C8D28-28BA-4FBC-ABA6-1B95BEC3DB5F}" srcOrd="5" destOrd="0" presId="urn:microsoft.com/office/officeart/2005/8/layout/default"/>
    <dgm:cxn modelId="{438F1470-9D6E-4F96-B7C6-B372C66ABF68}" type="presParOf" srcId="{1C3C8D42-0639-43FA-B59D-E08AE3C85FDD}" destId="{BC107FFF-8A8B-47A2-AD7F-E9E2C073DCF8}" srcOrd="6" destOrd="0" presId="urn:microsoft.com/office/officeart/2005/8/layout/default"/>
    <dgm:cxn modelId="{966F48D7-E955-4F27-A68D-800D434C31BD}" type="presParOf" srcId="{1C3C8D42-0639-43FA-B59D-E08AE3C85FDD}" destId="{B84162AE-933E-412B-A4A0-A65DDB2A563A}" srcOrd="7" destOrd="0" presId="urn:microsoft.com/office/officeart/2005/8/layout/default"/>
    <dgm:cxn modelId="{5BDB4011-03C0-4726-9540-8CCE6864A4C5}" type="presParOf" srcId="{1C3C8D42-0639-43FA-B59D-E08AE3C85FDD}" destId="{E0F0DFC9-DD40-4417-B2F7-A6E83AE88821}" srcOrd="8" destOrd="0" presId="urn:microsoft.com/office/officeart/2005/8/layout/default"/>
    <dgm:cxn modelId="{EB4B522E-AA5B-44A2-9A7A-8B6858B79C01}" type="presParOf" srcId="{1C3C8D42-0639-43FA-B59D-E08AE3C85FDD}" destId="{517F2B97-0C96-4511-B386-7AA59C6C6E67}" srcOrd="9" destOrd="0" presId="urn:microsoft.com/office/officeart/2005/8/layout/default"/>
    <dgm:cxn modelId="{8289983B-B8C0-4EBC-949A-FB51AF0791BA}" type="presParOf" srcId="{1C3C8D42-0639-43FA-B59D-E08AE3C85FDD}" destId="{AA4927E4-1485-4695-B019-CB5B25364067}" srcOrd="10" destOrd="0" presId="urn:microsoft.com/office/officeart/2005/8/layout/default"/>
    <dgm:cxn modelId="{48A47BEC-D3B4-4A76-B468-7AEC34B2412D}" type="presParOf" srcId="{1C3C8D42-0639-43FA-B59D-E08AE3C85FDD}" destId="{FB15A183-664D-4A34-9608-5556C5AFD2C0}" srcOrd="11" destOrd="0" presId="urn:microsoft.com/office/officeart/2005/8/layout/default"/>
    <dgm:cxn modelId="{6C14D3FF-7262-4306-B089-A6FCAB18B5F0}" type="presParOf" srcId="{1C3C8D42-0639-43FA-B59D-E08AE3C85FDD}" destId="{02C5B5E3-AA88-4929-9FFD-889CC4DFC20B}" srcOrd="12" destOrd="0" presId="urn:microsoft.com/office/officeart/2005/8/layout/defaul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637E77A-C206-4A6C-A36E-FE821CF5D169}" type="doc">
      <dgm:prSet loTypeId="urn:microsoft.com/office/officeart/2008/layout/VerticalAccentList" loCatId="list" qsTypeId="urn:microsoft.com/office/officeart/2005/8/quickstyle/simple1" qsCatId="simple" csTypeId="urn:microsoft.com/office/officeart/2005/8/colors/accent1_2" csCatId="accent1"/>
      <dgm:spPr/>
      <dgm:t>
        <a:bodyPr/>
        <a:lstStyle/>
        <a:p>
          <a:endParaRPr lang="en-US"/>
        </a:p>
      </dgm:t>
    </dgm:pt>
    <dgm:pt modelId="{72C731A9-CEBD-453C-8BD4-E49AB07F1491}">
      <dgm:prSet custT="1"/>
      <dgm:spPr/>
      <dgm:t>
        <a:bodyPr/>
        <a:lstStyle/>
        <a:p>
          <a:pPr>
            <a:defRPr sz="1100"/>
          </a:pPr>
          <a:r>
            <a:rPr sz="1200" dirty="0" err="1"/>
            <a:t>Sorun</a:t>
          </a:r>
          <a:r>
            <a:rPr sz="1200" dirty="0"/>
            <a:t> 2: </a:t>
          </a:r>
          <a:r>
            <a:rPr sz="1200" dirty="0" err="1"/>
            <a:t>Toplu</a:t>
          </a:r>
          <a:r>
            <a:rPr sz="1200" dirty="0"/>
            <a:t> </a:t>
          </a:r>
          <a:r>
            <a:rPr sz="1200" dirty="0" err="1"/>
            <a:t>Taşıma</a:t>
          </a:r>
          <a:r>
            <a:rPr sz="1200" dirty="0"/>
            <a:t> </a:t>
          </a:r>
          <a:r>
            <a:rPr sz="1200" dirty="0" err="1"/>
            <a:t>Yetersizliği</a:t>
          </a:r>
          <a:endParaRPr sz="1200" dirty="0"/>
        </a:p>
      </dgm:t>
    </dgm:pt>
    <dgm:pt modelId="{89F02D03-27A6-42FC-A9E2-610DA07B7C06}" type="parTrans" cxnId="{5BD99891-B30A-4291-95AC-FC87EAD07411}">
      <dgm:prSet/>
      <dgm:spPr/>
      <dgm:t>
        <a:bodyPr/>
        <a:lstStyle/>
        <a:p>
          <a:endParaRPr lang="en-US"/>
        </a:p>
      </dgm:t>
    </dgm:pt>
    <dgm:pt modelId="{B80C80AD-B28F-4AE8-9D78-F23EBD9A38EE}" type="sibTrans" cxnId="{5BD99891-B30A-4291-95AC-FC87EAD07411}">
      <dgm:prSet/>
      <dgm:spPr/>
      <dgm:t>
        <a:bodyPr/>
        <a:lstStyle/>
        <a:p>
          <a:endParaRPr lang="en-US"/>
        </a:p>
      </dgm:t>
    </dgm:pt>
    <dgm:pt modelId="{1F2E68B7-EE4E-4DE8-8CA6-49B83EE77ADD}">
      <dgm:prSet custT="1"/>
      <dgm:spPr/>
      <dgm:t>
        <a:bodyPr/>
        <a:lstStyle/>
        <a:p>
          <a:pPr marL="0" lvl="0" indent="0" algn="just" defTabSz="444500">
            <a:lnSpc>
              <a:spcPct val="90000"/>
            </a:lnSpc>
            <a:spcBef>
              <a:spcPct val="0"/>
            </a:spcBef>
            <a:spcAft>
              <a:spcPct val="35000"/>
            </a:spcAft>
            <a:buNone/>
            <a:defRPr sz="1000" kern="1200">
              <a:solidFill>
                <a:prstClr val="black">
                  <a:hueOff val="0"/>
                  <a:satOff val="0"/>
                  <a:lumOff val="0"/>
                  <a:alphaOff val="0"/>
                </a:prstClr>
              </a:solidFill>
              <a:latin typeface="Calibri" panose="020F0502020204030204"/>
              <a:ea typeface="+mn-ea"/>
              <a:cs typeface="+mn-cs"/>
            </a:defRPr>
          </a:pPr>
          <a:r>
            <a:rPr lang="tr-TR" sz="1000" noProof="0" dirty="0"/>
            <a:t>Çözüm: Rota genişletmeleri, artan frekans ve diğer modlarla geliştirilmiş bağlantı yoluyla toplu taşıma ağlarını geliştirin.</a:t>
          </a:r>
        </a:p>
      </dgm:t>
    </dgm:pt>
    <dgm:pt modelId="{9D7816BB-C9F7-438B-A94E-C2CE02450E33}" type="parTrans" cxnId="{72D872C8-3488-447B-937B-D0896CF80CB3}">
      <dgm:prSet/>
      <dgm:spPr/>
      <dgm:t>
        <a:bodyPr/>
        <a:lstStyle/>
        <a:p>
          <a:endParaRPr lang="en-US"/>
        </a:p>
      </dgm:t>
    </dgm:pt>
    <dgm:pt modelId="{12A0ABA6-2A9D-4087-8A17-7878A0D9CAB3}" type="sibTrans" cxnId="{72D872C8-3488-447B-937B-D0896CF80CB3}">
      <dgm:prSet/>
      <dgm:spPr/>
      <dgm:t>
        <a:bodyPr/>
        <a:lstStyle/>
        <a:p>
          <a:endParaRPr lang="en-US"/>
        </a:p>
      </dgm:t>
    </dgm:pt>
    <dgm:pt modelId="{221BBFB9-B508-4B1B-8724-7F177B38D262}" type="pres">
      <dgm:prSet presAssocID="{6637E77A-C206-4A6C-A36E-FE821CF5D169}" presName="Name0" presStyleCnt="0">
        <dgm:presLayoutVars>
          <dgm:chMax/>
          <dgm:chPref/>
          <dgm:dir/>
        </dgm:presLayoutVars>
      </dgm:prSet>
      <dgm:spPr/>
    </dgm:pt>
    <dgm:pt modelId="{7C7BEF34-AF39-4FDF-8610-BB35C41E3659}" type="pres">
      <dgm:prSet presAssocID="{72C731A9-CEBD-453C-8BD4-E49AB07F1491}" presName="parenttextcomposite" presStyleCnt="0"/>
      <dgm:spPr/>
    </dgm:pt>
    <dgm:pt modelId="{DBD0619B-ED60-4EA7-AA86-619A3A74ECC5}" type="pres">
      <dgm:prSet presAssocID="{72C731A9-CEBD-453C-8BD4-E49AB07F1491}" presName="parenttext" presStyleLbl="revTx" presStyleIdx="0" presStyleCnt="1">
        <dgm:presLayoutVars>
          <dgm:chMax/>
          <dgm:chPref val="2"/>
          <dgm:bulletEnabled val="1"/>
        </dgm:presLayoutVars>
      </dgm:prSet>
      <dgm:spPr/>
    </dgm:pt>
    <dgm:pt modelId="{F2CA9059-C28C-492D-B788-EBFCE2E51C4E}" type="pres">
      <dgm:prSet presAssocID="{72C731A9-CEBD-453C-8BD4-E49AB07F1491}" presName="composite" presStyleCnt="0"/>
      <dgm:spPr/>
    </dgm:pt>
    <dgm:pt modelId="{599180D1-BBF6-4C82-8622-DED63620C93F}" type="pres">
      <dgm:prSet presAssocID="{72C731A9-CEBD-453C-8BD4-E49AB07F1491}" presName="chevron1" presStyleLbl="alignNode1" presStyleIdx="0" presStyleCnt="7"/>
      <dgm:spPr/>
    </dgm:pt>
    <dgm:pt modelId="{9EC4690D-692F-4D4C-B995-D7451FD22A08}" type="pres">
      <dgm:prSet presAssocID="{72C731A9-CEBD-453C-8BD4-E49AB07F1491}" presName="chevron2" presStyleLbl="alignNode1" presStyleIdx="1" presStyleCnt="7"/>
      <dgm:spPr/>
    </dgm:pt>
    <dgm:pt modelId="{5163BEEF-AC58-4F46-8165-40BEC0718786}" type="pres">
      <dgm:prSet presAssocID="{72C731A9-CEBD-453C-8BD4-E49AB07F1491}" presName="chevron3" presStyleLbl="alignNode1" presStyleIdx="2" presStyleCnt="7"/>
      <dgm:spPr/>
    </dgm:pt>
    <dgm:pt modelId="{C04037DB-7B20-4DC1-967D-CB7DCF2F5CB9}" type="pres">
      <dgm:prSet presAssocID="{72C731A9-CEBD-453C-8BD4-E49AB07F1491}" presName="chevron4" presStyleLbl="alignNode1" presStyleIdx="3" presStyleCnt="7"/>
      <dgm:spPr/>
    </dgm:pt>
    <dgm:pt modelId="{672B07FA-67FC-4A60-85BA-714C5CB44541}" type="pres">
      <dgm:prSet presAssocID="{72C731A9-CEBD-453C-8BD4-E49AB07F1491}" presName="chevron5" presStyleLbl="alignNode1" presStyleIdx="4" presStyleCnt="7"/>
      <dgm:spPr/>
    </dgm:pt>
    <dgm:pt modelId="{DDA3214B-37AC-45AB-9B8C-F91E4B8B8960}" type="pres">
      <dgm:prSet presAssocID="{72C731A9-CEBD-453C-8BD4-E49AB07F1491}" presName="chevron6" presStyleLbl="alignNode1" presStyleIdx="5" presStyleCnt="7"/>
      <dgm:spPr/>
    </dgm:pt>
    <dgm:pt modelId="{0F368841-7626-4E57-9529-50CC1CF1DC6D}" type="pres">
      <dgm:prSet presAssocID="{72C731A9-CEBD-453C-8BD4-E49AB07F1491}" presName="chevron7" presStyleLbl="alignNode1" presStyleIdx="6" presStyleCnt="7"/>
      <dgm:spPr/>
    </dgm:pt>
    <dgm:pt modelId="{A882AC1B-DB88-4DB8-A551-14C43AE69237}" type="pres">
      <dgm:prSet presAssocID="{72C731A9-CEBD-453C-8BD4-E49AB07F1491}" presName="childtext" presStyleLbl="solidFgAcc1" presStyleIdx="0" presStyleCnt="1">
        <dgm:presLayoutVars>
          <dgm:chMax/>
          <dgm:chPref val="0"/>
          <dgm:bulletEnabled val="1"/>
        </dgm:presLayoutVars>
      </dgm:prSet>
      <dgm:spPr/>
    </dgm:pt>
  </dgm:ptLst>
  <dgm:cxnLst>
    <dgm:cxn modelId="{10ECFA42-3194-41FD-B94C-D10A8FD71A00}" type="presOf" srcId="{6637E77A-C206-4A6C-A36E-FE821CF5D169}" destId="{221BBFB9-B508-4B1B-8724-7F177B38D262}" srcOrd="0" destOrd="0" presId="urn:microsoft.com/office/officeart/2008/layout/VerticalAccentList"/>
    <dgm:cxn modelId="{5BD99891-B30A-4291-95AC-FC87EAD07411}" srcId="{6637E77A-C206-4A6C-A36E-FE821CF5D169}" destId="{72C731A9-CEBD-453C-8BD4-E49AB07F1491}" srcOrd="0" destOrd="0" parTransId="{89F02D03-27A6-42FC-A9E2-610DA07B7C06}" sibTransId="{B80C80AD-B28F-4AE8-9D78-F23EBD9A38EE}"/>
    <dgm:cxn modelId="{752374AA-A1F5-41D2-9863-EE64A9626569}" type="presOf" srcId="{1F2E68B7-EE4E-4DE8-8CA6-49B83EE77ADD}" destId="{A882AC1B-DB88-4DB8-A551-14C43AE69237}" srcOrd="0" destOrd="0" presId="urn:microsoft.com/office/officeart/2008/layout/VerticalAccentList"/>
    <dgm:cxn modelId="{E84A73BC-54D8-46DB-8319-1641981B9654}" type="presOf" srcId="{72C731A9-CEBD-453C-8BD4-E49AB07F1491}" destId="{DBD0619B-ED60-4EA7-AA86-619A3A74ECC5}" srcOrd="0" destOrd="0" presId="urn:microsoft.com/office/officeart/2008/layout/VerticalAccentList"/>
    <dgm:cxn modelId="{72D872C8-3488-447B-937B-D0896CF80CB3}" srcId="{72C731A9-CEBD-453C-8BD4-E49AB07F1491}" destId="{1F2E68B7-EE4E-4DE8-8CA6-49B83EE77ADD}" srcOrd="0" destOrd="0" parTransId="{9D7816BB-C9F7-438B-A94E-C2CE02450E33}" sibTransId="{12A0ABA6-2A9D-4087-8A17-7878A0D9CAB3}"/>
    <dgm:cxn modelId="{1F540C81-5A8A-478E-BCE7-B64AF4B07929}" type="presParOf" srcId="{221BBFB9-B508-4B1B-8724-7F177B38D262}" destId="{7C7BEF34-AF39-4FDF-8610-BB35C41E3659}" srcOrd="0" destOrd="0" presId="urn:microsoft.com/office/officeart/2008/layout/VerticalAccentList"/>
    <dgm:cxn modelId="{E7C44910-23B7-44B1-B8FD-9195EE1E20A5}" type="presParOf" srcId="{7C7BEF34-AF39-4FDF-8610-BB35C41E3659}" destId="{DBD0619B-ED60-4EA7-AA86-619A3A74ECC5}" srcOrd="0" destOrd="0" presId="urn:microsoft.com/office/officeart/2008/layout/VerticalAccentList"/>
    <dgm:cxn modelId="{51646B57-7B48-439E-9BEA-DFE41293AC8C}" type="presParOf" srcId="{221BBFB9-B508-4B1B-8724-7F177B38D262}" destId="{F2CA9059-C28C-492D-B788-EBFCE2E51C4E}" srcOrd="1" destOrd="0" presId="urn:microsoft.com/office/officeart/2008/layout/VerticalAccentList"/>
    <dgm:cxn modelId="{C3E2A3EB-4447-4493-841D-AE4AFF6F5214}" type="presParOf" srcId="{F2CA9059-C28C-492D-B788-EBFCE2E51C4E}" destId="{599180D1-BBF6-4C82-8622-DED63620C93F}" srcOrd="0" destOrd="0" presId="urn:microsoft.com/office/officeart/2008/layout/VerticalAccentList"/>
    <dgm:cxn modelId="{33F1EDAC-9B70-48F4-8B32-F80D93DC07C2}" type="presParOf" srcId="{F2CA9059-C28C-492D-B788-EBFCE2E51C4E}" destId="{9EC4690D-692F-4D4C-B995-D7451FD22A08}" srcOrd="1" destOrd="0" presId="urn:microsoft.com/office/officeart/2008/layout/VerticalAccentList"/>
    <dgm:cxn modelId="{41D6053F-269C-4DAD-926C-C91FDF4DF9DF}" type="presParOf" srcId="{F2CA9059-C28C-492D-B788-EBFCE2E51C4E}" destId="{5163BEEF-AC58-4F46-8165-40BEC0718786}" srcOrd="2" destOrd="0" presId="urn:microsoft.com/office/officeart/2008/layout/VerticalAccentList"/>
    <dgm:cxn modelId="{4250CB72-7E3F-43E0-825E-CFCBA4217304}" type="presParOf" srcId="{F2CA9059-C28C-492D-B788-EBFCE2E51C4E}" destId="{C04037DB-7B20-4DC1-967D-CB7DCF2F5CB9}" srcOrd="3" destOrd="0" presId="urn:microsoft.com/office/officeart/2008/layout/VerticalAccentList"/>
    <dgm:cxn modelId="{A4FECFBA-1DEA-4615-84D0-7492C24F7EB9}" type="presParOf" srcId="{F2CA9059-C28C-492D-B788-EBFCE2E51C4E}" destId="{672B07FA-67FC-4A60-85BA-714C5CB44541}" srcOrd="4" destOrd="0" presId="urn:microsoft.com/office/officeart/2008/layout/VerticalAccentList"/>
    <dgm:cxn modelId="{133F9DA6-F829-49DF-9A0E-D90E0FBA30CB}" type="presParOf" srcId="{F2CA9059-C28C-492D-B788-EBFCE2E51C4E}" destId="{DDA3214B-37AC-45AB-9B8C-F91E4B8B8960}" srcOrd="5" destOrd="0" presId="urn:microsoft.com/office/officeart/2008/layout/VerticalAccentList"/>
    <dgm:cxn modelId="{C263CBC3-B4EC-47D6-930D-80F2E6A9E7A5}" type="presParOf" srcId="{F2CA9059-C28C-492D-B788-EBFCE2E51C4E}" destId="{0F368841-7626-4E57-9529-50CC1CF1DC6D}" srcOrd="6" destOrd="0" presId="urn:microsoft.com/office/officeart/2008/layout/VerticalAccentList"/>
    <dgm:cxn modelId="{845C0319-D647-41B1-8F6F-1781605FF848}" type="presParOf" srcId="{F2CA9059-C28C-492D-B788-EBFCE2E51C4E}" destId="{A882AC1B-DB88-4DB8-A551-14C43AE69237}" srcOrd="7" destOrd="0" presId="urn:microsoft.com/office/officeart/2008/layout/VerticalAccentList"/>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A2A4A038-717D-40A4-B57F-83F6A3F9630C}" type="doc">
      <dgm:prSet loTypeId="urn:microsoft.com/office/officeart/2005/8/layout/cycle2" loCatId="cycle" qsTypeId="urn:microsoft.com/office/officeart/2005/8/quickstyle/simple1" qsCatId="simple" csTypeId="urn:microsoft.com/office/officeart/2005/8/colors/accent0_3" csCatId="mainScheme" phldr="1"/>
      <dgm:spPr/>
      <dgm:t>
        <a:bodyPr/>
        <a:lstStyle/>
        <a:p>
          <a:endParaRPr lang="en-US"/>
        </a:p>
      </dgm:t>
    </dgm:pt>
    <dgm:pt modelId="{1CCE8516-F227-4D52-A895-17BA67389179}">
      <dgm:prSet/>
      <dgm:spPr/>
      <dgm:t>
        <a:bodyPr/>
        <a:lstStyle/>
        <a:p>
          <a:pPr algn="just"/>
          <a:r>
            <a:rPr dirty="0" err="1"/>
            <a:t>Akıllı</a:t>
          </a:r>
          <a:r>
            <a:rPr dirty="0"/>
            <a:t> Ulaşım </a:t>
          </a:r>
          <a:r>
            <a:rPr dirty="0" err="1"/>
            <a:t>Sistemleri</a:t>
          </a:r>
          <a:r>
            <a:rPr dirty="0"/>
            <a:t> (</a:t>
          </a:r>
          <a:r>
            <a:rPr lang="en-US" dirty="0"/>
            <a:t>AUS</a:t>
          </a:r>
          <a:r>
            <a:rPr dirty="0"/>
            <a:t>), </a:t>
          </a:r>
          <a:r>
            <a:rPr dirty="0" err="1"/>
            <a:t>ulaşım</a:t>
          </a:r>
          <a:r>
            <a:rPr dirty="0"/>
            <a:t> </a:t>
          </a:r>
          <a:r>
            <a:rPr dirty="0" err="1"/>
            <a:t>sistemlerinin</a:t>
          </a:r>
          <a:r>
            <a:rPr dirty="0"/>
            <a:t> </a:t>
          </a:r>
          <a:r>
            <a:rPr dirty="0" err="1"/>
            <a:t>güvenliğini</a:t>
          </a:r>
          <a:r>
            <a:rPr dirty="0"/>
            <a:t>, </a:t>
          </a:r>
          <a:r>
            <a:rPr dirty="0" err="1"/>
            <a:t>verimliliğini</a:t>
          </a:r>
          <a:r>
            <a:rPr dirty="0"/>
            <a:t> </a:t>
          </a:r>
          <a:r>
            <a:rPr dirty="0" err="1"/>
            <a:t>ve</a:t>
          </a:r>
          <a:r>
            <a:rPr dirty="0"/>
            <a:t> </a:t>
          </a:r>
          <a:r>
            <a:rPr dirty="0" err="1"/>
            <a:t>sürdürülebilirliğini</a:t>
          </a:r>
          <a:r>
            <a:rPr dirty="0"/>
            <a:t> </a:t>
          </a:r>
          <a:r>
            <a:rPr dirty="0" err="1"/>
            <a:t>artırmak</a:t>
          </a:r>
          <a:r>
            <a:rPr dirty="0"/>
            <a:t> </a:t>
          </a:r>
          <a:r>
            <a:rPr dirty="0" err="1"/>
            <a:t>için</a:t>
          </a:r>
          <a:r>
            <a:rPr dirty="0"/>
            <a:t> </a:t>
          </a:r>
          <a:r>
            <a:rPr dirty="0" err="1"/>
            <a:t>ileri</a:t>
          </a:r>
          <a:r>
            <a:rPr dirty="0"/>
            <a:t> </a:t>
          </a:r>
          <a:r>
            <a:rPr dirty="0" err="1"/>
            <a:t>teknolojilerin</a:t>
          </a:r>
          <a:r>
            <a:rPr dirty="0"/>
            <a:t> </a:t>
          </a:r>
          <a:r>
            <a:rPr dirty="0" err="1"/>
            <a:t>uygulanmasını</a:t>
          </a:r>
          <a:r>
            <a:rPr dirty="0"/>
            <a:t> </a:t>
          </a:r>
          <a:r>
            <a:rPr dirty="0" err="1"/>
            <a:t>ifade</a:t>
          </a:r>
          <a:r>
            <a:rPr dirty="0"/>
            <a:t> </a:t>
          </a:r>
          <a:r>
            <a:rPr dirty="0" err="1"/>
            <a:t>eder</a:t>
          </a:r>
          <a:r>
            <a:rPr dirty="0"/>
            <a:t>. </a:t>
          </a:r>
          <a:r>
            <a:rPr lang="en-US" dirty="0"/>
            <a:t>AUS</a:t>
          </a:r>
          <a:r>
            <a:rPr dirty="0"/>
            <a:t>, </a:t>
          </a:r>
          <a:r>
            <a:rPr dirty="0" err="1"/>
            <a:t>araçtan</a:t>
          </a:r>
          <a:r>
            <a:rPr dirty="0"/>
            <a:t> araca (V2V) </a:t>
          </a:r>
          <a:r>
            <a:rPr dirty="0" err="1"/>
            <a:t>ve</a:t>
          </a:r>
          <a:r>
            <a:rPr dirty="0"/>
            <a:t> </a:t>
          </a:r>
          <a:r>
            <a:rPr dirty="0" err="1"/>
            <a:t>araçtan</a:t>
          </a:r>
          <a:r>
            <a:rPr dirty="0"/>
            <a:t> </a:t>
          </a:r>
          <a:r>
            <a:rPr dirty="0" err="1"/>
            <a:t>altyapıya</a:t>
          </a:r>
          <a:r>
            <a:rPr dirty="0"/>
            <a:t> (V2I) </a:t>
          </a:r>
          <a:r>
            <a:rPr dirty="0" err="1"/>
            <a:t>iletişim</a:t>
          </a:r>
          <a:r>
            <a:rPr dirty="0"/>
            <a:t> </a:t>
          </a:r>
          <a:r>
            <a:rPr dirty="0" err="1"/>
            <a:t>sistemleri</a:t>
          </a:r>
          <a:r>
            <a:rPr dirty="0"/>
            <a:t>, </a:t>
          </a:r>
          <a:r>
            <a:rPr dirty="0" err="1"/>
            <a:t>gelişmiş</a:t>
          </a:r>
          <a:r>
            <a:rPr dirty="0"/>
            <a:t> </a:t>
          </a:r>
          <a:r>
            <a:rPr dirty="0" err="1"/>
            <a:t>trafik</a:t>
          </a:r>
          <a:r>
            <a:rPr dirty="0"/>
            <a:t> </a:t>
          </a:r>
          <a:r>
            <a:rPr dirty="0" err="1"/>
            <a:t>yönetim</a:t>
          </a:r>
          <a:r>
            <a:rPr dirty="0"/>
            <a:t> </a:t>
          </a:r>
          <a:r>
            <a:rPr dirty="0" err="1"/>
            <a:t>sistemleri</a:t>
          </a:r>
          <a:r>
            <a:rPr dirty="0"/>
            <a:t> </a:t>
          </a:r>
          <a:r>
            <a:rPr dirty="0" err="1"/>
            <a:t>ve</a:t>
          </a:r>
          <a:r>
            <a:rPr dirty="0"/>
            <a:t> </a:t>
          </a:r>
          <a:r>
            <a:rPr dirty="0" err="1"/>
            <a:t>otomatik</a:t>
          </a:r>
          <a:r>
            <a:rPr dirty="0"/>
            <a:t> </a:t>
          </a:r>
          <a:r>
            <a:rPr dirty="0" err="1"/>
            <a:t>araçlar</a:t>
          </a:r>
          <a:r>
            <a:rPr dirty="0"/>
            <a:t> </a:t>
          </a:r>
          <a:r>
            <a:rPr dirty="0" err="1"/>
            <a:t>gibi</a:t>
          </a:r>
          <a:r>
            <a:rPr dirty="0"/>
            <a:t> </a:t>
          </a:r>
          <a:r>
            <a:rPr dirty="0" err="1"/>
            <a:t>bir</a:t>
          </a:r>
          <a:r>
            <a:rPr dirty="0"/>
            <a:t> dizi </a:t>
          </a:r>
          <a:r>
            <a:rPr dirty="0" err="1"/>
            <a:t>teknolojiyi</a:t>
          </a:r>
          <a:r>
            <a:rPr dirty="0"/>
            <a:t> </a:t>
          </a:r>
          <a:r>
            <a:rPr dirty="0" err="1"/>
            <a:t>içerebilir</a:t>
          </a:r>
          <a:r>
            <a:rPr dirty="0"/>
            <a:t>. </a:t>
          </a:r>
          <a:r>
            <a:rPr lang="en-US" dirty="0" err="1"/>
            <a:t>AUS</a:t>
          </a:r>
          <a:r>
            <a:rPr dirty="0" err="1"/>
            <a:t>'nin</a:t>
          </a:r>
          <a:r>
            <a:rPr dirty="0"/>
            <a:t> </a:t>
          </a:r>
          <a:r>
            <a:rPr dirty="0" err="1"/>
            <a:t>nihai</a:t>
          </a:r>
          <a:r>
            <a:rPr dirty="0"/>
            <a:t> </a:t>
          </a:r>
          <a:r>
            <a:rPr dirty="0" err="1"/>
            <a:t>hedefi</a:t>
          </a:r>
          <a:r>
            <a:rPr dirty="0"/>
            <a:t>, </a:t>
          </a:r>
          <a:r>
            <a:rPr dirty="0" err="1"/>
            <a:t>kullanıcıların</a:t>
          </a:r>
          <a:r>
            <a:rPr dirty="0"/>
            <a:t> </a:t>
          </a:r>
          <a:r>
            <a:rPr dirty="0" err="1"/>
            <a:t>ihtiyaçlarına</a:t>
          </a:r>
          <a:r>
            <a:rPr dirty="0"/>
            <a:t> </a:t>
          </a:r>
          <a:r>
            <a:rPr dirty="0" err="1"/>
            <a:t>daha</a:t>
          </a:r>
          <a:r>
            <a:rPr dirty="0"/>
            <a:t> iyi </a:t>
          </a:r>
          <a:r>
            <a:rPr dirty="0" err="1"/>
            <a:t>cevap</a:t>
          </a:r>
          <a:r>
            <a:rPr dirty="0"/>
            <a:t> </a:t>
          </a:r>
          <a:r>
            <a:rPr dirty="0" err="1"/>
            <a:t>verebilecek</a:t>
          </a:r>
          <a:r>
            <a:rPr dirty="0"/>
            <a:t> </a:t>
          </a:r>
          <a:r>
            <a:rPr dirty="0" err="1"/>
            <a:t>ve</a:t>
          </a:r>
          <a:r>
            <a:rPr dirty="0"/>
            <a:t> </a:t>
          </a:r>
          <a:r>
            <a:rPr dirty="0" err="1"/>
            <a:t>genel</a:t>
          </a:r>
          <a:r>
            <a:rPr dirty="0"/>
            <a:t> </a:t>
          </a:r>
          <a:r>
            <a:rPr dirty="0" err="1"/>
            <a:t>ulaşım</a:t>
          </a:r>
          <a:r>
            <a:rPr dirty="0"/>
            <a:t> </a:t>
          </a:r>
          <a:r>
            <a:rPr dirty="0" err="1"/>
            <a:t>sonuçlarını</a:t>
          </a:r>
          <a:r>
            <a:rPr dirty="0"/>
            <a:t> </a:t>
          </a:r>
          <a:r>
            <a:rPr dirty="0" err="1"/>
            <a:t>iyileştirebilecek</a:t>
          </a:r>
          <a:r>
            <a:rPr dirty="0"/>
            <a:t> </a:t>
          </a:r>
          <a:r>
            <a:rPr dirty="0" err="1"/>
            <a:t>daha</a:t>
          </a:r>
          <a:r>
            <a:rPr dirty="0"/>
            <a:t> </a:t>
          </a:r>
          <a:r>
            <a:rPr dirty="0" err="1"/>
            <a:t>entegre</a:t>
          </a:r>
          <a:r>
            <a:rPr dirty="0"/>
            <a:t> </a:t>
          </a:r>
          <a:r>
            <a:rPr dirty="0" err="1"/>
            <a:t>ve</a:t>
          </a:r>
          <a:r>
            <a:rPr dirty="0"/>
            <a:t> </a:t>
          </a:r>
          <a:r>
            <a:rPr dirty="0" err="1"/>
            <a:t>bağlantılı</a:t>
          </a:r>
          <a:r>
            <a:rPr dirty="0"/>
            <a:t> </a:t>
          </a:r>
          <a:r>
            <a:rPr dirty="0" err="1"/>
            <a:t>bir</a:t>
          </a:r>
          <a:r>
            <a:rPr dirty="0"/>
            <a:t> </a:t>
          </a:r>
          <a:r>
            <a:rPr dirty="0" err="1"/>
            <a:t>ulaşım</a:t>
          </a:r>
          <a:r>
            <a:rPr dirty="0"/>
            <a:t> </a:t>
          </a:r>
          <a:r>
            <a:rPr dirty="0" err="1"/>
            <a:t>sistemi</a:t>
          </a:r>
          <a:r>
            <a:rPr dirty="0"/>
            <a:t> </a:t>
          </a:r>
          <a:r>
            <a:rPr dirty="0" err="1"/>
            <a:t>oluşturmaktır</a:t>
          </a:r>
          <a:r>
            <a:rPr dirty="0"/>
            <a:t>.</a:t>
          </a:r>
        </a:p>
      </dgm:t>
    </dgm:pt>
    <dgm:pt modelId="{FD6ED318-FC3A-4F5F-B4C1-7F3D87B9F94D}" type="parTrans" cxnId="{D9A288B8-02BD-4458-A3EE-F9B8082301D2}">
      <dgm:prSet/>
      <dgm:spPr/>
      <dgm:t>
        <a:bodyPr/>
        <a:lstStyle/>
        <a:p>
          <a:pPr algn="just"/>
          <a:endParaRPr lang="en-US"/>
        </a:p>
      </dgm:t>
    </dgm:pt>
    <dgm:pt modelId="{76014F3F-D545-4355-8910-1A444AC175B8}" type="sibTrans" cxnId="{D9A288B8-02BD-4458-A3EE-F9B8082301D2}">
      <dgm:prSet/>
      <dgm:spPr/>
      <dgm:t>
        <a:bodyPr/>
        <a:lstStyle/>
        <a:p>
          <a:pPr algn="just"/>
          <a:endParaRPr lang="en-US"/>
        </a:p>
      </dgm:t>
    </dgm:pt>
    <dgm:pt modelId="{B09351EB-CD23-4510-BD15-F87BC830C584}">
      <dgm:prSet/>
      <dgm:spPr/>
      <dgm:t>
        <a:bodyPr/>
        <a:lstStyle/>
        <a:p>
          <a:pPr algn="just"/>
          <a:r>
            <a:rPr dirty="0"/>
            <a:t>Bir dizi </a:t>
          </a:r>
          <a:r>
            <a:rPr dirty="0" err="1"/>
            <a:t>gelişmiş</a:t>
          </a:r>
          <a:r>
            <a:rPr dirty="0"/>
            <a:t> </a:t>
          </a:r>
          <a:r>
            <a:rPr dirty="0" err="1"/>
            <a:t>teknolojiyi</a:t>
          </a:r>
          <a:r>
            <a:rPr dirty="0"/>
            <a:t> </a:t>
          </a:r>
          <a:r>
            <a:rPr dirty="0" err="1"/>
            <a:t>entegre</a:t>
          </a:r>
          <a:r>
            <a:rPr dirty="0"/>
            <a:t> </a:t>
          </a:r>
          <a:r>
            <a:rPr dirty="0" err="1"/>
            <a:t>ederek</a:t>
          </a:r>
          <a:r>
            <a:rPr dirty="0"/>
            <a:t>, </a:t>
          </a:r>
          <a:r>
            <a:rPr lang="en-US" dirty="0"/>
            <a:t>AUS</a:t>
          </a:r>
          <a:r>
            <a:rPr dirty="0"/>
            <a:t> </a:t>
          </a:r>
          <a:r>
            <a:rPr dirty="0" err="1"/>
            <a:t>seyahat</a:t>
          </a:r>
          <a:r>
            <a:rPr dirty="0"/>
            <a:t> </a:t>
          </a:r>
          <a:r>
            <a:rPr dirty="0" err="1"/>
            <a:t>süresini</a:t>
          </a:r>
          <a:r>
            <a:rPr dirty="0"/>
            <a:t> </a:t>
          </a:r>
          <a:r>
            <a:rPr dirty="0" err="1"/>
            <a:t>azaltan</a:t>
          </a:r>
          <a:r>
            <a:rPr dirty="0"/>
            <a:t>, </a:t>
          </a:r>
          <a:r>
            <a:rPr dirty="0" err="1"/>
            <a:t>güvenliği</a:t>
          </a:r>
          <a:r>
            <a:rPr dirty="0"/>
            <a:t> </a:t>
          </a:r>
          <a:r>
            <a:rPr dirty="0" err="1"/>
            <a:t>artıran</a:t>
          </a:r>
          <a:r>
            <a:rPr dirty="0"/>
            <a:t> </a:t>
          </a:r>
          <a:r>
            <a:rPr dirty="0" err="1"/>
            <a:t>ve</a:t>
          </a:r>
          <a:r>
            <a:rPr dirty="0"/>
            <a:t> </a:t>
          </a:r>
          <a:r>
            <a:rPr dirty="0" err="1"/>
            <a:t>çevresel</a:t>
          </a:r>
          <a:r>
            <a:rPr dirty="0"/>
            <a:t> </a:t>
          </a:r>
          <a:r>
            <a:rPr dirty="0" err="1"/>
            <a:t>etkiyi</a:t>
          </a:r>
          <a:r>
            <a:rPr dirty="0"/>
            <a:t> </a:t>
          </a:r>
          <a:r>
            <a:rPr dirty="0" err="1"/>
            <a:t>en</a:t>
          </a:r>
          <a:r>
            <a:rPr dirty="0"/>
            <a:t> </a:t>
          </a:r>
          <a:r>
            <a:rPr dirty="0" err="1"/>
            <a:t>aza</a:t>
          </a:r>
          <a:r>
            <a:rPr dirty="0"/>
            <a:t> </a:t>
          </a:r>
          <a:r>
            <a:rPr dirty="0" err="1"/>
            <a:t>indiren</a:t>
          </a:r>
          <a:r>
            <a:rPr dirty="0"/>
            <a:t> </a:t>
          </a:r>
          <a:r>
            <a:rPr dirty="0" err="1"/>
            <a:t>daha</a:t>
          </a:r>
          <a:r>
            <a:rPr dirty="0"/>
            <a:t> </a:t>
          </a:r>
          <a:r>
            <a:rPr dirty="0" err="1"/>
            <a:t>sorunsuz</a:t>
          </a:r>
          <a:r>
            <a:rPr dirty="0"/>
            <a:t> </a:t>
          </a:r>
          <a:r>
            <a:rPr dirty="0" err="1"/>
            <a:t>ve</a:t>
          </a:r>
          <a:r>
            <a:rPr dirty="0"/>
            <a:t> </a:t>
          </a:r>
          <a:r>
            <a:rPr dirty="0" err="1"/>
            <a:t>verimli</a:t>
          </a:r>
          <a:r>
            <a:rPr dirty="0"/>
            <a:t> </a:t>
          </a:r>
          <a:r>
            <a:rPr dirty="0" err="1"/>
            <a:t>bir</a:t>
          </a:r>
          <a:r>
            <a:rPr dirty="0"/>
            <a:t> </a:t>
          </a:r>
          <a:r>
            <a:rPr dirty="0" err="1"/>
            <a:t>ulaşım</a:t>
          </a:r>
          <a:r>
            <a:rPr dirty="0"/>
            <a:t> </a:t>
          </a:r>
          <a:r>
            <a:rPr dirty="0" err="1"/>
            <a:t>sistemi</a:t>
          </a:r>
          <a:r>
            <a:rPr dirty="0"/>
            <a:t> </a:t>
          </a:r>
          <a:r>
            <a:rPr dirty="0" err="1"/>
            <a:t>oluşturabilir</a:t>
          </a:r>
          <a:r>
            <a:rPr dirty="0"/>
            <a:t>. Bu </a:t>
          </a:r>
          <a:r>
            <a:rPr dirty="0" err="1"/>
            <a:t>teknolojiler</a:t>
          </a:r>
          <a:r>
            <a:rPr dirty="0"/>
            <a:t>, </a:t>
          </a:r>
          <a:r>
            <a:rPr dirty="0" err="1"/>
            <a:t>gerçek</a:t>
          </a:r>
          <a:r>
            <a:rPr dirty="0"/>
            <a:t> </a:t>
          </a:r>
          <a:r>
            <a:rPr dirty="0" err="1"/>
            <a:t>zamanlı</a:t>
          </a:r>
          <a:r>
            <a:rPr dirty="0"/>
            <a:t> </a:t>
          </a:r>
          <a:r>
            <a:rPr dirty="0" err="1"/>
            <a:t>trafik</a:t>
          </a:r>
          <a:r>
            <a:rPr dirty="0"/>
            <a:t> </a:t>
          </a:r>
          <a:r>
            <a:rPr dirty="0" err="1"/>
            <a:t>güncellemeleri</a:t>
          </a:r>
          <a:r>
            <a:rPr dirty="0"/>
            <a:t> </a:t>
          </a:r>
          <a:r>
            <a:rPr dirty="0" err="1"/>
            <a:t>sağlayan</a:t>
          </a:r>
          <a:r>
            <a:rPr dirty="0"/>
            <a:t> </a:t>
          </a:r>
          <a:r>
            <a:rPr dirty="0" err="1"/>
            <a:t>temel</a:t>
          </a:r>
          <a:r>
            <a:rPr dirty="0"/>
            <a:t> </a:t>
          </a:r>
          <a:r>
            <a:rPr dirty="0" err="1"/>
            <a:t>trafik</a:t>
          </a:r>
          <a:r>
            <a:rPr dirty="0"/>
            <a:t> </a:t>
          </a:r>
          <a:r>
            <a:rPr dirty="0" err="1"/>
            <a:t>izleme</a:t>
          </a:r>
          <a:r>
            <a:rPr dirty="0"/>
            <a:t> </a:t>
          </a:r>
          <a:r>
            <a:rPr dirty="0" err="1"/>
            <a:t>sistemlerinden</a:t>
          </a:r>
          <a:r>
            <a:rPr dirty="0"/>
            <a:t>, </a:t>
          </a:r>
          <a:r>
            <a:rPr dirty="0" err="1"/>
            <a:t>trafik</a:t>
          </a:r>
          <a:r>
            <a:rPr dirty="0"/>
            <a:t> </a:t>
          </a:r>
          <a:r>
            <a:rPr dirty="0" err="1"/>
            <a:t>modellerini</a:t>
          </a:r>
          <a:r>
            <a:rPr dirty="0"/>
            <a:t> </a:t>
          </a:r>
          <a:r>
            <a:rPr dirty="0" err="1"/>
            <a:t>tahmin</a:t>
          </a:r>
          <a:r>
            <a:rPr dirty="0"/>
            <a:t> </a:t>
          </a:r>
          <a:r>
            <a:rPr dirty="0" err="1"/>
            <a:t>etmek</a:t>
          </a:r>
          <a:r>
            <a:rPr dirty="0"/>
            <a:t> </a:t>
          </a:r>
          <a:r>
            <a:rPr dirty="0" err="1"/>
            <a:t>ve</a:t>
          </a:r>
          <a:r>
            <a:rPr dirty="0"/>
            <a:t> </a:t>
          </a:r>
          <a:r>
            <a:rPr dirty="0" err="1"/>
            <a:t>trafik</a:t>
          </a:r>
          <a:r>
            <a:rPr dirty="0"/>
            <a:t> </a:t>
          </a:r>
          <a:r>
            <a:rPr dirty="0" err="1"/>
            <a:t>akışını</a:t>
          </a:r>
          <a:r>
            <a:rPr dirty="0"/>
            <a:t> optimize </a:t>
          </a:r>
          <a:r>
            <a:rPr dirty="0" err="1"/>
            <a:t>etmek</a:t>
          </a:r>
          <a:r>
            <a:rPr dirty="0"/>
            <a:t> </a:t>
          </a:r>
          <a:r>
            <a:rPr dirty="0" err="1"/>
            <a:t>için</a:t>
          </a:r>
          <a:r>
            <a:rPr dirty="0"/>
            <a:t> </a:t>
          </a:r>
          <a:r>
            <a:rPr dirty="0" err="1"/>
            <a:t>yapay</a:t>
          </a:r>
          <a:r>
            <a:rPr dirty="0"/>
            <a:t> </a:t>
          </a:r>
          <a:r>
            <a:rPr dirty="0" err="1"/>
            <a:t>zeka</a:t>
          </a:r>
          <a:r>
            <a:rPr dirty="0"/>
            <a:t> </a:t>
          </a:r>
          <a:r>
            <a:rPr dirty="0" err="1"/>
            <a:t>ve</a:t>
          </a:r>
          <a:r>
            <a:rPr dirty="0"/>
            <a:t> </a:t>
          </a:r>
          <a:r>
            <a:rPr dirty="0" err="1"/>
            <a:t>makine</a:t>
          </a:r>
          <a:r>
            <a:rPr dirty="0"/>
            <a:t> </a:t>
          </a:r>
          <a:r>
            <a:rPr dirty="0" err="1"/>
            <a:t>öğrenimi</a:t>
          </a:r>
          <a:r>
            <a:rPr dirty="0"/>
            <a:t> </a:t>
          </a:r>
          <a:r>
            <a:rPr dirty="0" err="1"/>
            <a:t>algoritmalarını</a:t>
          </a:r>
          <a:r>
            <a:rPr dirty="0"/>
            <a:t> </a:t>
          </a:r>
          <a:r>
            <a:rPr dirty="0" err="1"/>
            <a:t>kullanan</a:t>
          </a:r>
          <a:r>
            <a:rPr dirty="0"/>
            <a:t> </a:t>
          </a:r>
          <a:r>
            <a:rPr dirty="0" err="1"/>
            <a:t>karmaşık</a:t>
          </a:r>
          <a:r>
            <a:rPr dirty="0"/>
            <a:t> </a:t>
          </a:r>
          <a:r>
            <a:rPr dirty="0" err="1"/>
            <a:t>otomatik</a:t>
          </a:r>
          <a:r>
            <a:rPr dirty="0"/>
            <a:t> </a:t>
          </a:r>
          <a:r>
            <a:rPr dirty="0" err="1"/>
            <a:t>sistemlere</a:t>
          </a:r>
          <a:r>
            <a:rPr dirty="0"/>
            <a:t> </a:t>
          </a:r>
          <a:r>
            <a:rPr dirty="0" err="1"/>
            <a:t>kadar</a:t>
          </a:r>
          <a:r>
            <a:rPr dirty="0"/>
            <a:t> </a:t>
          </a:r>
          <a:r>
            <a:rPr dirty="0" err="1"/>
            <a:t>değişebilir</a:t>
          </a:r>
          <a:r>
            <a:rPr dirty="0"/>
            <a:t>.</a:t>
          </a:r>
        </a:p>
      </dgm:t>
    </dgm:pt>
    <dgm:pt modelId="{C969632D-30AB-4E68-AFD0-F2621E9CF3A0}" type="parTrans" cxnId="{F53F6472-08A9-40CD-A367-FFC80B2CF5EF}">
      <dgm:prSet/>
      <dgm:spPr/>
      <dgm:t>
        <a:bodyPr/>
        <a:lstStyle/>
        <a:p>
          <a:pPr algn="just"/>
          <a:endParaRPr lang="en-US"/>
        </a:p>
      </dgm:t>
    </dgm:pt>
    <dgm:pt modelId="{67456C2D-8EB0-49FC-8247-EC9A90AF2EAD}" type="sibTrans" cxnId="{F53F6472-08A9-40CD-A367-FFC80B2CF5EF}">
      <dgm:prSet/>
      <dgm:spPr/>
      <dgm:t>
        <a:bodyPr/>
        <a:lstStyle/>
        <a:p>
          <a:pPr algn="just"/>
          <a:endParaRPr lang="en-US"/>
        </a:p>
      </dgm:t>
    </dgm:pt>
    <dgm:pt modelId="{D338E724-9BD0-47D3-8652-5CB9A0FE482E}">
      <dgm:prSet/>
      <dgm:spPr/>
      <dgm:t>
        <a:bodyPr/>
        <a:lstStyle/>
        <a:p>
          <a:pPr algn="just"/>
          <a:r>
            <a:rPr dirty="0" err="1"/>
            <a:t>Teknolojilerinin</a:t>
          </a:r>
          <a:r>
            <a:rPr dirty="0"/>
            <a:t> </a:t>
          </a:r>
          <a:r>
            <a:rPr dirty="0" err="1"/>
            <a:t>bazı</a:t>
          </a:r>
          <a:r>
            <a:rPr dirty="0"/>
            <a:t> </a:t>
          </a:r>
          <a:r>
            <a:rPr dirty="0" err="1"/>
            <a:t>örnekleri</a:t>
          </a:r>
          <a:r>
            <a:rPr dirty="0"/>
            <a:t>, </a:t>
          </a:r>
          <a:r>
            <a:rPr dirty="0" err="1"/>
            <a:t>trafik</a:t>
          </a:r>
          <a:r>
            <a:rPr dirty="0"/>
            <a:t> </a:t>
          </a:r>
          <a:r>
            <a:rPr dirty="0" err="1"/>
            <a:t>akışını</a:t>
          </a:r>
          <a:r>
            <a:rPr dirty="0"/>
            <a:t> optimize </a:t>
          </a:r>
          <a:r>
            <a:rPr dirty="0" err="1"/>
            <a:t>etmek</a:t>
          </a:r>
          <a:r>
            <a:rPr dirty="0"/>
            <a:t> </a:t>
          </a:r>
          <a:r>
            <a:rPr dirty="0" err="1"/>
            <a:t>ve</a:t>
          </a:r>
          <a:r>
            <a:rPr dirty="0"/>
            <a:t> </a:t>
          </a:r>
          <a:r>
            <a:rPr dirty="0" err="1"/>
            <a:t>tıkanıklığı</a:t>
          </a:r>
          <a:r>
            <a:rPr dirty="0"/>
            <a:t> </a:t>
          </a:r>
          <a:r>
            <a:rPr dirty="0" err="1"/>
            <a:t>azaltmak</a:t>
          </a:r>
          <a:r>
            <a:rPr dirty="0"/>
            <a:t> </a:t>
          </a:r>
          <a:r>
            <a:rPr dirty="0" err="1"/>
            <a:t>için</a:t>
          </a:r>
          <a:r>
            <a:rPr dirty="0"/>
            <a:t> </a:t>
          </a:r>
          <a:r>
            <a:rPr dirty="0" err="1"/>
            <a:t>gerçek</a:t>
          </a:r>
          <a:r>
            <a:rPr dirty="0"/>
            <a:t> </a:t>
          </a:r>
          <a:r>
            <a:rPr dirty="0" err="1"/>
            <a:t>zamanlı</a:t>
          </a:r>
          <a:r>
            <a:rPr dirty="0"/>
            <a:t> </a:t>
          </a:r>
          <a:r>
            <a:rPr dirty="0" err="1"/>
            <a:t>trafik</a:t>
          </a:r>
          <a:r>
            <a:rPr dirty="0"/>
            <a:t> </a:t>
          </a:r>
          <a:r>
            <a:rPr dirty="0" err="1"/>
            <a:t>verilerini</a:t>
          </a:r>
          <a:r>
            <a:rPr dirty="0"/>
            <a:t> </a:t>
          </a:r>
          <a:r>
            <a:rPr dirty="0" err="1"/>
            <a:t>kullanan</a:t>
          </a:r>
          <a:r>
            <a:rPr dirty="0"/>
            <a:t> </a:t>
          </a:r>
          <a:r>
            <a:rPr dirty="0" err="1"/>
            <a:t>gelişmiş</a:t>
          </a:r>
          <a:r>
            <a:rPr dirty="0"/>
            <a:t> </a:t>
          </a:r>
          <a:r>
            <a:rPr dirty="0" err="1"/>
            <a:t>trafik</a:t>
          </a:r>
          <a:r>
            <a:rPr dirty="0"/>
            <a:t> </a:t>
          </a:r>
          <a:r>
            <a:rPr dirty="0" err="1"/>
            <a:t>yönetim</a:t>
          </a:r>
          <a:r>
            <a:rPr dirty="0"/>
            <a:t> </a:t>
          </a:r>
          <a:r>
            <a:rPr dirty="0" err="1"/>
            <a:t>sistemlerini</a:t>
          </a:r>
          <a:r>
            <a:rPr dirty="0"/>
            <a:t> </a:t>
          </a:r>
          <a:r>
            <a:rPr dirty="0" err="1"/>
            <a:t>ve</a:t>
          </a:r>
          <a:r>
            <a:rPr dirty="0"/>
            <a:t> </a:t>
          </a:r>
          <a:r>
            <a:rPr dirty="0" err="1"/>
            <a:t>karayollarında</a:t>
          </a:r>
          <a:r>
            <a:rPr dirty="0"/>
            <a:t> </a:t>
          </a:r>
          <a:r>
            <a:rPr dirty="0" err="1"/>
            <a:t>gezinmek</a:t>
          </a:r>
          <a:r>
            <a:rPr dirty="0"/>
            <a:t> </a:t>
          </a:r>
          <a:r>
            <a:rPr dirty="0" err="1"/>
            <a:t>ve</a:t>
          </a:r>
          <a:r>
            <a:rPr dirty="0"/>
            <a:t> </a:t>
          </a:r>
          <a:r>
            <a:rPr dirty="0" err="1"/>
            <a:t>diğer</a:t>
          </a:r>
          <a:r>
            <a:rPr dirty="0"/>
            <a:t> </a:t>
          </a:r>
          <a:r>
            <a:rPr dirty="0" err="1"/>
            <a:t>araçlarla</a:t>
          </a:r>
          <a:r>
            <a:rPr dirty="0"/>
            <a:t> </a:t>
          </a:r>
          <a:r>
            <a:rPr dirty="0" err="1"/>
            <a:t>etkileşim</a:t>
          </a:r>
          <a:r>
            <a:rPr dirty="0"/>
            <a:t> </a:t>
          </a:r>
          <a:r>
            <a:rPr dirty="0" err="1"/>
            <a:t>kurmak</a:t>
          </a:r>
          <a:r>
            <a:rPr dirty="0"/>
            <a:t> </a:t>
          </a:r>
          <a:r>
            <a:rPr dirty="0" err="1"/>
            <a:t>için</a:t>
          </a:r>
          <a:r>
            <a:rPr dirty="0"/>
            <a:t> </a:t>
          </a:r>
          <a:r>
            <a:rPr dirty="0" err="1"/>
            <a:t>bir</a:t>
          </a:r>
          <a:r>
            <a:rPr dirty="0"/>
            <a:t> dizi </a:t>
          </a:r>
          <a:r>
            <a:rPr dirty="0" err="1"/>
            <a:t>sensör</a:t>
          </a:r>
          <a:r>
            <a:rPr dirty="0"/>
            <a:t> </a:t>
          </a:r>
          <a:r>
            <a:rPr dirty="0" err="1"/>
            <a:t>ve</a:t>
          </a:r>
          <a:r>
            <a:rPr dirty="0"/>
            <a:t> </a:t>
          </a:r>
          <a:r>
            <a:rPr dirty="0" err="1"/>
            <a:t>iletişim</a:t>
          </a:r>
          <a:r>
            <a:rPr dirty="0"/>
            <a:t> </a:t>
          </a:r>
          <a:r>
            <a:rPr dirty="0" err="1"/>
            <a:t>teknolojisini</a:t>
          </a:r>
          <a:r>
            <a:rPr dirty="0"/>
            <a:t> </a:t>
          </a:r>
          <a:r>
            <a:rPr dirty="0" err="1"/>
            <a:t>kullanan</a:t>
          </a:r>
          <a:r>
            <a:rPr dirty="0"/>
            <a:t> </a:t>
          </a:r>
          <a:r>
            <a:rPr dirty="0" err="1"/>
            <a:t>otomatik</a:t>
          </a:r>
          <a:r>
            <a:rPr dirty="0"/>
            <a:t> </a:t>
          </a:r>
          <a:r>
            <a:rPr dirty="0" err="1"/>
            <a:t>araçları</a:t>
          </a:r>
          <a:r>
            <a:rPr dirty="0"/>
            <a:t> </a:t>
          </a:r>
          <a:r>
            <a:rPr dirty="0" err="1"/>
            <a:t>içerir</a:t>
          </a:r>
          <a:r>
            <a:rPr dirty="0"/>
            <a:t>. </a:t>
          </a:r>
          <a:r>
            <a:rPr dirty="0" err="1"/>
            <a:t>Araçtan</a:t>
          </a:r>
          <a:r>
            <a:rPr dirty="0"/>
            <a:t> araca (V2V) </a:t>
          </a:r>
          <a:r>
            <a:rPr dirty="0" err="1"/>
            <a:t>ve</a:t>
          </a:r>
          <a:r>
            <a:rPr dirty="0"/>
            <a:t> </a:t>
          </a:r>
          <a:r>
            <a:rPr dirty="0" err="1"/>
            <a:t>araçtan</a:t>
          </a:r>
          <a:r>
            <a:rPr dirty="0"/>
            <a:t> </a:t>
          </a:r>
          <a:r>
            <a:rPr dirty="0" err="1"/>
            <a:t>altyapıya</a:t>
          </a:r>
          <a:r>
            <a:rPr dirty="0"/>
            <a:t> (V2I) </a:t>
          </a:r>
          <a:r>
            <a:rPr dirty="0" err="1"/>
            <a:t>iletişim</a:t>
          </a:r>
          <a:r>
            <a:rPr dirty="0"/>
            <a:t> </a:t>
          </a:r>
          <a:r>
            <a:rPr dirty="0" err="1"/>
            <a:t>sistemleri</a:t>
          </a:r>
          <a:r>
            <a:rPr dirty="0"/>
            <a:t>, </a:t>
          </a:r>
          <a:r>
            <a:rPr dirty="0" err="1"/>
            <a:t>güvenlik</a:t>
          </a:r>
          <a:r>
            <a:rPr dirty="0"/>
            <a:t> </a:t>
          </a:r>
          <a:r>
            <a:rPr dirty="0" err="1"/>
            <a:t>ve</a:t>
          </a:r>
          <a:r>
            <a:rPr dirty="0"/>
            <a:t> </a:t>
          </a:r>
          <a:r>
            <a:rPr dirty="0" err="1"/>
            <a:t>verimliliği</a:t>
          </a:r>
          <a:r>
            <a:rPr dirty="0"/>
            <a:t> </a:t>
          </a:r>
          <a:r>
            <a:rPr dirty="0" err="1"/>
            <a:t>artırmak</a:t>
          </a:r>
          <a:r>
            <a:rPr dirty="0"/>
            <a:t> </a:t>
          </a:r>
          <a:r>
            <a:rPr dirty="0" err="1"/>
            <a:t>için</a:t>
          </a:r>
          <a:r>
            <a:rPr dirty="0"/>
            <a:t> </a:t>
          </a:r>
          <a:r>
            <a:rPr dirty="0" err="1"/>
            <a:t>trafik</a:t>
          </a:r>
          <a:r>
            <a:rPr dirty="0"/>
            <a:t> </a:t>
          </a:r>
          <a:r>
            <a:rPr dirty="0" err="1"/>
            <a:t>sinyalleri</a:t>
          </a:r>
          <a:r>
            <a:rPr dirty="0"/>
            <a:t> </a:t>
          </a:r>
          <a:r>
            <a:rPr dirty="0" err="1"/>
            <a:t>gibi</a:t>
          </a:r>
          <a:r>
            <a:rPr dirty="0"/>
            <a:t> </a:t>
          </a:r>
          <a:r>
            <a:rPr dirty="0" err="1"/>
            <a:t>araçlar</a:t>
          </a:r>
          <a:r>
            <a:rPr dirty="0"/>
            <a:t> </a:t>
          </a:r>
          <a:r>
            <a:rPr dirty="0" err="1"/>
            <a:t>ve</a:t>
          </a:r>
          <a:r>
            <a:rPr dirty="0"/>
            <a:t> </a:t>
          </a:r>
          <a:r>
            <a:rPr dirty="0" err="1"/>
            <a:t>altyapı</a:t>
          </a:r>
          <a:r>
            <a:rPr dirty="0"/>
            <a:t> </a:t>
          </a:r>
          <a:r>
            <a:rPr dirty="0" err="1"/>
            <a:t>arasında</a:t>
          </a:r>
          <a:r>
            <a:rPr dirty="0"/>
            <a:t> </a:t>
          </a:r>
          <a:r>
            <a:rPr dirty="0" err="1"/>
            <a:t>gerçek</a:t>
          </a:r>
          <a:r>
            <a:rPr dirty="0"/>
            <a:t> </a:t>
          </a:r>
          <a:r>
            <a:rPr dirty="0" err="1"/>
            <a:t>zamanlı</a:t>
          </a:r>
          <a:r>
            <a:rPr dirty="0"/>
            <a:t> </a:t>
          </a:r>
          <a:r>
            <a:rPr dirty="0" err="1"/>
            <a:t>iletişim</a:t>
          </a:r>
          <a:r>
            <a:rPr dirty="0"/>
            <a:t> </a:t>
          </a:r>
          <a:r>
            <a:rPr dirty="0" err="1"/>
            <a:t>sağlayabilir</a:t>
          </a:r>
          <a:r>
            <a:rPr dirty="0"/>
            <a:t>.</a:t>
          </a:r>
        </a:p>
      </dgm:t>
    </dgm:pt>
    <dgm:pt modelId="{525B3705-0626-4A41-8CE6-3BF27CD7F3DA}" type="parTrans" cxnId="{56769CF1-A6EA-497D-AE94-7B5CE0EBF1AF}">
      <dgm:prSet/>
      <dgm:spPr/>
      <dgm:t>
        <a:bodyPr/>
        <a:lstStyle/>
        <a:p>
          <a:pPr algn="just"/>
          <a:endParaRPr lang="en-US"/>
        </a:p>
      </dgm:t>
    </dgm:pt>
    <dgm:pt modelId="{C654B191-67F2-4B64-85B8-C38518931A9F}" type="sibTrans" cxnId="{56769CF1-A6EA-497D-AE94-7B5CE0EBF1AF}">
      <dgm:prSet/>
      <dgm:spPr/>
      <dgm:t>
        <a:bodyPr/>
        <a:lstStyle/>
        <a:p>
          <a:pPr algn="just"/>
          <a:endParaRPr lang="en-US"/>
        </a:p>
      </dgm:t>
    </dgm:pt>
    <dgm:pt modelId="{277B995E-C5DE-40FA-8B6A-8FC3560E81AF}" type="pres">
      <dgm:prSet presAssocID="{A2A4A038-717D-40A4-B57F-83F6A3F9630C}" presName="cycle" presStyleCnt="0">
        <dgm:presLayoutVars>
          <dgm:dir/>
          <dgm:resizeHandles val="exact"/>
        </dgm:presLayoutVars>
      </dgm:prSet>
      <dgm:spPr/>
    </dgm:pt>
    <dgm:pt modelId="{0C6F3BC6-DFA8-4A4C-B422-8A7BF96D0F4A}" type="pres">
      <dgm:prSet presAssocID="{1CCE8516-F227-4D52-A895-17BA67389179}" presName="node" presStyleLbl="node1" presStyleIdx="0" presStyleCnt="3">
        <dgm:presLayoutVars>
          <dgm:bulletEnabled val="1"/>
        </dgm:presLayoutVars>
      </dgm:prSet>
      <dgm:spPr/>
    </dgm:pt>
    <dgm:pt modelId="{8A4DFFA3-906F-43AF-A74E-046B0BDC1664}" type="pres">
      <dgm:prSet presAssocID="{76014F3F-D545-4355-8910-1A444AC175B8}" presName="sibTrans" presStyleLbl="sibTrans2D1" presStyleIdx="0" presStyleCnt="3"/>
      <dgm:spPr/>
    </dgm:pt>
    <dgm:pt modelId="{12DBF316-9EB0-4640-AAEA-65B7A21C1680}" type="pres">
      <dgm:prSet presAssocID="{76014F3F-D545-4355-8910-1A444AC175B8}" presName="connectorText" presStyleLbl="sibTrans2D1" presStyleIdx="0" presStyleCnt="3"/>
      <dgm:spPr/>
    </dgm:pt>
    <dgm:pt modelId="{C7183626-7E10-4860-8FEF-F47EAA744A0C}" type="pres">
      <dgm:prSet presAssocID="{B09351EB-CD23-4510-BD15-F87BC830C584}" presName="node" presStyleLbl="node1" presStyleIdx="1" presStyleCnt="3">
        <dgm:presLayoutVars>
          <dgm:bulletEnabled val="1"/>
        </dgm:presLayoutVars>
      </dgm:prSet>
      <dgm:spPr/>
    </dgm:pt>
    <dgm:pt modelId="{246A82E3-3AD1-410B-ABC4-514578AC168D}" type="pres">
      <dgm:prSet presAssocID="{67456C2D-8EB0-49FC-8247-EC9A90AF2EAD}" presName="sibTrans" presStyleLbl="sibTrans2D1" presStyleIdx="1" presStyleCnt="3"/>
      <dgm:spPr/>
    </dgm:pt>
    <dgm:pt modelId="{D3084FD7-1117-4E7C-8B58-ABCC56ECFB6B}" type="pres">
      <dgm:prSet presAssocID="{67456C2D-8EB0-49FC-8247-EC9A90AF2EAD}" presName="connectorText" presStyleLbl="sibTrans2D1" presStyleIdx="1" presStyleCnt="3"/>
      <dgm:spPr/>
    </dgm:pt>
    <dgm:pt modelId="{22C3646A-A6B5-465B-A163-2649D70BD0A5}" type="pres">
      <dgm:prSet presAssocID="{D338E724-9BD0-47D3-8652-5CB9A0FE482E}" presName="node" presStyleLbl="node1" presStyleIdx="2" presStyleCnt="3">
        <dgm:presLayoutVars>
          <dgm:bulletEnabled val="1"/>
        </dgm:presLayoutVars>
      </dgm:prSet>
      <dgm:spPr/>
    </dgm:pt>
    <dgm:pt modelId="{DAD93920-3DE9-4669-9CD8-DF6DD3DEE6C2}" type="pres">
      <dgm:prSet presAssocID="{C654B191-67F2-4B64-85B8-C38518931A9F}" presName="sibTrans" presStyleLbl="sibTrans2D1" presStyleIdx="2" presStyleCnt="3"/>
      <dgm:spPr/>
    </dgm:pt>
    <dgm:pt modelId="{C9A031C7-C73A-45E6-857B-D2F627A6F06C}" type="pres">
      <dgm:prSet presAssocID="{C654B191-67F2-4B64-85B8-C38518931A9F}" presName="connectorText" presStyleLbl="sibTrans2D1" presStyleIdx="2" presStyleCnt="3"/>
      <dgm:spPr/>
    </dgm:pt>
  </dgm:ptLst>
  <dgm:cxnLst>
    <dgm:cxn modelId="{993C5900-3344-4BF6-98FA-1C4C561EDCA7}" type="presOf" srcId="{76014F3F-D545-4355-8910-1A444AC175B8}" destId="{12DBF316-9EB0-4640-AAEA-65B7A21C1680}" srcOrd="1" destOrd="0" presId="urn:microsoft.com/office/officeart/2005/8/layout/cycle2"/>
    <dgm:cxn modelId="{FDD8E617-3DEC-4A17-9722-B86B88D51DF9}" type="presOf" srcId="{C654B191-67F2-4B64-85B8-C38518931A9F}" destId="{DAD93920-3DE9-4669-9CD8-DF6DD3DEE6C2}" srcOrd="0" destOrd="0" presId="urn:microsoft.com/office/officeart/2005/8/layout/cycle2"/>
    <dgm:cxn modelId="{809A1320-5550-4615-A4CA-4B780DFBBB22}" type="presOf" srcId="{A2A4A038-717D-40A4-B57F-83F6A3F9630C}" destId="{277B995E-C5DE-40FA-8B6A-8FC3560E81AF}" srcOrd="0" destOrd="0" presId="urn:microsoft.com/office/officeart/2005/8/layout/cycle2"/>
    <dgm:cxn modelId="{76ABA138-D6E2-4923-B320-986E839D762C}" type="presOf" srcId="{67456C2D-8EB0-49FC-8247-EC9A90AF2EAD}" destId="{D3084FD7-1117-4E7C-8B58-ABCC56ECFB6B}" srcOrd="1" destOrd="0" presId="urn:microsoft.com/office/officeart/2005/8/layout/cycle2"/>
    <dgm:cxn modelId="{3DB19E4B-9919-4292-9DD4-3959DE29E4BF}" type="presOf" srcId="{67456C2D-8EB0-49FC-8247-EC9A90AF2EAD}" destId="{246A82E3-3AD1-410B-ABC4-514578AC168D}" srcOrd="0" destOrd="0" presId="urn:microsoft.com/office/officeart/2005/8/layout/cycle2"/>
    <dgm:cxn modelId="{F53F6472-08A9-40CD-A367-FFC80B2CF5EF}" srcId="{A2A4A038-717D-40A4-B57F-83F6A3F9630C}" destId="{B09351EB-CD23-4510-BD15-F87BC830C584}" srcOrd="1" destOrd="0" parTransId="{C969632D-30AB-4E68-AFD0-F2621E9CF3A0}" sibTransId="{67456C2D-8EB0-49FC-8247-EC9A90AF2EAD}"/>
    <dgm:cxn modelId="{ABE8FC7B-3F50-4C80-9F68-C9452B61B043}" type="presOf" srcId="{C654B191-67F2-4B64-85B8-C38518931A9F}" destId="{C9A031C7-C73A-45E6-857B-D2F627A6F06C}" srcOrd="1" destOrd="0" presId="urn:microsoft.com/office/officeart/2005/8/layout/cycle2"/>
    <dgm:cxn modelId="{727997AD-CF1D-4DCF-A2ED-9F9341676703}" type="presOf" srcId="{76014F3F-D545-4355-8910-1A444AC175B8}" destId="{8A4DFFA3-906F-43AF-A74E-046B0BDC1664}" srcOrd="0" destOrd="0" presId="urn:microsoft.com/office/officeart/2005/8/layout/cycle2"/>
    <dgm:cxn modelId="{D9A288B8-02BD-4458-A3EE-F9B8082301D2}" srcId="{A2A4A038-717D-40A4-B57F-83F6A3F9630C}" destId="{1CCE8516-F227-4D52-A895-17BA67389179}" srcOrd="0" destOrd="0" parTransId="{FD6ED318-FC3A-4F5F-B4C1-7F3D87B9F94D}" sibTransId="{76014F3F-D545-4355-8910-1A444AC175B8}"/>
    <dgm:cxn modelId="{298B40C9-A49C-4D65-B1CF-0C9FCDBDA9CE}" type="presOf" srcId="{D338E724-9BD0-47D3-8652-5CB9A0FE482E}" destId="{22C3646A-A6B5-465B-A163-2649D70BD0A5}" srcOrd="0" destOrd="0" presId="urn:microsoft.com/office/officeart/2005/8/layout/cycle2"/>
    <dgm:cxn modelId="{51F048EC-1ED2-4D13-8D65-7EEBF636CC69}" type="presOf" srcId="{B09351EB-CD23-4510-BD15-F87BC830C584}" destId="{C7183626-7E10-4860-8FEF-F47EAA744A0C}" srcOrd="0" destOrd="0" presId="urn:microsoft.com/office/officeart/2005/8/layout/cycle2"/>
    <dgm:cxn modelId="{CA0396ED-7729-45B6-90C5-23191B002D4B}" type="presOf" srcId="{1CCE8516-F227-4D52-A895-17BA67389179}" destId="{0C6F3BC6-DFA8-4A4C-B422-8A7BF96D0F4A}" srcOrd="0" destOrd="0" presId="urn:microsoft.com/office/officeart/2005/8/layout/cycle2"/>
    <dgm:cxn modelId="{56769CF1-A6EA-497D-AE94-7B5CE0EBF1AF}" srcId="{A2A4A038-717D-40A4-B57F-83F6A3F9630C}" destId="{D338E724-9BD0-47D3-8652-5CB9A0FE482E}" srcOrd="2" destOrd="0" parTransId="{525B3705-0626-4A41-8CE6-3BF27CD7F3DA}" sibTransId="{C654B191-67F2-4B64-85B8-C38518931A9F}"/>
    <dgm:cxn modelId="{B6D711D9-7AED-4A9B-B53B-8B9EA2225798}" type="presParOf" srcId="{277B995E-C5DE-40FA-8B6A-8FC3560E81AF}" destId="{0C6F3BC6-DFA8-4A4C-B422-8A7BF96D0F4A}" srcOrd="0" destOrd="0" presId="urn:microsoft.com/office/officeart/2005/8/layout/cycle2"/>
    <dgm:cxn modelId="{C438B7F5-30C7-4727-A391-B6678225CD51}" type="presParOf" srcId="{277B995E-C5DE-40FA-8B6A-8FC3560E81AF}" destId="{8A4DFFA3-906F-43AF-A74E-046B0BDC1664}" srcOrd="1" destOrd="0" presId="urn:microsoft.com/office/officeart/2005/8/layout/cycle2"/>
    <dgm:cxn modelId="{AF3DA438-AF97-49D2-9E1F-49D71DEA2C18}" type="presParOf" srcId="{8A4DFFA3-906F-43AF-A74E-046B0BDC1664}" destId="{12DBF316-9EB0-4640-AAEA-65B7A21C1680}" srcOrd="0" destOrd="0" presId="urn:microsoft.com/office/officeart/2005/8/layout/cycle2"/>
    <dgm:cxn modelId="{9E252DB9-724F-4E81-BD42-A36EC1E1A726}" type="presParOf" srcId="{277B995E-C5DE-40FA-8B6A-8FC3560E81AF}" destId="{C7183626-7E10-4860-8FEF-F47EAA744A0C}" srcOrd="2" destOrd="0" presId="urn:microsoft.com/office/officeart/2005/8/layout/cycle2"/>
    <dgm:cxn modelId="{B8A219CD-D764-4CB1-84EA-C8581A5652A0}" type="presParOf" srcId="{277B995E-C5DE-40FA-8B6A-8FC3560E81AF}" destId="{246A82E3-3AD1-410B-ABC4-514578AC168D}" srcOrd="3" destOrd="0" presId="urn:microsoft.com/office/officeart/2005/8/layout/cycle2"/>
    <dgm:cxn modelId="{1A88CAB2-0310-490D-9AC0-4D3A1DECB081}" type="presParOf" srcId="{246A82E3-3AD1-410B-ABC4-514578AC168D}" destId="{D3084FD7-1117-4E7C-8B58-ABCC56ECFB6B}" srcOrd="0" destOrd="0" presId="urn:microsoft.com/office/officeart/2005/8/layout/cycle2"/>
    <dgm:cxn modelId="{41A409FF-1191-4FA3-9C22-4FE9551BC9EA}" type="presParOf" srcId="{277B995E-C5DE-40FA-8B6A-8FC3560E81AF}" destId="{22C3646A-A6B5-465B-A163-2649D70BD0A5}" srcOrd="4" destOrd="0" presId="urn:microsoft.com/office/officeart/2005/8/layout/cycle2"/>
    <dgm:cxn modelId="{742022C1-AB00-441A-A137-69BD30FE06E0}" type="presParOf" srcId="{277B995E-C5DE-40FA-8B6A-8FC3560E81AF}" destId="{DAD93920-3DE9-4669-9CD8-DF6DD3DEE6C2}" srcOrd="5" destOrd="0" presId="urn:microsoft.com/office/officeart/2005/8/layout/cycle2"/>
    <dgm:cxn modelId="{E288AA8C-A232-4CC3-90AB-202AF9FBEF56}" type="presParOf" srcId="{DAD93920-3DE9-4669-9CD8-DF6DD3DEE6C2}" destId="{C9A031C7-C73A-45E6-857B-D2F627A6F06C}" srcOrd="0" destOrd="0" presId="urn:microsoft.com/office/officeart/2005/8/layout/cycle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B39CDC10-2765-4C44-B1AD-C89D23C0ADF9}" type="doc">
      <dgm:prSet loTypeId="urn:microsoft.com/office/officeart/2008/layout/LinedList" loCatId="list" qsTypeId="urn:microsoft.com/office/officeart/2005/8/quickstyle/simple1" qsCatId="simple" csTypeId="urn:microsoft.com/office/officeart/2005/8/colors/colorful1" csCatId="colorful"/>
      <dgm:spPr/>
      <dgm:t>
        <a:bodyPr/>
        <a:lstStyle/>
        <a:p>
          <a:endParaRPr lang="en-US"/>
        </a:p>
      </dgm:t>
    </dgm:pt>
    <dgm:pt modelId="{93732388-9BBC-4183-9B16-EC9DB2D91709}">
      <dgm:prSet/>
      <dgm:spPr/>
      <dgm:t>
        <a:bodyPr/>
        <a:lstStyle/>
        <a:p>
          <a:r>
            <a:t>Gelişmiş trafik yönetim sistemleri, trafik akışını optimize etmek ve tıkanıklığı azaltmak için trafik sensörlerinden gelen veriler gibi gerçek zamanlı trafik verilerini kullanabilir.</a:t>
          </a:r>
        </a:p>
      </dgm:t>
    </dgm:pt>
    <dgm:pt modelId="{56DD2B10-B1C6-4DEB-887D-E88E01B58A05}" type="parTrans" cxnId="{73E21F33-E8D2-46E1-83AF-32AE35CA0176}">
      <dgm:prSet/>
      <dgm:spPr/>
      <dgm:t>
        <a:bodyPr/>
        <a:lstStyle/>
        <a:p>
          <a:endParaRPr lang="en-US"/>
        </a:p>
      </dgm:t>
    </dgm:pt>
    <dgm:pt modelId="{FEF776CA-917D-41B1-AFEA-F82EC5B05839}" type="sibTrans" cxnId="{73E21F33-E8D2-46E1-83AF-32AE35CA0176}">
      <dgm:prSet/>
      <dgm:spPr/>
      <dgm:t>
        <a:bodyPr/>
        <a:lstStyle/>
        <a:p>
          <a:endParaRPr lang="en-US"/>
        </a:p>
      </dgm:t>
    </dgm:pt>
    <dgm:pt modelId="{E924219F-E938-428D-9F5D-C913E1C7ECD9}">
      <dgm:prSet/>
      <dgm:spPr/>
      <dgm:t>
        <a:bodyPr/>
        <a:lstStyle/>
        <a:p>
          <a:r>
            <a:t>Otomatik araçlar, karayollarında gezinmek ve diğer araçlarla ve altyapılarla etkileşim kurmak için bir dizi sensör ve iletişim teknolojisini kullanabilir.</a:t>
          </a:r>
        </a:p>
      </dgm:t>
    </dgm:pt>
    <dgm:pt modelId="{03476CA3-74C8-4E98-9C69-4CDFD21860CE}" type="parTrans" cxnId="{22EBA0B0-A6F9-4B06-BA5E-EEDC90AF6E0F}">
      <dgm:prSet/>
      <dgm:spPr/>
      <dgm:t>
        <a:bodyPr/>
        <a:lstStyle/>
        <a:p>
          <a:endParaRPr lang="en-US"/>
        </a:p>
      </dgm:t>
    </dgm:pt>
    <dgm:pt modelId="{325096F6-35D3-4E8F-AD7D-1AF090C0A193}" type="sibTrans" cxnId="{22EBA0B0-A6F9-4B06-BA5E-EEDC90AF6E0F}">
      <dgm:prSet/>
      <dgm:spPr/>
      <dgm:t>
        <a:bodyPr/>
        <a:lstStyle/>
        <a:p>
          <a:endParaRPr lang="en-US"/>
        </a:p>
      </dgm:t>
    </dgm:pt>
    <dgm:pt modelId="{0E81D346-BE1C-4324-8A24-770A5357D86F}">
      <dgm:prSet/>
      <dgm:spPr/>
      <dgm:t>
        <a:bodyPr/>
        <a:lstStyle/>
        <a:p>
          <a:r>
            <a:t>Araçtan araca (V2V) ve araçtan altyapıya (V2I) iletişim sistemleri, güvenlik ve verimliliği artırmak için trafik sinyalleri gibi araçlar ve altyapı arasında gerçek zamanlı iletişim sağlayabilir.</a:t>
          </a:r>
        </a:p>
      </dgm:t>
    </dgm:pt>
    <dgm:pt modelId="{AD1060C2-40D9-44CA-9955-48FC7A3A03B1}" type="parTrans" cxnId="{56CF0D47-DC54-439B-9A10-956FF5A075DF}">
      <dgm:prSet/>
      <dgm:spPr/>
      <dgm:t>
        <a:bodyPr/>
        <a:lstStyle/>
        <a:p>
          <a:endParaRPr lang="en-US"/>
        </a:p>
      </dgm:t>
    </dgm:pt>
    <dgm:pt modelId="{9147906B-7D25-437B-A1AB-97EDB6D3EB9D}" type="sibTrans" cxnId="{56CF0D47-DC54-439B-9A10-956FF5A075DF}">
      <dgm:prSet/>
      <dgm:spPr/>
      <dgm:t>
        <a:bodyPr/>
        <a:lstStyle/>
        <a:p>
          <a:endParaRPr lang="en-US"/>
        </a:p>
      </dgm:t>
    </dgm:pt>
    <dgm:pt modelId="{00D158E4-7895-4F78-A768-239CE96388C5}">
      <dgm:prSet/>
      <dgm:spPr/>
      <dgm:t>
        <a:bodyPr/>
        <a:lstStyle/>
        <a:p>
          <a:r>
            <a:t>Gelişmiş gezgin bilgi sistemleri, gezginlere trafik koşulları, toplu taşıma programları ve diğer ulaşım seçenekleri hakkında gerçek zamanlı bilgi sağlayabilir.</a:t>
          </a:r>
        </a:p>
      </dgm:t>
    </dgm:pt>
    <dgm:pt modelId="{8876B40B-3502-4E26-BB85-197CF97F1F42}" type="parTrans" cxnId="{86A6F649-5641-410C-8788-C9E338DE014A}">
      <dgm:prSet/>
      <dgm:spPr/>
      <dgm:t>
        <a:bodyPr/>
        <a:lstStyle/>
        <a:p>
          <a:endParaRPr lang="en-US"/>
        </a:p>
      </dgm:t>
    </dgm:pt>
    <dgm:pt modelId="{97A51B78-D634-47B0-8A3C-F0D02A1EB0C5}" type="sibTrans" cxnId="{86A6F649-5641-410C-8788-C9E338DE014A}">
      <dgm:prSet/>
      <dgm:spPr/>
      <dgm:t>
        <a:bodyPr/>
        <a:lstStyle/>
        <a:p>
          <a:endParaRPr lang="en-US"/>
        </a:p>
      </dgm:t>
    </dgm:pt>
    <dgm:pt modelId="{27A7DBDB-85AE-4047-BA22-E6CDE8B6C1E6}">
      <dgm:prSet/>
      <dgm:spPr/>
      <dgm:t>
        <a:bodyPr/>
        <a:lstStyle/>
        <a:p>
          <a:r>
            <a:t>Teknolojiler genellikle, trafik sensörleri ve araç GPS sistemleri gibi çeşitli kaynaklardan büyük miktarda veri toplamak ve analiz etmek için hücresel ağlar, bulut bilişim ve veri analitiği gibi gelişmiş iletişim ve veri yönetimi teknolojilerine dayanır.</a:t>
          </a:r>
        </a:p>
      </dgm:t>
    </dgm:pt>
    <dgm:pt modelId="{6E77E9EA-84A2-46C0-98FB-817D07FAE3E3}" type="parTrans" cxnId="{AC2B09DB-7244-432B-B65E-B95F3DDE5992}">
      <dgm:prSet/>
      <dgm:spPr/>
      <dgm:t>
        <a:bodyPr/>
        <a:lstStyle/>
        <a:p>
          <a:endParaRPr lang="en-US"/>
        </a:p>
      </dgm:t>
    </dgm:pt>
    <dgm:pt modelId="{7A295ED0-00ED-4112-B675-1B13342FA42C}" type="sibTrans" cxnId="{AC2B09DB-7244-432B-B65E-B95F3DDE5992}">
      <dgm:prSet/>
      <dgm:spPr/>
      <dgm:t>
        <a:bodyPr/>
        <a:lstStyle/>
        <a:p>
          <a:endParaRPr lang="en-US"/>
        </a:p>
      </dgm:t>
    </dgm:pt>
    <dgm:pt modelId="{A71CFB14-F7B8-4802-8C3A-8E1D072FAE9C}" type="pres">
      <dgm:prSet presAssocID="{B39CDC10-2765-4C44-B1AD-C89D23C0ADF9}" presName="vert0" presStyleCnt="0">
        <dgm:presLayoutVars>
          <dgm:dir/>
          <dgm:animOne val="branch"/>
          <dgm:animLvl val="lvl"/>
        </dgm:presLayoutVars>
      </dgm:prSet>
      <dgm:spPr/>
    </dgm:pt>
    <dgm:pt modelId="{4B59F437-6475-4ACC-84CE-22F809A55B46}" type="pres">
      <dgm:prSet presAssocID="{93732388-9BBC-4183-9B16-EC9DB2D91709}" presName="thickLine" presStyleLbl="alignNode1" presStyleIdx="0" presStyleCnt="5"/>
      <dgm:spPr/>
    </dgm:pt>
    <dgm:pt modelId="{E37EB6F2-005A-466D-BD83-8EC5C0D7DDD5}" type="pres">
      <dgm:prSet presAssocID="{93732388-9BBC-4183-9B16-EC9DB2D91709}" presName="horz1" presStyleCnt="0"/>
      <dgm:spPr/>
    </dgm:pt>
    <dgm:pt modelId="{0E85662D-B24D-4EB7-8914-C68A8753DBE8}" type="pres">
      <dgm:prSet presAssocID="{93732388-9BBC-4183-9B16-EC9DB2D91709}" presName="tx1" presStyleLbl="revTx" presStyleIdx="0" presStyleCnt="5"/>
      <dgm:spPr/>
    </dgm:pt>
    <dgm:pt modelId="{E6924831-0403-458D-A255-34357D608138}" type="pres">
      <dgm:prSet presAssocID="{93732388-9BBC-4183-9B16-EC9DB2D91709}" presName="vert1" presStyleCnt="0"/>
      <dgm:spPr/>
    </dgm:pt>
    <dgm:pt modelId="{AA3E31CA-D67D-47BA-BC97-0F14229CBCCA}" type="pres">
      <dgm:prSet presAssocID="{E924219F-E938-428D-9F5D-C913E1C7ECD9}" presName="thickLine" presStyleLbl="alignNode1" presStyleIdx="1" presStyleCnt="5"/>
      <dgm:spPr/>
    </dgm:pt>
    <dgm:pt modelId="{23CF9AE5-52B3-44D8-AA11-7B08EFBA98FE}" type="pres">
      <dgm:prSet presAssocID="{E924219F-E938-428D-9F5D-C913E1C7ECD9}" presName="horz1" presStyleCnt="0"/>
      <dgm:spPr/>
    </dgm:pt>
    <dgm:pt modelId="{146DB592-4328-419F-B92B-2E83F3F81F07}" type="pres">
      <dgm:prSet presAssocID="{E924219F-E938-428D-9F5D-C913E1C7ECD9}" presName="tx1" presStyleLbl="revTx" presStyleIdx="1" presStyleCnt="5"/>
      <dgm:spPr/>
    </dgm:pt>
    <dgm:pt modelId="{9FB9A3F7-6A42-42A4-BB92-72A5FB6A8883}" type="pres">
      <dgm:prSet presAssocID="{E924219F-E938-428D-9F5D-C913E1C7ECD9}" presName="vert1" presStyleCnt="0"/>
      <dgm:spPr/>
    </dgm:pt>
    <dgm:pt modelId="{C4FE8388-387E-4344-9C00-FDE2F48F0B08}" type="pres">
      <dgm:prSet presAssocID="{0E81D346-BE1C-4324-8A24-770A5357D86F}" presName="thickLine" presStyleLbl="alignNode1" presStyleIdx="2" presStyleCnt="5"/>
      <dgm:spPr/>
    </dgm:pt>
    <dgm:pt modelId="{354DEA92-13F7-4425-A378-94B1E5611868}" type="pres">
      <dgm:prSet presAssocID="{0E81D346-BE1C-4324-8A24-770A5357D86F}" presName="horz1" presStyleCnt="0"/>
      <dgm:spPr/>
    </dgm:pt>
    <dgm:pt modelId="{D4101D49-FB38-44ED-9FB2-D46BDB6201E8}" type="pres">
      <dgm:prSet presAssocID="{0E81D346-BE1C-4324-8A24-770A5357D86F}" presName="tx1" presStyleLbl="revTx" presStyleIdx="2" presStyleCnt="5"/>
      <dgm:spPr/>
    </dgm:pt>
    <dgm:pt modelId="{CB718346-B174-4201-A23C-9B2AE4204369}" type="pres">
      <dgm:prSet presAssocID="{0E81D346-BE1C-4324-8A24-770A5357D86F}" presName="vert1" presStyleCnt="0"/>
      <dgm:spPr/>
    </dgm:pt>
    <dgm:pt modelId="{7BE98147-D360-4002-83DC-D00211C71528}" type="pres">
      <dgm:prSet presAssocID="{00D158E4-7895-4F78-A768-239CE96388C5}" presName="thickLine" presStyleLbl="alignNode1" presStyleIdx="3" presStyleCnt="5"/>
      <dgm:spPr/>
    </dgm:pt>
    <dgm:pt modelId="{C4D46011-AA61-45B7-9D19-846A76048257}" type="pres">
      <dgm:prSet presAssocID="{00D158E4-7895-4F78-A768-239CE96388C5}" presName="horz1" presStyleCnt="0"/>
      <dgm:spPr/>
    </dgm:pt>
    <dgm:pt modelId="{A4AE9959-319B-4901-B895-0C94E2582197}" type="pres">
      <dgm:prSet presAssocID="{00D158E4-7895-4F78-A768-239CE96388C5}" presName="tx1" presStyleLbl="revTx" presStyleIdx="3" presStyleCnt="5"/>
      <dgm:spPr/>
    </dgm:pt>
    <dgm:pt modelId="{1A911F74-FE8A-4773-8C51-5670D082EF91}" type="pres">
      <dgm:prSet presAssocID="{00D158E4-7895-4F78-A768-239CE96388C5}" presName="vert1" presStyleCnt="0"/>
      <dgm:spPr/>
    </dgm:pt>
    <dgm:pt modelId="{0B99B634-A07C-443C-8DD2-5272DC2F2564}" type="pres">
      <dgm:prSet presAssocID="{27A7DBDB-85AE-4047-BA22-E6CDE8B6C1E6}" presName="thickLine" presStyleLbl="alignNode1" presStyleIdx="4" presStyleCnt="5"/>
      <dgm:spPr/>
    </dgm:pt>
    <dgm:pt modelId="{8F8EDD37-60DD-4C93-8E5E-D754EF7ACD32}" type="pres">
      <dgm:prSet presAssocID="{27A7DBDB-85AE-4047-BA22-E6CDE8B6C1E6}" presName="horz1" presStyleCnt="0"/>
      <dgm:spPr/>
    </dgm:pt>
    <dgm:pt modelId="{BF2451F9-9EE3-495E-9CFC-192EDE9590B1}" type="pres">
      <dgm:prSet presAssocID="{27A7DBDB-85AE-4047-BA22-E6CDE8B6C1E6}" presName="tx1" presStyleLbl="revTx" presStyleIdx="4" presStyleCnt="5"/>
      <dgm:spPr/>
    </dgm:pt>
    <dgm:pt modelId="{4644A57F-B9A5-41E7-BB64-9E19BF870AFE}" type="pres">
      <dgm:prSet presAssocID="{27A7DBDB-85AE-4047-BA22-E6CDE8B6C1E6}" presName="vert1" presStyleCnt="0"/>
      <dgm:spPr/>
    </dgm:pt>
  </dgm:ptLst>
  <dgm:cxnLst>
    <dgm:cxn modelId="{98A1112D-567B-4CDB-87BC-C1C6DA1B4BE1}" type="presOf" srcId="{E924219F-E938-428D-9F5D-C913E1C7ECD9}" destId="{146DB592-4328-419F-B92B-2E83F3F81F07}" srcOrd="0" destOrd="0" presId="urn:microsoft.com/office/officeart/2008/layout/LinedList"/>
    <dgm:cxn modelId="{73E21F33-E8D2-46E1-83AF-32AE35CA0176}" srcId="{B39CDC10-2765-4C44-B1AD-C89D23C0ADF9}" destId="{93732388-9BBC-4183-9B16-EC9DB2D91709}" srcOrd="0" destOrd="0" parTransId="{56DD2B10-B1C6-4DEB-887D-E88E01B58A05}" sibTransId="{FEF776CA-917D-41B1-AFEA-F82EC5B05839}"/>
    <dgm:cxn modelId="{E56DB840-5E32-4CE2-8B1B-25179CD5F649}" type="presOf" srcId="{0E81D346-BE1C-4324-8A24-770A5357D86F}" destId="{D4101D49-FB38-44ED-9FB2-D46BDB6201E8}" srcOrd="0" destOrd="0" presId="urn:microsoft.com/office/officeart/2008/layout/LinedList"/>
    <dgm:cxn modelId="{038ED263-FBB3-401E-B127-F91E59624783}" type="presOf" srcId="{93732388-9BBC-4183-9B16-EC9DB2D91709}" destId="{0E85662D-B24D-4EB7-8914-C68A8753DBE8}" srcOrd="0" destOrd="0" presId="urn:microsoft.com/office/officeart/2008/layout/LinedList"/>
    <dgm:cxn modelId="{56CF0D47-DC54-439B-9A10-956FF5A075DF}" srcId="{B39CDC10-2765-4C44-B1AD-C89D23C0ADF9}" destId="{0E81D346-BE1C-4324-8A24-770A5357D86F}" srcOrd="2" destOrd="0" parTransId="{AD1060C2-40D9-44CA-9955-48FC7A3A03B1}" sibTransId="{9147906B-7D25-437B-A1AB-97EDB6D3EB9D}"/>
    <dgm:cxn modelId="{86A6F649-5641-410C-8788-C9E338DE014A}" srcId="{B39CDC10-2765-4C44-B1AD-C89D23C0ADF9}" destId="{00D158E4-7895-4F78-A768-239CE96388C5}" srcOrd="3" destOrd="0" parTransId="{8876B40B-3502-4E26-BB85-197CF97F1F42}" sibTransId="{97A51B78-D634-47B0-8A3C-F0D02A1EB0C5}"/>
    <dgm:cxn modelId="{6D253472-98AB-42AC-AD11-177C8E38CC9A}" type="presOf" srcId="{27A7DBDB-85AE-4047-BA22-E6CDE8B6C1E6}" destId="{BF2451F9-9EE3-495E-9CFC-192EDE9590B1}" srcOrd="0" destOrd="0" presId="urn:microsoft.com/office/officeart/2008/layout/LinedList"/>
    <dgm:cxn modelId="{22EBA0B0-A6F9-4B06-BA5E-EEDC90AF6E0F}" srcId="{B39CDC10-2765-4C44-B1AD-C89D23C0ADF9}" destId="{E924219F-E938-428D-9F5D-C913E1C7ECD9}" srcOrd="1" destOrd="0" parTransId="{03476CA3-74C8-4E98-9C69-4CDFD21860CE}" sibTransId="{325096F6-35D3-4E8F-AD7D-1AF090C0A193}"/>
    <dgm:cxn modelId="{C77BD3B5-6EA9-466A-88A0-D522BF2F1B29}" type="presOf" srcId="{00D158E4-7895-4F78-A768-239CE96388C5}" destId="{A4AE9959-319B-4901-B895-0C94E2582197}" srcOrd="0" destOrd="0" presId="urn:microsoft.com/office/officeart/2008/layout/LinedList"/>
    <dgm:cxn modelId="{0D2770D2-A49E-45C5-8E0A-9613418F1F63}" type="presOf" srcId="{B39CDC10-2765-4C44-B1AD-C89D23C0ADF9}" destId="{A71CFB14-F7B8-4802-8C3A-8E1D072FAE9C}" srcOrd="0" destOrd="0" presId="urn:microsoft.com/office/officeart/2008/layout/LinedList"/>
    <dgm:cxn modelId="{AC2B09DB-7244-432B-B65E-B95F3DDE5992}" srcId="{B39CDC10-2765-4C44-B1AD-C89D23C0ADF9}" destId="{27A7DBDB-85AE-4047-BA22-E6CDE8B6C1E6}" srcOrd="4" destOrd="0" parTransId="{6E77E9EA-84A2-46C0-98FB-817D07FAE3E3}" sibTransId="{7A295ED0-00ED-4112-B675-1B13342FA42C}"/>
    <dgm:cxn modelId="{1D0FC611-546D-4400-9483-250669A7C958}" type="presParOf" srcId="{A71CFB14-F7B8-4802-8C3A-8E1D072FAE9C}" destId="{4B59F437-6475-4ACC-84CE-22F809A55B46}" srcOrd="0" destOrd="0" presId="urn:microsoft.com/office/officeart/2008/layout/LinedList"/>
    <dgm:cxn modelId="{9A718528-DA0E-4EA0-A294-B2AB6115D136}" type="presParOf" srcId="{A71CFB14-F7B8-4802-8C3A-8E1D072FAE9C}" destId="{E37EB6F2-005A-466D-BD83-8EC5C0D7DDD5}" srcOrd="1" destOrd="0" presId="urn:microsoft.com/office/officeart/2008/layout/LinedList"/>
    <dgm:cxn modelId="{CD8868F8-43B1-4DF7-9720-6224437AC129}" type="presParOf" srcId="{E37EB6F2-005A-466D-BD83-8EC5C0D7DDD5}" destId="{0E85662D-B24D-4EB7-8914-C68A8753DBE8}" srcOrd="0" destOrd="0" presId="urn:microsoft.com/office/officeart/2008/layout/LinedList"/>
    <dgm:cxn modelId="{C38C6F69-A522-47BE-BDAD-113ABFED2FF3}" type="presParOf" srcId="{E37EB6F2-005A-466D-BD83-8EC5C0D7DDD5}" destId="{E6924831-0403-458D-A255-34357D608138}" srcOrd="1" destOrd="0" presId="urn:microsoft.com/office/officeart/2008/layout/LinedList"/>
    <dgm:cxn modelId="{F3388EF2-DBC6-45C3-B725-D32FC7E35F1B}" type="presParOf" srcId="{A71CFB14-F7B8-4802-8C3A-8E1D072FAE9C}" destId="{AA3E31CA-D67D-47BA-BC97-0F14229CBCCA}" srcOrd="2" destOrd="0" presId="urn:microsoft.com/office/officeart/2008/layout/LinedList"/>
    <dgm:cxn modelId="{661DF313-3002-4B5A-BE80-FF7D7D5839BD}" type="presParOf" srcId="{A71CFB14-F7B8-4802-8C3A-8E1D072FAE9C}" destId="{23CF9AE5-52B3-44D8-AA11-7B08EFBA98FE}" srcOrd="3" destOrd="0" presId="urn:microsoft.com/office/officeart/2008/layout/LinedList"/>
    <dgm:cxn modelId="{D5933789-FDB3-48B8-BAD3-1A51D0CA6144}" type="presParOf" srcId="{23CF9AE5-52B3-44D8-AA11-7B08EFBA98FE}" destId="{146DB592-4328-419F-B92B-2E83F3F81F07}" srcOrd="0" destOrd="0" presId="urn:microsoft.com/office/officeart/2008/layout/LinedList"/>
    <dgm:cxn modelId="{27D29226-4FE1-454D-AB55-1EAC8B609788}" type="presParOf" srcId="{23CF9AE5-52B3-44D8-AA11-7B08EFBA98FE}" destId="{9FB9A3F7-6A42-42A4-BB92-72A5FB6A8883}" srcOrd="1" destOrd="0" presId="urn:microsoft.com/office/officeart/2008/layout/LinedList"/>
    <dgm:cxn modelId="{AE1B9932-FC3B-44C0-964D-AAD9BE22FFB3}" type="presParOf" srcId="{A71CFB14-F7B8-4802-8C3A-8E1D072FAE9C}" destId="{C4FE8388-387E-4344-9C00-FDE2F48F0B08}" srcOrd="4" destOrd="0" presId="urn:microsoft.com/office/officeart/2008/layout/LinedList"/>
    <dgm:cxn modelId="{402A2447-54AA-408B-B62B-5B6F4B8CE766}" type="presParOf" srcId="{A71CFB14-F7B8-4802-8C3A-8E1D072FAE9C}" destId="{354DEA92-13F7-4425-A378-94B1E5611868}" srcOrd="5" destOrd="0" presId="urn:microsoft.com/office/officeart/2008/layout/LinedList"/>
    <dgm:cxn modelId="{FFA8C811-F878-452F-9F73-C8227110AB6C}" type="presParOf" srcId="{354DEA92-13F7-4425-A378-94B1E5611868}" destId="{D4101D49-FB38-44ED-9FB2-D46BDB6201E8}" srcOrd="0" destOrd="0" presId="urn:microsoft.com/office/officeart/2008/layout/LinedList"/>
    <dgm:cxn modelId="{74F40ED5-ACA6-41B3-AC12-EB38153A0D74}" type="presParOf" srcId="{354DEA92-13F7-4425-A378-94B1E5611868}" destId="{CB718346-B174-4201-A23C-9B2AE4204369}" srcOrd="1" destOrd="0" presId="urn:microsoft.com/office/officeart/2008/layout/LinedList"/>
    <dgm:cxn modelId="{74EF5494-D612-4B3C-B8B7-67A163D5DC33}" type="presParOf" srcId="{A71CFB14-F7B8-4802-8C3A-8E1D072FAE9C}" destId="{7BE98147-D360-4002-83DC-D00211C71528}" srcOrd="6" destOrd="0" presId="urn:microsoft.com/office/officeart/2008/layout/LinedList"/>
    <dgm:cxn modelId="{28C94237-FCBF-42F6-8A08-0AB202145E7C}" type="presParOf" srcId="{A71CFB14-F7B8-4802-8C3A-8E1D072FAE9C}" destId="{C4D46011-AA61-45B7-9D19-846A76048257}" srcOrd="7" destOrd="0" presId="urn:microsoft.com/office/officeart/2008/layout/LinedList"/>
    <dgm:cxn modelId="{454057E9-682D-4979-9CE5-36CC504FF346}" type="presParOf" srcId="{C4D46011-AA61-45B7-9D19-846A76048257}" destId="{A4AE9959-319B-4901-B895-0C94E2582197}" srcOrd="0" destOrd="0" presId="urn:microsoft.com/office/officeart/2008/layout/LinedList"/>
    <dgm:cxn modelId="{D77987B7-D960-4D4E-A70D-5F4D1C50B652}" type="presParOf" srcId="{C4D46011-AA61-45B7-9D19-846A76048257}" destId="{1A911F74-FE8A-4773-8C51-5670D082EF91}" srcOrd="1" destOrd="0" presId="urn:microsoft.com/office/officeart/2008/layout/LinedList"/>
    <dgm:cxn modelId="{834437ED-F714-4E18-BBC7-ED2A71EAA130}" type="presParOf" srcId="{A71CFB14-F7B8-4802-8C3A-8E1D072FAE9C}" destId="{0B99B634-A07C-443C-8DD2-5272DC2F2564}" srcOrd="8" destOrd="0" presId="urn:microsoft.com/office/officeart/2008/layout/LinedList"/>
    <dgm:cxn modelId="{D0C38B5B-EAF6-4FAB-86B3-B09D941F0EA9}" type="presParOf" srcId="{A71CFB14-F7B8-4802-8C3A-8E1D072FAE9C}" destId="{8F8EDD37-60DD-4C93-8E5E-D754EF7ACD32}" srcOrd="9" destOrd="0" presId="urn:microsoft.com/office/officeart/2008/layout/LinedList"/>
    <dgm:cxn modelId="{09543E5A-196B-4A96-93CF-89ABB66E800F}" type="presParOf" srcId="{8F8EDD37-60DD-4C93-8E5E-D754EF7ACD32}" destId="{BF2451F9-9EE3-495E-9CFC-192EDE9590B1}" srcOrd="0" destOrd="0" presId="urn:microsoft.com/office/officeart/2008/layout/LinedList"/>
    <dgm:cxn modelId="{773B4BA3-FF9E-4F78-9623-30C9E2A8AD12}" type="presParOf" srcId="{8F8EDD37-60DD-4C93-8E5E-D754EF7ACD32}" destId="{4644A57F-B9A5-41E7-BB64-9E19BF870AFE}" srcOrd="1" destOrd="0" presId="urn:microsoft.com/office/officeart/2008/layout/LinedList"/>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079806C6-358E-415F-A6F2-4E74A0507418}" type="doc">
      <dgm:prSet loTypeId="urn:microsoft.com/office/officeart/2005/8/layout/vList2" loCatId="list" qsTypeId="urn:microsoft.com/office/officeart/2005/8/quickstyle/simple1" qsCatId="simple" csTypeId="urn:microsoft.com/office/officeart/2005/8/colors/colorful1" csCatId="colorful" phldr="1"/>
      <dgm:spPr/>
      <dgm:t>
        <a:bodyPr/>
        <a:lstStyle/>
        <a:p>
          <a:endParaRPr lang="en-US"/>
        </a:p>
      </dgm:t>
    </dgm:pt>
    <dgm:pt modelId="{3AFAA238-D84C-4942-9F31-32F74FF46BD4}">
      <dgm:prSet/>
      <dgm:spPr/>
      <dgm:t>
        <a:bodyPr/>
        <a:lstStyle/>
        <a:p>
          <a:r>
            <a:rPr b="1" dirty="0" err="1"/>
            <a:t>Akıllı</a:t>
          </a:r>
          <a:r>
            <a:rPr b="1" dirty="0"/>
            <a:t> Ulaşım </a:t>
          </a:r>
          <a:r>
            <a:rPr b="1" dirty="0" err="1"/>
            <a:t>Sistemleri</a:t>
          </a:r>
          <a:r>
            <a:rPr b="1" dirty="0"/>
            <a:t> (</a:t>
          </a:r>
          <a:r>
            <a:rPr lang="en-US" b="1" dirty="0"/>
            <a:t>AUS</a:t>
          </a:r>
          <a:r>
            <a:rPr b="1" dirty="0"/>
            <a:t>), </a:t>
          </a:r>
          <a:r>
            <a:rPr dirty="0" err="1"/>
            <a:t>ulaşım</a:t>
          </a:r>
          <a:r>
            <a:rPr dirty="0"/>
            <a:t> </a:t>
          </a:r>
          <a:r>
            <a:rPr dirty="0" err="1"/>
            <a:t>sistemlerinin</a:t>
          </a:r>
          <a:r>
            <a:rPr dirty="0"/>
            <a:t> </a:t>
          </a:r>
          <a:r>
            <a:rPr dirty="0" err="1"/>
            <a:t>güvenliğini</a:t>
          </a:r>
          <a:r>
            <a:rPr dirty="0"/>
            <a:t>, </a:t>
          </a:r>
          <a:r>
            <a:rPr dirty="0" err="1"/>
            <a:t>verimliliğini</a:t>
          </a:r>
          <a:r>
            <a:rPr dirty="0"/>
            <a:t> </a:t>
          </a:r>
          <a:r>
            <a:rPr dirty="0" err="1"/>
            <a:t>ve</a:t>
          </a:r>
          <a:r>
            <a:rPr dirty="0"/>
            <a:t> </a:t>
          </a:r>
          <a:r>
            <a:rPr dirty="0" err="1"/>
            <a:t>sürdürülebilirliğini</a:t>
          </a:r>
          <a:r>
            <a:rPr dirty="0"/>
            <a:t> </a:t>
          </a:r>
          <a:r>
            <a:rPr dirty="0" err="1"/>
            <a:t>artıran</a:t>
          </a:r>
          <a:r>
            <a:rPr dirty="0"/>
            <a:t> </a:t>
          </a:r>
          <a:r>
            <a:rPr dirty="0" err="1"/>
            <a:t>bir</a:t>
          </a:r>
          <a:r>
            <a:rPr dirty="0"/>
            <a:t> dizi </a:t>
          </a:r>
          <a:r>
            <a:rPr dirty="0" err="1"/>
            <a:t>avantaj</a:t>
          </a:r>
          <a:r>
            <a:rPr dirty="0"/>
            <a:t> </a:t>
          </a:r>
          <a:r>
            <a:rPr dirty="0" err="1"/>
            <a:t>sunar</a:t>
          </a:r>
          <a:r>
            <a:rPr dirty="0"/>
            <a:t>. Bu </a:t>
          </a:r>
          <a:r>
            <a:rPr dirty="0" err="1"/>
            <a:t>faydalar</a:t>
          </a:r>
          <a:r>
            <a:rPr dirty="0"/>
            <a:t> </a:t>
          </a:r>
          <a:r>
            <a:rPr dirty="0" err="1"/>
            <a:t>şunları</a:t>
          </a:r>
          <a:r>
            <a:rPr dirty="0"/>
            <a:t> </a:t>
          </a:r>
          <a:r>
            <a:rPr dirty="0" err="1"/>
            <a:t>içerir</a:t>
          </a:r>
          <a:r>
            <a:rPr dirty="0"/>
            <a:t>:</a:t>
          </a:r>
        </a:p>
      </dgm:t>
    </dgm:pt>
    <dgm:pt modelId="{1A9A46A7-8A8D-464A-8D54-FEA2A6EBB6B5}" type="parTrans" cxnId="{21FB5D20-5EF5-4A84-A091-F75DE02BDDDC}">
      <dgm:prSet/>
      <dgm:spPr/>
      <dgm:t>
        <a:bodyPr/>
        <a:lstStyle/>
        <a:p>
          <a:endParaRPr lang="en-US"/>
        </a:p>
      </dgm:t>
    </dgm:pt>
    <dgm:pt modelId="{ADCAFFE6-53D6-4086-8303-62C23BDC87E1}" type="sibTrans" cxnId="{21FB5D20-5EF5-4A84-A091-F75DE02BDDDC}">
      <dgm:prSet/>
      <dgm:spPr/>
      <dgm:t>
        <a:bodyPr/>
        <a:lstStyle/>
        <a:p>
          <a:endParaRPr lang="en-US"/>
        </a:p>
      </dgm:t>
    </dgm:pt>
    <dgm:pt modelId="{0E13A002-B951-4394-9FEB-62C72B47630C}">
      <dgm:prSet/>
      <dgm:spPr/>
      <dgm:t>
        <a:bodyPr/>
        <a:lstStyle/>
        <a:p>
          <a:r>
            <a:rPr b="1" dirty="0" err="1"/>
            <a:t>Geliştirilmiş</a:t>
          </a:r>
          <a:r>
            <a:rPr b="1" dirty="0"/>
            <a:t> </a:t>
          </a:r>
          <a:r>
            <a:rPr b="1" dirty="0" err="1"/>
            <a:t>Güvenlik</a:t>
          </a:r>
          <a:r>
            <a:rPr b="1" dirty="0"/>
            <a:t>: </a:t>
          </a:r>
          <a:r>
            <a:rPr lang="en-US" dirty="0"/>
            <a:t>AUS</a:t>
          </a:r>
          <a:r>
            <a:rPr dirty="0"/>
            <a:t>, </a:t>
          </a:r>
          <a:r>
            <a:rPr dirty="0" err="1"/>
            <a:t>dikkat</a:t>
          </a:r>
          <a:r>
            <a:rPr dirty="0"/>
            <a:t> </a:t>
          </a:r>
          <a:r>
            <a:rPr dirty="0" err="1"/>
            <a:t>dağıtıcı</a:t>
          </a:r>
          <a:r>
            <a:rPr dirty="0"/>
            <a:t> </a:t>
          </a:r>
          <a:r>
            <a:rPr dirty="0" err="1"/>
            <a:t>sürüş</a:t>
          </a:r>
          <a:r>
            <a:rPr dirty="0"/>
            <a:t> </a:t>
          </a:r>
          <a:r>
            <a:rPr dirty="0" err="1"/>
            <a:t>gibi</a:t>
          </a:r>
          <a:r>
            <a:rPr dirty="0"/>
            <a:t> </a:t>
          </a:r>
          <a:r>
            <a:rPr dirty="0" err="1"/>
            <a:t>insan</a:t>
          </a:r>
          <a:r>
            <a:rPr dirty="0"/>
            <a:t> </a:t>
          </a:r>
          <a:r>
            <a:rPr dirty="0" err="1"/>
            <a:t>hatalarından</a:t>
          </a:r>
          <a:r>
            <a:rPr dirty="0"/>
            <a:t> </a:t>
          </a:r>
          <a:r>
            <a:rPr dirty="0" err="1"/>
            <a:t>kaynaklanan</a:t>
          </a:r>
          <a:r>
            <a:rPr dirty="0"/>
            <a:t> </a:t>
          </a:r>
          <a:r>
            <a:rPr dirty="0" err="1"/>
            <a:t>kazaları</a:t>
          </a:r>
          <a:r>
            <a:rPr dirty="0"/>
            <a:t> </a:t>
          </a:r>
          <a:r>
            <a:rPr dirty="0" err="1"/>
            <a:t>azaltarak</a:t>
          </a:r>
          <a:r>
            <a:rPr dirty="0"/>
            <a:t> </a:t>
          </a:r>
          <a:r>
            <a:rPr dirty="0" err="1"/>
            <a:t>güvenliği</a:t>
          </a:r>
          <a:r>
            <a:rPr dirty="0"/>
            <a:t> </a:t>
          </a:r>
          <a:r>
            <a:rPr dirty="0" err="1"/>
            <a:t>artırabilir</a:t>
          </a:r>
          <a:r>
            <a:rPr dirty="0"/>
            <a:t>. </a:t>
          </a:r>
          <a:r>
            <a:rPr dirty="0" err="1"/>
            <a:t>Örneğin</a:t>
          </a:r>
          <a:r>
            <a:rPr dirty="0"/>
            <a:t>, </a:t>
          </a:r>
          <a:r>
            <a:rPr dirty="0" err="1"/>
            <a:t>gelişmiş</a:t>
          </a:r>
          <a:r>
            <a:rPr dirty="0"/>
            <a:t> </a:t>
          </a:r>
          <a:r>
            <a:rPr dirty="0" err="1"/>
            <a:t>sürücü</a:t>
          </a:r>
          <a:r>
            <a:rPr dirty="0"/>
            <a:t> </a:t>
          </a:r>
          <a:r>
            <a:rPr dirty="0" err="1"/>
            <a:t>destek</a:t>
          </a:r>
          <a:r>
            <a:rPr dirty="0"/>
            <a:t> </a:t>
          </a:r>
          <a:r>
            <a:rPr dirty="0" err="1"/>
            <a:t>sistemleri</a:t>
          </a:r>
          <a:r>
            <a:rPr dirty="0"/>
            <a:t> (ADAS), </a:t>
          </a:r>
          <a:r>
            <a:rPr dirty="0" err="1"/>
            <a:t>sürücüleri</a:t>
          </a:r>
          <a:r>
            <a:rPr dirty="0"/>
            <a:t> </a:t>
          </a:r>
          <a:r>
            <a:rPr dirty="0" err="1"/>
            <a:t>yoldaki</a:t>
          </a:r>
          <a:r>
            <a:rPr dirty="0"/>
            <a:t> </a:t>
          </a:r>
          <a:r>
            <a:rPr dirty="0" err="1"/>
            <a:t>olası</a:t>
          </a:r>
          <a:r>
            <a:rPr dirty="0"/>
            <a:t> </a:t>
          </a:r>
          <a:r>
            <a:rPr dirty="0" err="1"/>
            <a:t>çarpışmalar</a:t>
          </a:r>
          <a:r>
            <a:rPr dirty="0"/>
            <a:t> </a:t>
          </a:r>
          <a:r>
            <a:rPr dirty="0" err="1"/>
            <a:t>veya</a:t>
          </a:r>
          <a:r>
            <a:rPr dirty="0"/>
            <a:t> </a:t>
          </a:r>
          <a:r>
            <a:rPr dirty="0" err="1"/>
            <a:t>tehlikeler</a:t>
          </a:r>
          <a:r>
            <a:rPr dirty="0"/>
            <a:t> </a:t>
          </a:r>
          <a:r>
            <a:rPr dirty="0" err="1"/>
            <a:t>konusunda</a:t>
          </a:r>
          <a:r>
            <a:rPr dirty="0"/>
            <a:t> </a:t>
          </a:r>
          <a:r>
            <a:rPr dirty="0" err="1"/>
            <a:t>uyarmak</a:t>
          </a:r>
          <a:r>
            <a:rPr dirty="0"/>
            <a:t> </a:t>
          </a:r>
          <a:r>
            <a:rPr dirty="0" err="1"/>
            <a:t>için</a:t>
          </a:r>
          <a:r>
            <a:rPr dirty="0"/>
            <a:t> </a:t>
          </a:r>
          <a:r>
            <a:rPr dirty="0" err="1"/>
            <a:t>sensörler</a:t>
          </a:r>
          <a:r>
            <a:rPr dirty="0"/>
            <a:t> </a:t>
          </a:r>
          <a:r>
            <a:rPr dirty="0" err="1"/>
            <a:t>ve</a:t>
          </a:r>
          <a:r>
            <a:rPr dirty="0"/>
            <a:t> </a:t>
          </a:r>
          <a:r>
            <a:rPr dirty="0" err="1"/>
            <a:t>kameralar</a:t>
          </a:r>
          <a:r>
            <a:rPr dirty="0"/>
            <a:t> </a:t>
          </a:r>
          <a:r>
            <a:rPr dirty="0" err="1"/>
            <a:t>kullanır</a:t>
          </a:r>
          <a:r>
            <a:rPr dirty="0"/>
            <a:t> </a:t>
          </a:r>
          <a:r>
            <a:rPr dirty="0" err="1"/>
            <a:t>ve</a:t>
          </a:r>
          <a:r>
            <a:rPr dirty="0"/>
            <a:t> </a:t>
          </a:r>
          <a:r>
            <a:rPr dirty="0" err="1"/>
            <a:t>kazaları</a:t>
          </a:r>
          <a:r>
            <a:rPr dirty="0"/>
            <a:t> </a:t>
          </a:r>
          <a:r>
            <a:rPr dirty="0" err="1"/>
            <a:t>meydana</a:t>
          </a:r>
          <a:r>
            <a:rPr dirty="0"/>
            <a:t> </a:t>
          </a:r>
          <a:r>
            <a:rPr dirty="0" err="1"/>
            <a:t>gelmeden</a:t>
          </a:r>
          <a:r>
            <a:rPr dirty="0"/>
            <a:t> </a:t>
          </a:r>
          <a:r>
            <a:rPr dirty="0" err="1"/>
            <a:t>önce</a:t>
          </a:r>
          <a:r>
            <a:rPr dirty="0"/>
            <a:t> </a:t>
          </a:r>
          <a:r>
            <a:rPr dirty="0" err="1"/>
            <a:t>önlemeye</a:t>
          </a:r>
          <a:r>
            <a:rPr dirty="0"/>
            <a:t> </a:t>
          </a:r>
          <a:r>
            <a:rPr dirty="0" err="1"/>
            <a:t>yardımcı</a:t>
          </a:r>
          <a:r>
            <a:rPr dirty="0"/>
            <a:t> </a:t>
          </a:r>
          <a:r>
            <a:rPr dirty="0" err="1"/>
            <a:t>olur</a:t>
          </a:r>
          <a:r>
            <a:rPr dirty="0"/>
            <a:t>. </a:t>
          </a:r>
          <a:r>
            <a:rPr lang="en-US" dirty="0"/>
            <a:t>AUS</a:t>
          </a:r>
          <a:r>
            <a:rPr dirty="0"/>
            <a:t> </a:t>
          </a:r>
          <a:r>
            <a:rPr dirty="0" err="1"/>
            <a:t>ayrıca</a:t>
          </a:r>
          <a:r>
            <a:rPr dirty="0"/>
            <a:t> ilk </a:t>
          </a:r>
          <a:r>
            <a:rPr dirty="0" err="1"/>
            <a:t>müdahale</a:t>
          </a:r>
          <a:r>
            <a:rPr dirty="0"/>
            <a:t> </a:t>
          </a:r>
          <a:r>
            <a:rPr dirty="0" err="1"/>
            <a:t>edenlere</a:t>
          </a:r>
          <a:r>
            <a:rPr dirty="0"/>
            <a:t> </a:t>
          </a:r>
          <a:r>
            <a:rPr dirty="0" err="1"/>
            <a:t>gerçek</a:t>
          </a:r>
          <a:r>
            <a:rPr dirty="0"/>
            <a:t> </a:t>
          </a:r>
          <a:r>
            <a:rPr dirty="0" err="1"/>
            <a:t>zamanlı</a:t>
          </a:r>
          <a:r>
            <a:rPr dirty="0"/>
            <a:t> </a:t>
          </a:r>
          <a:r>
            <a:rPr dirty="0" err="1"/>
            <a:t>bilgi</a:t>
          </a:r>
          <a:r>
            <a:rPr dirty="0"/>
            <a:t> </a:t>
          </a:r>
          <a:r>
            <a:rPr dirty="0" err="1"/>
            <a:t>sağlayarak</a:t>
          </a:r>
          <a:r>
            <a:rPr dirty="0"/>
            <a:t> </a:t>
          </a:r>
          <a:r>
            <a:rPr dirty="0" err="1"/>
            <a:t>acil</a:t>
          </a:r>
          <a:r>
            <a:rPr dirty="0"/>
            <a:t> </a:t>
          </a:r>
          <a:r>
            <a:rPr dirty="0" err="1"/>
            <a:t>müdahale</a:t>
          </a:r>
          <a:r>
            <a:rPr dirty="0"/>
            <a:t> </a:t>
          </a:r>
          <a:r>
            <a:rPr dirty="0" err="1"/>
            <a:t>sürelerini</a:t>
          </a:r>
          <a:r>
            <a:rPr dirty="0"/>
            <a:t> </a:t>
          </a:r>
          <a:r>
            <a:rPr dirty="0" err="1"/>
            <a:t>iyileştirebilir</a:t>
          </a:r>
          <a:r>
            <a:rPr dirty="0"/>
            <a:t>.</a:t>
          </a:r>
        </a:p>
      </dgm:t>
    </dgm:pt>
    <dgm:pt modelId="{43E854DC-32E5-4993-9BF5-6C028B5713AC}" type="parTrans" cxnId="{1C1BCF4C-6F9E-4101-993A-0DDB55DBC481}">
      <dgm:prSet/>
      <dgm:spPr/>
      <dgm:t>
        <a:bodyPr/>
        <a:lstStyle/>
        <a:p>
          <a:endParaRPr lang="en-US"/>
        </a:p>
      </dgm:t>
    </dgm:pt>
    <dgm:pt modelId="{055CCE32-00D7-411E-B019-AD588BADBD00}" type="sibTrans" cxnId="{1C1BCF4C-6F9E-4101-993A-0DDB55DBC481}">
      <dgm:prSet/>
      <dgm:spPr/>
      <dgm:t>
        <a:bodyPr/>
        <a:lstStyle/>
        <a:p>
          <a:endParaRPr lang="en-US"/>
        </a:p>
      </dgm:t>
    </dgm:pt>
    <dgm:pt modelId="{45FA35E2-49C4-4D08-84CA-9B9A31C65F2B}">
      <dgm:prSet/>
      <dgm:spPr/>
      <dgm:t>
        <a:bodyPr/>
        <a:lstStyle/>
        <a:p>
          <a:r>
            <a:rPr b="1" dirty="0" err="1"/>
            <a:t>Azaltılmış</a:t>
          </a:r>
          <a:r>
            <a:rPr b="1" dirty="0"/>
            <a:t> </a:t>
          </a:r>
          <a:r>
            <a:rPr b="1" dirty="0" err="1"/>
            <a:t>Tıkanıklık</a:t>
          </a:r>
          <a:r>
            <a:rPr b="1" dirty="0"/>
            <a:t> </a:t>
          </a:r>
          <a:r>
            <a:rPr b="1" dirty="0" err="1"/>
            <a:t>ve</a:t>
          </a:r>
          <a:r>
            <a:rPr b="1" dirty="0"/>
            <a:t> </a:t>
          </a:r>
          <a:r>
            <a:rPr b="1" dirty="0" err="1"/>
            <a:t>Geliştirilmiş</a:t>
          </a:r>
          <a:r>
            <a:rPr b="1" dirty="0"/>
            <a:t> </a:t>
          </a:r>
          <a:r>
            <a:rPr b="1" dirty="0" err="1"/>
            <a:t>Trafik</a:t>
          </a:r>
          <a:r>
            <a:rPr b="1" dirty="0"/>
            <a:t> </a:t>
          </a:r>
          <a:r>
            <a:rPr b="1" dirty="0" err="1"/>
            <a:t>Akışı</a:t>
          </a:r>
          <a:r>
            <a:rPr b="1" dirty="0"/>
            <a:t>: </a:t>
          </a:r>
          <a:r>
            <a:rPr lang="en-US" dirty="0" err="1"/>
            <a:t>AUS</a:t>
          </a:r>
          <a:r>
            <a:rPr dirty="0" err="1"/>
            <a:t>'nin</a:t>
          </a:r>
          <a:r>
            <a:rPr dirty="0"/>
            <a:t> </a:t>
          </a:r>
          <a:r>
            <a:rPr dirty="0" err="1"/>
            <a:t>en</a:t>
          </a:r>
          <a:r>
            <a:rPr dirty="0"/>
            <a:t> </a:t>
          </a:r>
          <a:r>
            <a:rPr dirty="0" err="1"/>
            <a:t>önemli</a:t>
          </a:r>
          <a:r>
            <a:rPr dirty="0"/>
            <a:t> </a:t>
          </a:r>
          <a:r>
            <a:rPr dirty="0" err="1"/>
            <a:t>faydalarından</a:t>
          </a:r>
          <a:r>
            <a:rPr dirty="0"/>
            <a:t> </a:t>
          </a:r>
          <a:r>
            <a:rPr dirty="0" err="1"/>
            <a:t>biri</a:t>
          </a:r>
          <a:r>
            <a:rPr dirty="0"/>
            <a:t>, </a:t>
          </a:r>
          <a:r>
            <a:rPr dirty="0" err="1"/>
            <a:t>trafik</a:t>
          </a:r>
          <a:r>
            <a:rPr dirty="0"/>
            <a:t> </a:t>
          </a:r>
          <a:r>
            <a:rPr dirty="0" err="1"/>
            <a:t>akışını</a:t>
          </a:r>
          <a:r>
            <a:rPr dirty="0"/>
            <a:t> </a:t>
          </a:r>
          <a:r>
            <a:rPr dirty="0" err="1"/>
            <a:t>iyileştirme</a:t>
          </a:r>
          <a:r>
            <a:rPr dirty="0"/>
            <a:t> </a:t>
          </a:r>
          <a:r>
            <a:rPr dirty="0" err="1"/>
            <a:t>ve</a:t>
          </a:r>
          <a:r>
            <a:rPr dirty="0"/>
            <a:t> </a:t>
          </a:r>
          <a:r>
            <a:rPr dirty="0" err="1"/>
            <a:t>tıkanıklığı</a:t>
          </a:r>
          <a:r>
            <a:rPr dirty="0"/>
            <a:t> </a:t>
          </a:r>
          <a:r>
            <a:rPr dirty="0" err="1"/>
            <a:t>azaltma</a:t>
          </a:r>
          <a:r>
            <a:rPr dirty="0"/>
            <a:t> </a:t>
          </a:r>
          <a:r>
            <a:rPr dirty="0" err="1"/>
            <a:t>yeteneğidir</a:t>
          </a:r>
          <a:r>
            <a:rPr dirty="0"/>
            <a:t>; </a:t>
          </a:r>
          <a:r>
            <a:rPr dirty="0" err="1"/>
            <a:t>bu</a:t>
          </a:r>
          <a:r>
            <a:rPr dirty="0"/>
            <a:t> da zaman </a:t>
          </a:r>
          <a:r>
            <a:rPr dirty="0" err="1"/>
            <a:t>tasarrufu</a:t>
          </a:r>
          <a:r>
            <a:rPr dirty="0"/>
            <a:t> </a:t>
          </a:r>
          <a:r>
            <a:rPr dirty="0" err="1"/>
            <a:t>sağlayabilir</a:t>
          </a:r>
          <a:r>
            <a:rPr dirty="0"/>
            <a:t>, </a:t>
          </a:r>
          <a:r>
            <a:rPr dirty="0" err="1"/>
            <a:t>yakıt</a:t>
          </a:r>
          <a:r>
            <a:rPr dirty="0"/>
            <a:t> </a:t>
          </a:r>
          <a:r>
            <a:rPr dirty="0" err="1"/>
            <a:t>tüketimini</a:t>
          </a:r>
          <a:r>
            <a:rPr dirty="0"/>
            <a:t> </a:t>
          </a:r>
          <a:r>
            <a:rPr dirty="0" err="1"/>
            <a:t>azaltabilir</a:t>
          </a:r>
          <a:r>
            <a:rPr dirty="0"/>
            <a:t> </a:t>
          </a:r>
          <a:r>
            <a:rPr dirty="0" err="1"/>
            <a:t>ve</a:t>
          </a:r>
          <a:r>
            <a:rPr dirty="0"/>
            <a:t> </a:t>
          </a:r>
          <a:r>
            <a:rPr dirty="0" err="1"/>
            <a:t>hava</a:t>
          </a:r>
          <a:r>
            <a:rPr dirty="0"/>
            <a:t> </a:t>
          </a:r>
          <a:r>
            <a:rPr dirty="0" err="1"/>
            <a:t>kalitesini</a:t>
          </a:r>
          <a:r>
            <a:rPr dirty="0"/>
            <a:t> </a:t>
          </a:r>
          <a:r>
            <a:rPr dirty="0" err="1"/>
            <a:t>iyileştirebilir</a:t>
          </a:r>
          <a:r>
            <a:rPr dirty="0"/>
            <a:t>. </a:t>
          </a:r>
          <a:r>
            <a:rPr lang="en-US" dirty="0"/>
            <a:t>AUS</a:t>
          </a:r>
          <a:r>
            <a:rPr dirty="0"/>
            <a:t>, </a:t>
          </a:r>
          <a:r>
            <a:rPr dirty="0" err="1"/>
            <a:t>trafik</a:t>
          </a:r>
          <a:r>
            <a:rPr dirty="0"/>
            <a:t> </a:t>
          </a:r>
          <a:r>
            <a:rPr dirty="0" err="1"/>
            <a:t>koşulları</a:t>
          </a:r>
          <a:r>
            <a:rPr dirty="0"/>
            <a:t> </a:t>
          </a:r>
          <a:r>
            <a:rPr dirty="0" err="1"/>
            <a:t>hakkında</a:t>
          </a:r>
          <a:r>
            <a:rPr dirty="0"/>
            <a:t> </a:t>
          </a:r>
          <a:r>
            <a:rPr dirty="0" err="1"/>
            <a:t>gerçek</a:t>
          </a:r>
          <a:r>
            <a:rPr dirty="0"/>
            <a:t> </a:t>
          </a:r>
          <a:r>
            <a:rPr dirty="0" err="1"/>
            <a:t>zamanlı</a:t>
          </a:r>
          <a:r>
            <a:rPr dirty="0"/>
            <a:t> </a:t>
          </a:r>
          <a:r>
            <a:rPr dirty="0" err="1"/>
            <a:t>bilgi</a:t>
          </a:r>
          <a:r>
            <a:rPr dirty="0"/>
            <a:t> </a:t>
          </a:r>
          <a:r>
            <a:rPr dirty="0" err="1"/>
            <a:t>sağlayabilir</a:t>
          </a:r>
          <a:r>
            <a:rPr dirty="0"/>
            <a:t> </a:t>
          </a:r>
          <a:r>
            <a:rPr dirty="0" err="1"/>
            <a:t>ve</a:t>
          </a:r>
          <a:r>
            <a:rPr dirty="0"/>
            <a:t> </a:t>
          </a:r>
          <a:r>
            <a:rPr dirty="0" err="1"/>
            <a:t>sürücülerin</a:t>
          </a:r>
          <a:r>
            <a:rPr dirty="0"/>
            <a:t> </a:t>
          </a:r>
          <a:r>
            <a:rPr dirty="0" err="1"/>
            <a:t>alternatif</a:t>
          </a:r>
          <a:r>
            <a:rPr dirty="0"/>
            <a:t> </a:t>
          </a:r>
          <a:r>
            <a:rPr dirty="0" err="1"/>
            <a:t>güzergahlar</a:t>
          </a:r>
          <a:r>
            <a:rPr dirty="0"/>
            <a:t> </a:t>
          </a:r>
          <a:r>
            <a:rPr dirty="0" err="1"/>
            <a:t>veya</a:t>
          </a:r>
          <a:r>
            <a:rPr dirty="0"/>
            <a:t> </a:t>
          </a:r>
          <a:r>
            <a:rPr dirty="0" err="1"/>
            <a:t>ulaşım</a:t>
          </a:r>
          <a:r>
            <a:rPr dirty="0"/>
            <a:t> </a:t>
          </a:r>
          <a:r>
            <a:rPr dirty="0" err="1"/>
            <a:t>modları</a:t>
          </a:r>
          <a:r>
            <a:rPr dirty="0"/>
            <a:t> </a:t>
          </a:r>
          <a:r>
            <a:rPr dirty="0" err="1"/>
            <a:t>seçmelerine</a:t>
          </a:r>
          <a:r>
            <a:rPr dirty="0"/>
            <a:t> </a:t>
          </a:r>
          <a:r>
            <a:rPr dirty="0" err="1"/>
            <a:t>olanak</a:t>
          </a:r>
          <a:r>
            <a:rPr dirty="0"/>
            <a:t> </a:t>
          </a:r>
          <a:r>
            <a:rPr dirty="0" err="1"/>
            <a:t>tanır</a:t>
          </a:r>
          <a:r>
            <a:rPr dirty="0"/>
            <a:t>. Ek </a:t>
          </a:r>
          <a:r>
            <a:rPr dirty="0" err="1"/>
            <a:t>olarak</a:t>
          </a:r>
          <a:r>
            <a:rPr dirty="0"/>
            <a:t> </a:t>
          </a:r>
          <a:r>
            <a:rPr lang="en-US" dirty="0"/>
            <a:t>AUS</a:t>
          </a:r>
          <a:r>
            <a:rPr dirty="0"/>
            <a:t>, </a:t>
          </a:r>
          <a:r>
            <a:rPr dirty="0" err="1"/>
            <a:t>trafik</a:t>
          </a:r>
          <a:r>
            <a:rPr dirty="0"/>
            <a:t> </a:t>
          </a:r>
          <a:r>
            <a:rPr dirty="0" err="1"/>
            <a:t>sinyali</a:t>
          </a:r>
          <a:r>
            <a:rPr dirty="0"/>
            <a:t> </a:t>
          </a:r>
          <a:r>
            <a:rPr dirty="0" err="1"/>
            <a:t>zamanlamasını</a:t>
          </a:r>
          <a:r>
            <a:rPr dirty="0"/>
            <a:t> optimize </a:t>
          </a:r>
          <a:r>
            <a:rPr dirty="0" err="1"/>
            <a:t>edebilir</a:t>
          </a:r>
          <a:r>
            <a:rPr dirty="0"/>
            <a:t>, </a:t>
          </a:r>
          <a:r>
            <a:rPr dirty="0" err="1"/>
            <a:t>kavşaklarda</a:t>
          </a:r>
          <a:r>
            <a:rPr dirty="0"/>
            <a:t> </a:t>
          </a:r>
          <a:r>
            <a:rPr dirty="0" err="1"/>
            <a:t>gecikmeleri</a:t>
          </a:r>
          <a:r>
            <a:rPr dirty="0"/>
            <a:t> </a:t>
          </a:r>
          <a:r>
            <a:rPr dirty="0" err="1"/>
            <a:t>azaltabilir</a:t>
          </a:r>
          <a:r>
            <a:rPr dirty="0"/>
            <a:t> </a:t>
          </a:r>
          <a:r>
            <a:rPr dirty="0" err="1"/>
            <a:t>ve</a:t>
          </a:r>
          <a:r>
            <a:rPr dirty="0"/>
            <a:t> </a:t>
          </a:r>
          <a:r>
            <a:rPr dirty="0" err="1"/>
            <a:t>trafik</a:t>
          </a:r>
          <a:r>
            <a:rPr dirty="0"/>
            <a:t> </a:t>
          </a:r>
          <a:r>
            <a:rPr dirty="0" err="1"/>
            <a:t>akışını</a:t>
          </a:r>
          <a:r>
            <a:rPr dirty="0"/>
            <a:t> </a:t>
          </a:r>
          <a:r>
            <a:rPr dirty="0" err="1"/>
            <a:t>iyileştirebilir</a:t>
          </a:r>
          <a:r>
            <a:rPr dirty="0"/>
            <a:t>.</a:t>
          </a:r>
        </a:p>
      </dgm:t>
    </dgm:pt>
    <dgm:pt modelId="{F0B26092-B520-40E4-978D-DB582D8249B8}" type="parTrans" cxnId="{4FDE7426-F8B6-4187-BD0F-368A705DDED7}">
      <dgm:prSet/>
      <dgm:spPr/>
      <dgm:t>
        <a:bodyPr/>
        <a:lstStyle/>
        <a:p>
          <a:endParaRPr lang="en-US"/>
        </a:p>
      </dgm:t>
    </dgm:pt>
    <dgm:pt modelId="{C844A3DD-2925-4BDD-AA19-030F65B78153}" type="sibTrans" cxnId="{4FDE7426-F8B6-4187-BD0F-368A705DDED7}">
      <dgm:prSet/>
      <dgm:spPr/>
      <dgm:t>
        <a:bodyPr/>
        <a:lstStyle/>
        <a:p>
          <a:endParaRPr lang="en-US"/>
        </a:p>
      </dgm:t>
    </dgm:pt>
    <dgm:pt modelId="{C5D7D13E-B1AA-4702-B64E-F249EB0AFF92}">
      <dgm:prSet/>
      <dgm:spPr/>
      <dgm:t>
        <a:bodyPr/>
        <a:lstStyle/>
        <a:p>
          <a:r>
            <a:rPr b="1" dirty="0" err="1"/>
            <a:t>Gelişmiş</a:t>
          </a:r>
          <a:r>
            <a:rPr b="1" dirty="0"/>
            <a:t> </a:t>
          </a:r>
          <a:r>
            <a:rPr b="1" dirty="0" err="1"/>
            <a:t>Erişilebilirlik</a:t>
          </a:r>
          <a:r>
            <a:rPr b="1" dirty="0"/>
            <a:t> </a:t>
          </a:r>
          <a:r>
            <a:rPr b="1" dirty="0" err="1"/>
            <a:t>ve</a:t>
          </a:r>
          <a:r>
            <a:rPr b="1" dirty="0"/>
            <a:t> </a:t>
          </a:r>
          <a:r>
            <a:rPr b="1" dirty="0" err="1"/>
            <a:t>Hareketlilik</a:t>
          </a:r>
          <a:r>
            <a:rPr b="1" dirty="0"/>
            <a:t>: </a:t>
          </a:r>
          <a:r>
            <a:rPr lang="en-US" dirty="0"/>
            <a:t>AUS</a:t>
          </a:r>
          <a:r>
            <a:rPr dirty="0"/>
            <a:t>, </a:t>
          </a:r>
          <a:r>
            <a:rPr dirty="0" err="1"/>
            <a:t>engelli</a:t>
          </a:r>
          <a:r>
            <a:rPr dirty="0"/>
            <a:t> </a:t>
          </a:r>
          <a:r>
            <a:rPr dirty="0" err="1"/>
            <a:t>insanlar</a:t>
          </a:r>
          <a:r>
            <a:rPr dirty="0"/>
            <a:t>, </a:t>
          </a:r>
          <a:r>
            <a:rPr dirty="0" err="1"/>
            <a:t>yaşlı</a:t>
          </a:r>
          <a:r>
            <a:rPr dirty="0"/>
            <a:t> </a:t>
          </a:r>
          <a:r>
            <a:rPr dirty="0" err="1"/>
            <a:t>yetişkinler</a:t>
          </a:r>
          <a:r>
            <a:rPr dirty="0"/>
            <a:t> </a:t>
          </a:r>
          <a:r>
            <a:rPr dirty="0" err="1"/>
            <a:t>ve</a:t>
          </a:r>
          <a:r>
            <a:rPr dirty="0"/>
            <a:t> </a:t>
          </a:r>
          <a:r>
            <a:rPr dirty="0" err="1"/>
            <a:t>diğer</a:t>
          </a:r>
          <a:r>
            <a:rPr dirty="0"/>
            <a:t> </a:t>
          </a:r>
          <a:r>
            <a:rPr dirty="0" err="1"/>
            <a:t>savunmasız</a:t>
          </a:r>
          <a:r>
            <a:rPr dirty="0"/>
            <a:t> </a:t>
          </a:r>
          <a:r>
            <a:rPr dirty="0" err="1"/>
            <a:t>popülasyonlar</a:t>
          </a:r>
          <a:r>
            <a:rPr dirty="0"/>
            <a:t> </a:t>
          </a:r>
          <a:r>
            <a:rPr dirty="0" err="1"/>
            <a:t>için</a:t>
          </a:r>
          <a:r>
            <a:rPr dirty="0"/>
            <a:t> </a:t>
          </a:r>
          <a:r>
            <a:rPr dirty="0" err="1"/>
            <a:t>erişilebilirliği</a:t>
          </a:r>
          <a:r>
            <a:rPr dirty="0"/>
            <a:t> </a:t>
          </a:r>
          <a:r>
            <a:rPr dirty="0" err="1"/>
            <a:t>ve</a:t>
          </a:r>
          <a:r>
            <a:rPr dirty="0"/>
            <a:t> </a:t>
          </a:r>
          <a:r>
            <a:rPr dirty="0" err="1"/>
            <a:t>hareketliliği</a:t>
          </a:r>
          <a:r>
            <a:rPr dirty="0"/>
            <a:t> </a:t>
          </a:r>
          <a:r>
            <a:rPr dirty="0" err="1"/>
            <a:t>artırabilir</a:t>
          </a:r>
          <a:r>
            <a:rPr dirty="0"/>
            <a:t>. </a:t>
          </a:r>
          <a:r>
            <a:rPr dirty="0" err="1"/>
            <a:t>Örneğin</a:t>
          </a:r>
          <a:r>
            <a:rPr dirty="0"/>
            <a:t>, </a:t>
          </a:r>
          <a:r>
            <a:rPr lang="en-US" dirty="0"/>
            <a:t>AUS</a:t>
          </a:r>
          <a:r>
            <a:rPr dirty="0"/>
            <a:t> </a:t>
          </a:r>
          <a:r>
            <a:rPr dirty="0" err="1"/>
            <a:t>tekerlekli</a:t>
          </a:r>
          <a:r>
            <a:rPr dirty="0"/>
            <a:t> </a:t>
          </a:r>
          <a:r>
            <a:rPr dirty="0" err="1"/>
            <a:t>sandalye</a:t>
          </a:r>
          <a:r>
            <a:rPr dirty="0"/>
            <a:t> </a:t>
          </a:r>
          <a:r>
            <a:rPr dirty="0" err="1"/>
            <a:t>ile</a:t>
          </a:r>
          <a:r>
            <a:rPr dirty="0"/>
            <a:t> </a:t>
          </a:r>
          <a:r>
            <a:rPr dirty="0" err="1"/>
            <a:t>erişilebilen</a:t>
          </a:r>
          <a:r>
            <a:rPr dirty="0"/>
            <a:t> </a:t>
          </a:r>
          <a:r>
            <a:rPr dirty="0" err="1"/>
            <a:t>otobüsler</a:t>
          </a:r>
          <a:r>
            <a:rPr dirty="0"/>
            <a:t> </a:t>
          </a:r>
          <a:r>
            <a:rPr dirty="0" err="1"/>
            <a:t>veya</a:t>
          </a:r>
          <a:r>
            <a:rPr dirty="0"/>
            <a:t> </a:t>
          </a:r>
          <a:r>
            <a:rPr dirty="0" err="1"/>
            <a:t>trenler</a:t>
          </a:r>
          <a:r>
            <a:rPr dirty="0"/>
            <a:t> </a:t>
          </a:r>
          <a:r>
            <a:rPr dirty="0" err="1"/>
            <a:t>gibi</a:t>
          </a:r>
          <a:r>
            <a:rPr dirty="0"/>
            <a:t> </a:t>
          </a:r>
          <a:r>
            <a:rPr dirty="0" err="1"/>
            <a:t>erişilebilir</a:t>
          </a:r>
          <a:r>
            <a:rPr dirty="0"/>
            <a:t> </a:t>
          </a:r>
          <a:r>
            <a:rPr dirty="0" err="1"/>
            <a:t>ulaşım</a:t>
          </a:r>
          <a:r>
            <a:rPr dirty="0"/>
            <a:t> </a:t>
          </a:r>
          <a:r>
            <a:rPr dirty="0" err="1"/>
            <a:t>seçenekleri</a:t>
          </a:r>
          <a:r>
            <a:rPr dirty="0"/>
            <a:t> </a:t>
          </a:r>
          <a:r>
            <a:rPr dirty="0" err="1"/>
            <a:t>hakkında</a:t>
          </a:r>
          <a:r>
            <a:rPr dirty="0"/>
            <a:t> </a:t>
          </a:r>
          <a:r>
            <a:rPr dirty="0" err="1"/>
            <a:t>gerçek</a:t>
          </a:r>
          <a:r>
            <a:rPr dirty="0"/>
            <a:t> </a:t>
          </a:r>
          <a:r>
            <a:rPr dirty="0" err="1"/>
            <a:t>zamanlı</a:t>
          </a:r>
          <a:r>
            <a:rPr dirty="0"/>
            <a:t> </a:t>
          </a:r>
          <a:r>
            <a:rPr dirty="0" err="1"/>
            <a:t>bilgi</a:t>
          </a:r>
          <a:r>
            <a:rPr dirty="0"/>
            <a:t> </a:t>
          </a:r>
          <a:r>
            <a:rPr dirty="0" err="1"/>
            <a:t>sağlayabilir</a:t>
          </a:r>
          <a:r>
            <a:rPr dirty="0"/>
            <a:t> </a:t>
          </a:r>
          <a:r>
            <a:rPr dirty="0" err="1"/>
            <a:t>ve</a:t>
          </a:r>
          <a:r>
            <a:rPr dirty="0"/>
            <a:t> </a:t>
          </a:r>
          <a:r>
            <a:rPr dirty="0" err="1"/>
            <a:t>engelli</a:t>
          </a:r>
          <a:r>
            <a:rPr dirty="0"/>
            <a:t> </a:t>
          </a:r>
          <a:r>
            <a:rPr dirty="0" err="1"/>
            <a:t>insanlar</a:t>
          </a:r>
          <a:r>
            <a:rPr dirty="0"/>
            <a:t> </a:t>
          </a:r>
          <a:r>
            <a:rPr dirty="0" err="1"/>
            <a:t>için</a:t>
          </a:r>
          <a:r>
            <a:rPr dirty="0"/>
            <a:t> </a:t>
          </a:r>
          <a:r>
            <a:rPr dirty="0" err="1"/>
            <a:t>mobilitenin</a:t>
          </a:r>
          <a:r>
            <a:rPr dirty="0"/>
            <a:t> </a:t>
          </a:r>
          <a:r>
            <a:rPr dirty="0" err="1"/>
            <a:t>geliştirilmesine</a:t>
          </a:r>
          <a:r>
            <a:rPr dirty="0"/>
            <a:t> </a:t>
          </a:r>
          <a:r>
            <a:rPr dirty="0" err="1"/>
            <a:t>yardımcı</a:t>
          </a:r>
          <a:r>
            <a:rPr dirty="0"/>
            <a:t> </a:t>
          </a:r>
          <a:r>
            <a:rPr dirty="0" err="1"/>
            <a:t>olabilir</a:t>
          </a:r>
          <a:r>
            <a:rPr dirty="0"/>
            <a:t>. </a:t>
          </a:r>
          <a:r>
            <a:rPr lang="en-US" dirty="0"/>
            <a:t>AUS</a:t>
          </a:r>
          <a:r>
            <a:rPr dirty="0"/>
            <a:t>, </a:t>
          </a:r>
          <a:r>
            <a:rPr dirty="0" err="1"/>
            <a:t>sınırlı</a:t>
          </a:r>
          <a:r>
            <a:rPr dirty="0"/>
            <a:t> </a:t>
          </a:r>
          <a:r>
            <a:rPr dirty="0" err="1"/>
            <a:t>toplu</a:t>
          </a:r>
          <a:r>
            <a:rPr dirty="0"/>
            <a:t> </a:t>
          </a:r>
          <a:r>
            <a:rPr dirty="0" err="1"/>
            <a:t>taşıma</a:t>
          </a:r>
          <a:r>
            <a:rPr dirty="0"/>
            <a:t> </a:t>
          </a:r>
          <a:r>
            <a:rPr dirty="0" err="1"/>
            <a:t>seçeneklerine</a:t>
          </a:r>
          <a:r>
            <a:rPr dirty="0"/>
            <a:t> </a:t>
          </a:r>
          <a:r>
            <a:rPr dirty="0" err="1"/>
            <a:t>sahip</a:t>
          </a:r>
          <a:r>
            <a:rPr dirty="0"/>
            <a:t> </a:t>
          </a:r>
          <a:r>
            <a:rPr dirty="0" err="1"/>
            <a:t>alanlarda</a:t>
          </a:r>
          <a:r>
            <a:rPr dirty="0"/>
            <a:t> </a:t>
          </a:r>
          <a:r>
            <a:rPr dirty="0" err="1"/>
            <a:t>erişilebilirliği</a:t>
          </a:r>
          <a:r>
            <a:rPr dirty="0"/>
            <a:t> </a:t>
          </a:r>
          <a:r>
            <a:rPr dirty="0" err="1"/>
            <a:t>artırabilen</a:t>
          </a:r>
          <a:r>
            <a:rPr dirty="0"/>
            <a:t> </a:t>
          </a:r>
          <a:r>
            <a:rPr dirty="0" err="1"/>
            <a:t>yolculuk</a:t>
          </a:r>
          <a:r>
            <a:rPr dirty="0"/>
            <a:t> </a:t>
          </a:r>
          <a:r>
            <a:rPr dirty="0" err="1"/>
            <a:t>paylaşımı</a:t>
          </a:r>
          <a:r>
            <a:rPr dirty="0"/>
            <a:t> </a:t>
          </a:r>
          <a:r>
            <a:rPr dirty="0" err="1"/>
            <a:t>veya</a:t>
          </a:r>
          <a:r>
            <a:rPr dirty="0"/>
            <a:t> </a:t>
          </a:r>
          <a:r>
            <a:rPr dirty="0" err="1"/>
            <a:t>mikrotransit</a:t>
          </a:r>
          <a:r>
            <a:rPr dirty="0"/>
            <a:t> </a:t>
          </a:r>
          <a:r>
            <a:rPr dirty="0" err="1"/>
            <a:t>hizmetleri</a:t>
          </a:r>
          <a:r>
            <a:rPr dirty="0"/>
            <a:t> </a:t>
          </a:r>
          <a:r>
            <a:rPr dirty="0" err="1"/>
            <a:t>gibi</a:t>
          </a:r>
          <a:r>
            <a:rPr dirty="0"/>
            <a:t> </a:t>
          </a:r>
          <a:r>
            <a:rPr dirty="0" err="1"/>
            <a:t>isteğe</a:t>
          </a:r>
          <a:r>
            <a:rPr dirty="0"/>
            <a:t> </a:t>
          </a:r>
          <a:r>
            <a:rPr dirty="0" err="1"/>
            <a:t>bağlı</a:t>
          </a:r>
          <a:r>
            <a:rPr dirty="0"/>
            <a:t> </a:t>
          </a:r>
          <a:r>
            <a:rPr dirty="0" err="1"/>
            <a:t>ulaşım</a:t>
          </a:r>
          <a:r>
            <a:rPr dirty="0"/>
            <a:t> </a:t>
          </a:r>
          <a:r>
            <a:rPr dirty="0" err="1"/>
            <a:t>hizmetleri</a:t>
          </a:r>
          <a:r>
            <a:rPr dirty="0"/>
            <a:t> de </a:t>
          </a:r>
          <a:r>
            <a:rPr dirty="0" err="1"/>
            <a:t>sağlayabilir</a:t>
          </a:r>
          <a:r>
            <a:rPr dirty="0"/>
            <a:t>.</a:t>
          </a:r>
        </a:p>
      </dgm:t>
    </dgm:pt>
    <dgm:pt modelId="{8ABC3A3E-D6E0-43DC-A46F-1D02D5833509}" type="parTrans" cxnId="{D6C0C854-8A20-45F9-97A4-CF948C6D867C}">
      <dgm:prSet/>
      <dgm:spPr/>
      <dgm:t>
        <a:bodyPr/>
        <a:lstStyle/>
        <a:p>
          <a:endParaRPr lang="en-US"/>
        </a:p>
      </dgm:t>
    </dgm:pt>
    <dgm:pt modelId="{4994F53F-331E-4EC1-B16E-A5064B0346C9}" type="sibTrans" cxnId="{D6C0C854-8A20-45F9-97A4-CF948C6D867C}">
      <dgm:prSet/>
      <dgm:spPr/>
      <dgm:t>
        <a:bodyPr/>
        <a:lstStyle/>
        <a:p>
          <a:endParaRPr lang="en-US"/>
        </a:p>
      </dgm:t>
    </dgm:pt>
    <dgm:pt modelId="{9625D118-A297-406C-B326-9CA57493C62D}">
      <dgm:prSet/>
      <dgm:spPr/>
      <dgm:t>
        <a:bodyPr/>
        <a:lstStyle/>
        <a:p>
          <a:r>
            <a:rPr b="1" dirty="0" err="1"/>
            <a:t>Geliştirilmiş</a:t>
          </a:r>
          <a:r>
            <a:rPr b="1" dirty="0"/>
            <a:t> Ulaşım </a:t>
          </a:r>
          <a:r>
            <a:rPr b="1" dirty="0" err="1"/>
            <a:t>Eşitliği</a:t>
          </a:r>
          <a:r>
            <a:rPr b="1" dirty="0"/>
            <a:t>: </a:t>
          </a:r>
          <a:r>
            <a:rPr lang="en-US" dirty="0"/>
            <a:t>AUS</a:t>
          </a:r>
          <a:r>
            <a:rPr dirty="0"/>
            <a:t>, </a:t>
          </a:r>
          <a:r>
            <a:rPr dirty="0" err="1"/>
            <a:t>tüm</a:t>
          </a:r>
          <a:r>
            <a:rPr dirty="0"/>
            <a:t> </a:t>
          </a:r>
          <a:r>
            <a:rPr dirty="0" err="1"/>
            <a:t>kullanıcılara</a:t>
          </a:r>
          <a:r>
            <a:rPr dirty="0"/>
            <a:t> </a:t>
          </a:r>
          <a:r>
            <a:rPr dirty="0" err="1"/>
            <a:t>gerçek</a:t>
          </a:r>
          <a:r>
            <a:rPr dirty="0"/>
            <a:t> </a:t>
          </a:r>
          <a:r>
            <a:rPr dirty="0" err="1"/>
            <a:t>zamanlı</a:t>
          </a:r>
          <a:r>
            <a:rPr dirty="0"/>
            <a:t> </a:t>
          </a:r>
          <a:r>
            <a:rPr dirty="0" err="1"/>
            <a:t>bilgi</a:t>
          </a:r>
          <a:r>
            <a:rPr dirty="0"/>
            <a:t> </a:t>
          </a:r>
          <a:r>
            <a:rPr dirty="0" err="1"/>
            <a:t>ve</a:t>
          </a:r>
          <a:r>
            <a:rPr dirty="0"/>
            <a:t> multimodal </a:t>
          </a:r>
          <a:r>
            <a:rPr dirty="0" err="1"/>
            <a:t>ulaşım</a:t>
          </a:r>
          <a:r>
            <a:rPr dirty="0"/>
            <a:t> </a:t>
          </a:r>
          <a:r>
            <a:rPr dirty="0" err="1"/>
            <a:t>seçenekleri</a:t>
          </a:r>
          <a:r>
            <a:rPr dirty="0"/>
            <a:t> </a:t>
          </a:r>
          <a:r>
            <a:rPr dirty="0" err="1"/>
            <a:t>sunarak</a:t>
          </a:r>
          <a:r>
            <a:rPr dirty="0"/>
            <a:t> </a:t>
          </a:r>
          <a:r>
            <a:rPr dirty="0" err="1"/>
            <a:t>ulaşım</a:t>
          </a:r>
          <a:r>
            <a:rPr dirty="0"/>
            <a:t> </a:t>
          </a:r>
          <a:r>
            <a:rPr dirty="0" err="1"/>
            <a:t>eşitliğini</a:t>
          </a:r>
          <a:r>
            <a:rPr dirty="0"/>
            <a:t> </a:t>
          </a:r>
          <a:r>
            <a:rPr dirty="0" err="1"/>
            <a:t>artırabilir</a:t>
          </a:r>
          <a:r>
            <a:rPr dirty="0"/>
            <a:t>. </a:t>
          </a:r>
          <a:r>
            <a:rPr dirty="0" err="1"/>
            <a:t>Örneğin</a:t>
          </a:r>
          <a:r>
            <a:rPr dirty="0"/>
            <a:t>, </a:t>
          </a:r>
          <a:r>
            <a:rPr lang="en-US" dirty="0"/>
            <a:t>AUS</a:t>
          </a:r>
          <a:r>
            <a:rPr dirty="0"/>
            <a:t> </a:t>
          </a:r>
          <a:r>
            <a:rPr dirty="0" err="1"/>
            <a:t>toplu</a:t>
          </a:r>
          <a:r>
            <a:rPr dirty="0"/>
            <a:t> </a:t>
          </a:r>
          <a:r>
            <a:rPr dirty="0" err="1"/>
            <a:t>taşıma</a:t>
          </a:r>
          <a:r>
            <a:rPr dirty="0"/>
            <a:t> </a:t>
          </a:r>
          <a:r>
            <a:rPr dirty="0" err="1"/>
            <a:t>programları</a:t>
          </a:r>
          <a:r>
            <a:rPr dirty="0"/>
            <a:t> </a:t>
          </a:r>
          <a:r>
            <a:rPr dirty="0" err="1"/>
            <a:t>ve</a:t>
          </a:r>
          <a:r>
            <a:rPr dirty="0"/>
            <a:t> </a:t>
          </a:r>
          <a:r>
            <a:rPr dirty="0" err="1"/>
            <a:t>kullanılabilirliği</a:t>
          </a:r>
          <a:r>
            <a:rPr dirty="0"/>
            <a:t> </a:t>
          </a:r>
          <a:r>
            <a:rPr dirty="0" err="1"/>
            <a:t>hakkında</a:t>
          </a:r>
          <a:r>
            <a:rPr dirty="0"/>
            <a:t> </a:t>
          </a:r>
          <a:r>
            <a:rPr dirty="0" err="1"/>
            <a:t>gerçek</a:t>
          </a:r>
          <a:r>
            <a:rPr dirty="0"/>
            <a:t> </a:t>
          </a:r>
          <a:r>
            <a:rPr dirty="0" err="1"/>
            <a:t>zamanlı</a:t>
          </a:r>
          <a:r>
            <a:rPr dirty="0"/>
            <a:t> </a:t>
          </a:r>
          <a:r>
            <a:rPr dirty="0" err="1"/>
            <a:t>bilgi</a:t>
          </a:r>
          <a:r>
            <a:rPr dirty="0"/>
            <a:t> </a:t>
          </a:r>
          <a:r>
            <a:rPr dirty="0" err="1"/>
            <a:t>sağlayabilir</a:t>
          </a:r>
          <a:r>
            <a:rPr dirty="0"/>
            <a:t> </a:t>
          </a:r>
          <a:r>
            <a:rPr dirty="0" err="1"/>
            <a:t>ve</a:t>
          </a:r>
          <a:r>
            <a:rPr dirty="0"/>
            <a:t> </a:t>
          </a:r>
          <a:r>
            <a:rPr dirty="0" err="1"/>
            <a:t>düşük</a:t>
          </a:r>
          <a:r>
            <a:rPr dirty="0"/>
            <a:t> </a:t>
          </a:r>
          <a:r>
            <a:rPr dirty="0" err="1"/>
            <a:t>gelirli</a:t>
          </a:r>
          <a:r>
            <a:rPr dirty="0"/>
            <a:t> </a:t>
          </a:r>
          <a:r>
            <a:rPr dirty="0" err="1"/>
            <a:t>veya</a:t>
          </a:r>
          <a:r>
            <a:rPr dirty="0"/>
            <a:t> </a:t>
          </a:r>
          <a:r>
            <a:rPr dirty="0" err="1"/>
            <a:t>dezavantajlı</a:t>
          </a:r>
          <a:r>
            <a:rPr dirty="0"/>
            <a:t> </a:t>
          </a:r>
          <a:r>
            <a:rPr dirty="0" err="1"/>
            <a:t>nüfuslar</a:t>
          </a:r>
          <a:r>
            <a:rPr dirty="0"/>
            <a:t> </a:t>
          </a:r>
          <a:r>
            <a:rPr dirty="0" err="1"/>
            <a:t>için</a:t>
          </a:r>
          <a:r>
            <a:rPr dirty="0"/>
            <a:t> </a:t>
          </a:r>
          <a:r>
            <a:rPr dirty="0" err="1"/>
            <a:t>ulaşıma</a:t>
          </a:r>
          <a:r>
            <a:rPr dirty="0"/>
            <a:t> </a:t>
          </a:r>
          <a:r>
            <a:rPr dirty="0" err="1"/>
            <a:t>erişimi</a:t>
          </a:r>
          <a:r>
            <a:rPr dirty="0"/>
            <a:t> </a:t>
          </a:r>
          <a:r>
            <a:rPr dirty="0" err="1"/>
            <a:t>iyileştirmeye</a:t>
          </a:r>
          <a:r>
            <a:rPr dirty="0"/>
            <a:t> </a:t>
          </a:r>
          <a:r>
            <a:rPr dirty="0" err="1"/>
            <a:t>yardımcı</a:t>
          </a:r>
          <a:r>
            <a:rPr dirty="0"/>
            <a:t> </a:t>
          </a:r>
          <a:r>
            <a:rPr dirty="0" err="1"/>
            <a:t>olabilir</a:t>
          </a:r>
          <a:r>
            <a:rPr dirty="0"/>
            <a:t>. </a:t>
          </a:r>
          <a:r>
            <a:rPr lang="en-US" dirty="0"/>
            <a:t>AUS</a:t>
          </a:r>
          <a:r>
            <a:rPr dirty="0"/>
            <a:t> </a:t>
          </a:r>
          <a:r>
            <a:rPr dirty="0" err="1"/>
            <a:t>ayrıca</a:t>
          </a:r>
          <a:r>
            <a:rPr dirty="0"/>
            <a:t>, </a:t>
          </a:r>
          <a:r>
            <a:rPr dirty="0" err="1"/>
            <a:t>sınırlı</a:t>
          </a:r>
          <a:r>
            <a:rPr dirty="0"/>
            <a:t> </a:t>
          </a:r>
          <a:r>
            <a:rPr dirty="0" err="1"/>
            <a:t>toplu</a:t>
          </a:r>
          <a:r>
            <a:rPr dirty="0"/>
            <a:t> </a:t>
          </a:r>
          <a:r>
            <a:rPr dirty="0" err="1"/>
            <a:t>taşıma</a:t>
          </a:r>
          <a:r>
            <a:rPr dirty="0"/>
            <a:t> </a:t>
          </a:r>
          <a:r>
            <a:rPr dirty="0" err="1"/>
            <a:t>alanlarına</a:t>
          </a:r>
          <a:r>
            <a:rPr dirty="0"/>
            <a:t> </a:t>
          </a:r>
          <a:r>
            <a:rPr dirty="0" err="1"/>
            <a:t>ulaşım</a:t>
          </a:r>
          <a:r>
            <a:rPr dirty="0"/>
            <a:t> </a:t>
          </a:r>
          <a:r>
            <a:rPr dirty="0" err="1"/>
            <a:t>seçeneklerini</a:t>
          </a:r>
          <a:r>
            <a:rPr dirty="0"/>
            <a:t> </a:t>
          </a:r>
          <a:r>
            <a:rPr dirty="0" err="1"/>
            <a:t>iyileştirebilen</a:t>
          </a:r>
          <a:r>
            <a:rPr dirty="0"/>
            <a:t> </a:t>
          </a:r>
          <a:r>
            <a:rPr dirty="0" err="1"/>
            <a:t>yolculuk</a:t>
          </a:r>
          <a:r>
            <a:rPr dirty="0"/>
            <a:t> </a:t>
          </a:r>
          <a:r>
            <a:rPr dirty="0" err="1"/>
            <a:t>paylaşımı</a:t>
          </a:r>
          <a:r>
            <a:rPr dirty="0"/>
            <a:t> </a:t>
          </a:r>
          <a:r>
            <a:rPr dirty="0" err="1"/>
            <a:t>veya</a:t>
          </a:r>
          <a:r>
            <a:rPr dirty="0"/>
            <a:t> </a:t>
          </a:r>
          <a:r>
            <a:rPr dirty="0" err="1"/>
            <a:t>mikrotransit</a:t>
          </a:r>
          <a:r>
            <a:rPr dirty="0"/>
            <a:t> </a:t>
          </a:r>
          <a:r>
            <a:rPr dirty="0" err="1"/>
            <a:t>hizmetleri</a:t>
          </a:r>
          <a:r>
            <a:rPr dirty="0"/>
            <a:t> </a:t>
          </a:r>
          <a:r>
            <a:rPr dirty="0" err="1"/>
            <a:t>gibi</a:t>
          </a:r>
          <a:r>
            <a:rPr dirty="0"/>
            <a:t> </a:t>
          </a:r>
          <a:r>
            <a:rPr dirty="0" err="1"/>
            <a:t>isteğe</a:t>
          </a:r>
          <a:r>
            <a:rPr dirty="0"/>
            <a:t> </a:t>
          </a:r>
          <a:r>
            <a:rPr dirty="0" err="1"/>
            <a:t>bağlı</a:t>
          </a:r>
          <a:r>
            <a:rPr dirty="0"/>
            <a:t> </a:t>
          </a:r>
          <a:r>
            <a:rPr dirty="0" err="1"/>
            <a:t>ulaşım</a:t>
          </a:r>
          <a:r>
            <a:rPr dirty="0"/>
            <a:t> </a:t>
          </a:r>
          <a:r>
            <a:rPr dirty="0" err="1"/>
            <a:t>hizmetleri</a:t>
          </a:r>
          <a:r>
            <a:rPr dirty="0"/>
            <a:t> de </a:t>
          </a:r>
          <a:r>
            <a:rPr dirty="0" err="1"/>
            <a:t>sağlayabilir</a:t>
          </a:r>
          <a:r>
            <a:rPr dirty="0"/>
            <a:t>.</a:t>
          </a:r>
        </a:p>
      </dgm:t>
    </dgm:pt>
    <dgm:pt modelId="{8292B8C4-5221-4C8D-9EC5-A903EFB498C6}" type="parTrans" cxnId="{669A2266-B6F4-4765-AC49-BD0BF6A03382}">
      <dgm:prSet/>
      <dgm:spPr/>
      <dgm:t>
        <a:bodyPr/>
        <a:lstStyle/>
        <a:p>
          <a:endParaRPr lang="en-US"/>
        </a:p>
      </dgm:t>
    </dgm:pt>
    <dgm:pt modelId="{4A88DD35-0EB3-4FE0-87B6-59E6E3C2E428}" type="sibTrans" cxnId="{669A2266-B6F4-4765-AC49-BD0BF6A03382}">
      <dgm:prSet/>
      <dgm:spPr/>
      <dgm:t>
        <a:bodyPr/>
        <a:lstStyle/>
        <a:p>
          <a:endParaRPr lang="en-US"/>
        </a:p>
      </dgm:t>
    </dgm:pt>
    <dgm:pt modelId="{C9D9BD35-5134-40DD-A1BF-20912726FFE3}" type="pres">
      <dgm:prSet presAssocID="{079806C6-358E-415F-A6F2-4E74A0507418}" presName="linear" presStyleCnt="0">
        <dgm:presLayoutVars>
          <dgm:animLvl val="lvl"/>
          <dgm:resizeHandles val="exact"/>
        </dgm:presLayoutVars>
      </dgm:prSet>
      <dgm:spPr/>
    </dgm:pt>
    <dgm:pt modelId="{CD0EDCA2-B425-4085-8F8A-80BD352B6444}" type="pres">
      <dgm:prSet presAssocID="{3AFAA238-D84C-4942-9F31-32F74FF46BD4}" presName="parentText" presStyleLbl="node1" presStyleIdx="0" presStyleCnt="5">
        <dgm:presLayoutVars>
          <dgm:chMax val="0"/>
          <dgm:bulletEnabled val="1"/>
        </dgm:presLayoutVars>
      </dgm:prSet>
      <dgm:spPr/>
    </dgm:pt>
    <dgm:pt modelId="{4FF78B3C-7558-4DC1-A4DF-4468191459F9}" type="pres">
      <dgm:prSet presAssocID="{ADCAFFE6-53D6-4086-8303-62C23BDC87E1}" presName="spacer" presStyleCnt="0"/>
      <dgm:spPr/>
    </dgm:pt>
    <dgm:pt modelId="{281D3753-905C-43EC-AEF6-9499421896AE}" type="pres">
      <dgm:prSet presAssocID="{0E13A002-B951-4394-9FEB-62C72B47630C}" presName="parentText" presStyleLbl="node1" presStyleIdx="1" presStyleCnt="5">
        <dgm:presLayoutVars>
          <dgm:chMax val="0"/>
          <dgm:bulletEnabled val="1"/>
        </dgm:presLayoutVars>
      </dgm:prSet>
      <dgm:spPr/>
    </dgm:pt>
    <dgm:pt modelId="{73CB6C26-6211-4CCB-A5E6-747F7B5157B9}" type="pres">
      <dgm:prSet presAssocID="{055CCE32-00D7-411E-B019-AD588BADBD00}" presName="spacer" presStyleCnt="0"/>
      <dgm:spPr/>
    </dgm:pt>
    <dgm:pt modelId="{4EC6018A-F088-4486-87C0-585F5705CB77}" type="pres">
      <dgm:prSet presAssocID="{45FA35E2-49C4-4D08-84CA-9B9A31C65F2B}" presName="parentText" presStyleLbl="node1" presStyleIdx="2" presStyleCnt="5">
        <dgm:presLayoutVars>
          <dgm:chMax val="0"/>
          <dgm:bulletEnabled val="1"/>
        </dgm:presLayoutVars>
      </dgm:prSet>
      <dgm:spPr/>
    </dgm:pt>
    <dgm:pt modelId="{54EA723F-C71C-4E69-91F4-1C68C071902F}" type="pres">
      <dgm:prSet presAssocID="{C844A3DD-2925-4BDD-AA19-030F65B78153}" presName="spacer" presStyleCnt="0"/>
      <dgm:spPr/>
    </dgm:pt>
    <dgm:pt modelId="{12095086-8C66-4E54-957C-70622D8BEF8A}" type="pres">
      <dgm:prSet presAssocID="{C5D7D13E-B1AA-4702-B64E-F249EB0AFF92}" presName="parentText" presStyleLbl="node1" presStyleIdx="3" presStyleCnt="5">
        <dgm:presLayoutVars>
          <dgm:chMax val="0"/>
          <dgm:bulletEnabled val="1"/>
        </dgm:presLayoutVars>
      </dgm:prSet>
      <dgm:spPr/>
    </dgm:pt>
    <dgm:pt modelId="{8E8D9EA2-DFBC-4D7C-80F6-95EACD1327BF}" type="pres">
      <dgm:prSet presAssocID="{4994F53F-331E-4EC1-B16E-A5064B0346C9}" presName="spacer" presStyleCnt="0"/>
      <dgm:spPr/>
    </dgm:pt>
    <dgm:pt modelId="{2F26C50C-4BC6-4E60-BDF8-D1AB98E0F9DB}" type="pres">
      <dgm:prSet presAssocID="{9625D118-A297-406C-B326-9CA57493C62D}" presName="parentText" presStyleLbl="node1" presStyleIdx="4" presStyleCnt="5">
        <dgm:presLayoutVars>
          <dgm:chMax val="0"/>
          <dgm:bulletEnabled val="1"/>
        </dgm:presLayoutVars>
      </dgm:prSet>
      <dgm:spPr/>
    </dgm:pt>
  </dgm:ptLst>
  <dgm:cxnLst>
    <dgm:cxn modelId="{21FB5D20-5EF5-4A84-A091-F75DE02BDDDC}" srcId="{079806C6-358E-415F-A6F2-4E74A0507418}" destId="{3AFAA238-D84C-4942-9F31-32F74FF46BD4}" srcOrd="0" destOrd="0" parTransId="{1A9A46A7-8A8D-464A-8D54-FEA2A6EBB6B5}" sibTransId="{ADCAFFE6-53D6-4086-8303-62C23BDC87E1}"/>
    <dgm:cxn modelId="{4FDE7426-F8B6-4187-BD0F-368A705DDED7}" srcId="{079806C6-358E-415F-A6F2-4E74A0507418}" destId="{45FA35E2-49C4-4D08-84CA-9B9A31C65F2B}" srcOrd="2" destOrd="0" parTransId="{F0B26092-B520-40E4-978D-DB582D8249B8}" sibTransId="{C844A3DD-2925-4BDD-AA19-030F65B78153}"/>
    <dgm:cxn modelId="{F4E2A030-A8AB-40D4-8F07-A84FEA00ED2A}" type="presOf" srcId="{3AFAA238-D84C-4942-9F31-32F74FF46BD4}" destId="{CD0EDCA2-B425-4085-8F8A-80BD352B6444}" srcOrd="0" destOrd="0" presId="urn:microsoft.com/office/officeart/2005/8/layout/vList2"/>
    <dgm:cxn modelId="{9B957B3B-400D-43C8-B0D6-858BF657D8B7}" type="presOf" srcId="{45FA35E2-49C4-4D08-84CA-9B9A31C65F2B}" destId="{4EC6018A-F088-4486-87C0-585F5705CB77}" srcOrd="0" destOrd="0" presId="urn:microsoft.com/office/officeart/2005/8/layout/vList2"/>
    <dgm:cxn modelId="{669A2266-B6F4-4765-AC49-BD0BF6A03382}" srcId="{079806C6-358E-415F-A6F2-4E74A0507418}" destId="{9625D118-A297-406C-B326-9CA57493C62D}" srcOrd="4" destOrd="0" parTransId="{8292B8C4-5221-4C8D-9EC5-A903EFB498C6}" sibTransId="{4A88DD35-0EB3-4FE0-87B6-59E6E3C2E428}"/>
    <dgm:cxn modelId="{1C1BCF4C-6F9E-4101-993A-0DDB55DBC481}" srcId="{079806C6-358E-415F-A6F2-4E74A0507418}" destId="{0E13A002-B951-4394-9FEB-62C72B47630C}" srcOrd="1" destOrd="0" parTransId="{43E854DC-32E5-4993-9BF5-6C028B5713AC}" sibTransId="{055CCE32-00D7-411E-B019-AD588BADBD00}"/>
    <dgm:cxn modelId="{D6C0C854-8A20-45F9-97A4-CF948C6D867C}" srcId="{079806C6-358E-415F-A6F2-4E74A0507418}" destId="{C5D7D13E-B1AA-4702-B64E-F249EB0AFF92}" srcOrd="3" destOrd="0" parTransId="{8ABC3A3E-D6E0-43DC-A46F-1D02D5833509}" sibTransId="{4994F53F-331E-4EC1-B16E-A5064B0346C9}"/>
    <dgm:cxn modelId="{3E3FC6A5-ED17-421F-85EC-E49413F156A1}" type="presOf" srcId="{079806C6-358E-415F-A6F2-4E74A0507418}" destId="{C9D9BD35-5134-40DD-A1BF-20912726FFE3}" srcOrd="0" destOrd="0" presId="urn:microsoft.com/office/officeart/2005/8/layout/vList2"/>
    <dgm:cxn modelId="{021325AC-C7DB-44A2-A13D-669BABC85985}" type="presOf" srcId="{C5D7D13E-B1AA-4702-B64E-F249EB0AFF92}" destId="{12095086-8C66-4E54-957C-70622D8BEF8A}" srcOrd="0" destOrd="0" presId="urn:microsoft.com/office/officeart/2005/8/layout/vList2"/>
    <dgm:cxn modelId="{494C94CB-2B27-4DDB-953E-BBFC16FF4027}" type="presOf" srcId="{0E13A002-B951-4394-9FEB-62C72B47630C}" destId="{281D3753-905C-43EC-AEF6-9499421896AE}" srcOrd="0" destOrd="0" presId="urn:microsoft.com/office/officeart/2005/8/layout/vList2"/>
    <dgm:cxn modelId="{393A92D1-6E92-48F6-B52E-43D699A0C681}" type="presOf" srcId="{9625D118-A297-406C-B326-9CA57493C62D}" destId="{2F26C50C-4BC6-4E60-BDF8-D1AB98E0F9DB}" srcOrd="0" destOrd="0" presId="urn:microsoft.com/office/officeart/2005/8/layout/vList2"/>
    <dgm:cxn modelId="{73AEAFE9-7E9F-4294-A484-6BE857A46C47}" type="presParOf" srcId="{C9D9BD35-5134-40DD-A1BF-20912726FFE3}" destId="{CD0EDCA2-B425-4085-8F8A-80BD352B6444}" srcOrd="0" destOrd="0" presId="urn:microsoft.com/office/officeart/2005/8/layout/vList2"/>
    <dgm:cxn modelId="{C3232D36-F9C5-46AF-A361-60E5416003FE}" type="presParOf" srcId="{C9D9BD35-5134-40DD-A1BF-20912726FFE3}" destId="{4FF78B3C-7558-4DC1-A4DF-4468191459F9}" srcOrd="1" destOrd="0" presId="urn:microsoft.com/office/officeart/2005/8/layout/vList2"/>
    <dgm:cxn modelId="{31922910-7EAE-4F45-AE82-70A8EB93E99F}" type="presParOf" srcId="{C9D9BD35-5134-40DD-A1BF-20912726FFE3}" destId="{281D3753-905C-43EC-AEF6-9499421896AE}" srcOrd="2" destOrd="0" presId="urn:microsoft.com/office/officeart/2005/8/layout/vList2"/>
    <dgm:cxn modelId="{F0810C29-6DF4-4490-9A30-C2670E021C8D}" type="presParOf" srcId="{C9D9BD35-5134-40DD-A1BF-20912726FFE3}" destId="{73CB6C26-6211-4CCB-A5E6-747F7B5157B9}" srcOrd="3" destOrd="0" presId="urn:microsoft.com/office/officeart/2005/8/layout/vList2"/>
    <dgm:cxn modelId="{3054BB7A-BDFC-4ED7-AB71-C00F04BE25FF}" type="presParOf" srcId="{C9D9BD35-5134-40DD-A1BF-20912726FFE3}" destId="{4EC6018A-F088-4486-87C0-585F5705CB77}" srcOrd="4" destOrd="0" presId="urn:microsoft.com/office/officeart/2005/8/layout/vList2"/>
    <dgm:cxn modelId="{DC3DC060-66E1-4FCC-AF81-D746BB298383}" type="presParOf" srcId="{C9D9BD35-5134-40DD-A1BF-20912726FFE3}" destId="{54EA723F-C71C-4E69-91F4-1C68C071902F}" srcOrd="5" destOrd="0" presId="urn:microsoft.com/office/officeart/2005/8/layout/vList2"/>
    <dgm:cxn modelId="{099A5486-D794-4ACA-A10D-636281E47D16}" type="presParOf" srcId="{C9D9BD35-5134-40DD-A1BF-20912726FFE3}" destId="{12095086-8C66-4E54-957C-70622D8BEF8A}" srcOrd="6" destOrd="0" presId="urn:microsoft.com/office/officeart/2005/8/layout/vList2"/>
    <dgm:cxn modelId="{BB22733D-02B8-4317-9C27-09BD3EE6F41E}" type="presParOf" srcId="{C9D9BD35-5134-40DD-A1BF-20912726FFE3}" destId="{8E8D9EA2-DFBC-4D7C-80F6-95EACD1327BF}" srcOrd="7" destOrd="0" presId="urn:microsoft.com/office/officeart/2005/8/layout/vList2"/>
    <dgm:cxn modelId="{55FE8C9F-7123-4E8A-A212-B8E2BD063DCD}" type="presParOf" srcId="{C9D9BD35-5134-40DD-A1BF-20912726FFE3}" destId="{2F26C50C-4BC6-4E60-BDF8-D1AB98E0F9DB}" srcOrd="8"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ACA66587-B9AC-4AD4-8AA6-D1305BE5130C}" type="doc">
      <dgm:prSet loTypeId="urn:microsoft.com/office/officeart/2005/8/layout/vList2" loCatId="list" qsTypeId="urn:microsoft.com/office/officeart/2005/8/quickstyle/simple1" qsCatId="simple" csTypeId="urn:microsoft.com/office/officeart/2005/8/colors/colorful4" csCatId="colorful" phldr="1"/>
      <dgm:spPr/>
      <dgm:t>
        <a:bodyPr/>
        <a:lstStyle/>
        <a:p>
          <a:endParaRPr lang="en-US"/>
        </a:p>
      </dgm:t>
    </dgm:pt>
    <dgm:pt modelId="{9A8BC95D-46BC-4BEA-811E-37654163E2B4}">
      <dgm:prSet custT="1"/>
      <dgm:spPr/>
      <dgm:t>
        <a:bodyPr/>
        <a:lstStyle/>
        <a:p>
          <a:pPr algn="just"/>
          <a:r>
            <a:rPr lang="en-US" sz="1200" dirty="0"/>
            <a:t>AUS</a:t>
          </a:r>
          <a:r>
            <a:rPr sz="1200" dirty="0"/>
            <a:t> </a:t>
          </a:r>
          <a:r>
            <a:rPr sz="1200" dirty="0" err="1"/>
            <a:t>birçok</a:t>
          </a:r>
          <a:r>
            <a:rPr sz="1200" dirty="0"/>
            <a:t> </a:t>
          </a:r>
          <a:r>
            <a:rPr sz="1200" dirty="0" err="1"/>
            <a:t>fayda</a:t>
          </a:r>
          <a:r>
            <a:rPr sz="1200" dirty="0"/>
            <a:t> </a:t>
          </a:r>
          <a:r>
            <a:rPr sz="1200" dirty="0" err="1"/>
            <a:t>sunarken</a:t>
          </a:r>
          <a:r>
            <a:rPr sz="1200" dirty="0"/>
            <a:t>, </a:t>
          </a:r>
          <a:r>
            <a:rPr sz="1200" dirty="0" err="1"/>
            <a:t>uygulanmasıyla</a:t>
          </a:r>
          <a:r>
            <a:rPr sz="1200" dirty="0"/>
            <a:t> </a:t>
          </a:r>
          <a:r>
            <a:rPr sz="1200" dirty="0" err="1"/>
            <a:t>ilgili</a:t>
          </a:r>
          <a:r>
            <a:rPr sz="1200" dirty="0"/>
            <a:t> </a:t>
          </a:r>
          <a:r>
            <a:rPr sz="1200" dirty="0" err="1"/>
            <a:t>önemli</a:t>
          </a:r>
          <a:r>
            <a:rPr sz="1200" dirty="0"/>
            <a:t> </a:t>
          </a:r>
          <a:r>
            <a:rPr sz="1200" dirty="0" err="1"/>
            <a:t>teknik</a:t>
          </a:r>
          <a:r>
            <a:rPr sz="1200" dirty="0"/>
            <a:t> </a:t>
          </a:r>
          <a:r>
            <a:rPr sz="1200" dirty="0" err="1"/>
            <a:t>zorluklar</a:t>
          </a:r>
          <a:r>
            <a:rPr sz="1200" dirty="0"/>
            <a:t> da </a:t>
          </a:r>
          <a:r>
            <a:rPr sz="1200" dirty="0" err="1"/>
            <a:t>vardır</a:t>
          </a:r>
          <a:r>
            <a:rPr sz="1200" dirty="0"/>
            <a:t>. Bu </a:t>
          </a:r>
          <a:r>
            <a:rPr sz="1200" dirty="0" err="1"/>
            <a:t>zorluklardan</a:t>
          </a:r>
          <a:r>
            <a:rPr sz="1200" dirty="0"/>
            <a:t> </a:t>
          </a:r>
          <a:r>
            <a:rPr sz="1200" dirty="0" err="1"/>
            <a:t>bazıları</a:t>
          </a:r>
          <a:r>
            <a:rPr sz="1200" dirty="0"/>
            <a:t> </a:t>
          </a:r>
          <a:r>
            <a:rPr sz="1200" dirty="0" err="1"/>
            <a:t>şunlardır</a:t>
          </a:r>
          <a:r>
            <a:rPr sz="1200" dirty="0"/>
            <a:t>:</a:t>
          </a:r>
        </a:p>
      </dgm:t>
    </dgm:pt>
    <dgm:pt modelId="{89E4EB4C-DD58-4F05-B4C8-837A1472F4AF}" type="parTrans" cxnId="{9FCC00CD-D395-4F24-80F0-1664F61DF7B4}">
      <dgm:prSet/>
      <dgm:spPr/>
      <dgm:t>
        <a:bodyPr/>
        <a:lstStyle/>
        <a:p>
          <a:pPr algn="just"/>
          <a:endParaRPr lang="en-US"/>
        </a:p>
      </dgm:t>
    </dgm:pt>
    <dgm:pt modelId="{0B3FFC70-5C69-46D0-9B10-BC2CFE4ABF19}" type="sibTrans" cxnId="{9FCC00CD-D395-4F24-80F0-1664F61DF7B4}">
      <dgm:prSet/>
      <dgm:spPr/>
      <dgm:t>
        <a:bodyPr/>
        <a:lstStyle/>
        <a:p>
          <a:pPr algn="just"/>
          <a:endParaRPr lang="en-US"/>
        </a:p>
      </dgm:t>
    </dgm:pt>
    <dgm:pt modelId="{5AAB0D5E-4EBF-407A-AC6E-BBD330D6B0CC}">
      <dgm:prSet custT="1"/>
      <dgm:spPr/>
      <dgm:t>
        <a:bodyPr/>
        <a:lstStyle/>
        <a:p>
          <a:pPr marL="57150" lvl="1" indent="0" algn="just" defTabSz="444500">
            <a:lnSpc>
              <a:spcPct val="90000"/>
            </a:lnSpc>
            <a:spcBef>
              <a:spcPct val="0"/>
            </a:spcBef>
            <a:spcAft>
              <a:spcPct val="20000"/>
            </a:spcAft>
            <a:buFont typeface="Arial" panose="020B0604020202020204" pitchFamily="34" charset="0"/>
            <a:buChar char="•"/>
            <a:defRPr sz="1000" kern="1200"/>
          </a:pPr>
          <a:r>
            <a:rPr sz="1050" b="1" dirty="0" err="1"/>
            <a:t>Karmaşık</a:t>
          </a:r>
          <a:r>
            <a:rPr sz="1050" b="1" dirty="0"/>
            <a:t> </a:t>
          </a:r>
          <a:r>
            <a:rPr sz="1050" b="1" dirty="0" err="1"/>
            <a:t>Altyapı</a:t>
          </a:r>
          <a:r>
            <a:rPr sz="1050" b="1" dirty="0"/>
            <a:t>: </a:t>
          </a:r>
          <a:r>
            <a:rPr lang="en-US" sz="1050" dirty="0" err="1"/>
            <a:t>AUS</a:t>
          </a:r>
          <a:r>
            <a:rPr sz="1050" dirty="0" err="1"/>
            <a:t>'nin</a:t>
          </a:r>
          <a:r>
            <a:rPr sz="1050" dirty="0"/>
            <a:t> </a:t>
          </a:r>
          <a:r>
            <a:rPr sz="1050" dirty="0" err="1"/>
            <a:t>uygulanması</a:t>
          </a:r>
          <a:r>
            <a:rPr sz="1050" dirty="0"/>
            <a:t>, </a:t>
          </a:r>
          <a:r>
            <a:rPr sz="1050" dirty="0" err="1"/>
            <a:t>sensörler</a:t>
          </a:r>
          <a:r>
            <a:rPr sz="1050" dirty="0"/>
            <a:t>, </a:t>
          </a:r>
          <a:r>
            <a:rPr sz="1050" dirty="0" err="1"/>
            <a:t>kameralar</a:t>
          </a:r>
          <a:r>
            <a:rPr sz="1050" dirty="0"/>
            <a:t>, </a:t>
          </a:r>
          <a:r>
            <a:rPr sz="1050" dirty="0" err="1"/>
            <a:t>iletişim</a:t>
          </a:r>
          <a:r>
            <a:rPr sz="1050" dirty="0"/>
            <a:t> </a:t>
          </a:r>
          <a:r>
            <a:rPr sz="1050" dirty="0" err="1"/>
            <a:t>ağları</a:t>
          </a:r>
          <a:r>
            <a:rPr sz="1050" dirty="0"/>
            <a:t> </a:t>
          </a:r>
          <a:r>
            <a:rPr sz="1050" dirty="0" err="1"/>
            <a:t>ve</a:t>
          </a:r>
          <a:r>
            <a:rPr sz="1050" dirty="0"/>
            <a:t> </a:t>
          </a:r>
          <a:r>
            <a:rPr sz="1050" dirty="0" err="1"/>
            <a:t>veri</a:t>
          </a:r>
          <a:r>
            <a:rPr sz="1050" dirty="0"/>
            <a:t> </a:t>
          </a:r>
          <a:r>
            <a:rPr sz="1050" dirty="0" err="1"/>
            <a:t>merkezleri</a:t>
          </a:r>
          <a:r>
            <a:rPr sz="1050" dirty="0"/>
            <a:t> </a:t>
          </a:r>
          <a:r>
            <a:rPr sz="1050" dirty="0" err="1"/>
            <a:t>dahil</a:t>
          </a:r>
          <a:r>
            <a:rPr sz="1050" dirty="0"/>
            <a:t> </a:t>
          </a:r>
          <a:r>
            <a:rPr sz="1050" dirty="0" err="1"/>
            <a:t>olmak</a:t>
          </a:r>
          <a:r>
            <a:rPr sz="1050" dirty="0"/>
            <a:t> </a:t>
          </a:r>
          <a:r>
            <a:rPr sz="1050" dirty="0" err="1"/>
            <a:t>üzere</a:t>
          </a:r>
          <a:r>
            <a:rPr sz="1050" dirty="0"/>
            <a:t> </a:t>
          </a:r>
          <a:r>
            <a:rPr sz="1050" dirty="0" err="1"/>
            <a:t>iletişim</a:t>
          </a:r>
          <a:r>
            <a:rPr sz="1050" dirty="0"/>
            <a:t> </a:t>
          </a:r>
          <a:r>
            <a:rPr sz="1050" dirty="0" err="1"/>
            <a:t>teknolojilerinin</a:t>
          </a:r>
          <a:r>
            <a:rPr sz="1050" dirty="0"/>
            <a:t> </a:t>
          </a:r>
          <a:r>
            <a:rPr sz="1050" dirty="0" err="1"/>
            <a:t>karmaşık</a:t>
          </a:r>
          <a:r>
            <a:rPr sz="1050" dirty="0"/>
            <a:t> </a:t>
          </a:r>
          <a:r>
            <a:rPr sz="1050" dirty="0" err="1"/>
            <a:t>bir</a:t>
          </a:r>
          <a:r>
            <a:rPr sz="1050" dirty="0"/>
            <a:t> </a:t>
          </a:r>
          <a:r>
            <a:rPr lang="tr-TR" sz="1050" dirty="0"/>
            <a:t>altyapısını</a:t>
          </a:r>
          <a:r>
            <a:rPr sz="1050" dirty="0"/>
            <a:t> </a:t>
          </a:r>
          <a:r>
            <a:rPr sz="1050" dirty="0" err="1"/>
            <a:t>gerektirir</a:t>
          </a:r>
          <a:r>
            <a:rPr sz="1050" dirty="0"/>
            <a:t>. Bu </a:t>
          </a:r>
          <a:r>
            <a:rPr sz="1050" dirty="0" err="1"/>
            <a:t>altyapı</a:t>
          </a:r>
          <a:r>
            <a:rPr sz="1050" dirty="0"/>
            <a:t>, </a:t>
          </a:r>
          <a:r>
            <a:rPr sz="1050" dirty="0" err="1"/>
            <a:t>sistemlerinin</a:t>
          </a:r>
          <a:r>
            <a:rPr sz="1050" dirty="0"/>
            <a:t> </a:t>
          </a:r>
          <a:r>
            <a:rPr sz="1050" dirty="0" err="1"/>
            <a:t>etkin</a:t>
          </a:r>
          <a:r>
            <a:rPr sz="1050" dirty="0"/>
            <a:t> </a:t>
          </a:r>
          <a:r>
            <a:rPr sz="1050" dirty="0" err="1"/>
            <a:t>çalışmasını</a:t>
          </a:r>
          <a:r>
            <a:rPr sz="1050" dirty="0"/>
            <a:t> </a:t>
          </a:r>
          <a:r>
            <a:rPr sz="1050" dirty="0" err="1"/>
            <a:t>sağlamak</a:t>
          </a:r>
          <a:r>
            <a:rPr sz="1050" dirty="0"/>
            <a:t> </a:t>
          </a:r>
          <a:r>
            <a:rPr sz="1050" dirty="0" err="1"/>
            <a:t>için</a:t>
          </a:r>
          <a:r>
            <a:rPr sz="1050" dirty="0"/>
            <a:t> </a:t>
          </a:r>
          <a:r>
            <a:rPr sz="1050" dirty="0" err="1"/>
            <a:t>entegre</a:t>
          </a:r>
          <a:r>
            <a:rPr sz="1050" dirty="0"/>
            <a:t> </a:t>
          </a:r>
          <a:r>
            <a:rPr sz="1050" dirty="0" err="1"/>
            <a:t>edilmeli</a:t>
          </a:r>
          <a:r>
            <a:rPr sz="1050" dirty="0"/>
            <a:t> </a:t>
          </a:r>
          <a:r>
            <a:rPr sz="1050" dirty="0" err="1"/>
            <a:t>ve</a:t>
          </a:r>
          <a:r>
            <a:rPr sz="1050" dirty="0"/>
            <a:t> </a:t>
          </a:r>
          <a:r>
            <a:rPr sz="1050" dirty="0" err="1"/>
            <a:t>sürdürülmelidir</a:t>
          </a:r>
          <a:r>
            <a:rPr sz="1050" dirty="0"/>
            <a:t>.</a:t>
          </a:r>
        </a:p>
      </dgm:t>
    </dgm:pt>
    <dgm:pt modelId="{7F9FCDFA-DDB5-4CFC-9143-0A1DA250DEEE}" type="parTrans" cxnId="{CF8363EE-928A-4058-98CA-1DC4BB3A9AE4}">
      <dgm:prSet/>
      <dgm:spPr/>
      <dgm:t>
        <a:bodyPr/>
        <a:lstStyle/>
        <a:p>
          <a:pPr algn="just"/>
          <a:endParaRPr lang="en-US"/>
        </a:p>
      </dgm:t>
    </dgm:pt>
    <dgm:pt modelId="{90319DE1-6839-440C-B751-E4DB4083BFDF}" type="sibTrans" cxnId="{CF8363EE-928A-4058-98CA-1DC4BB3A9AE4}">
      <dgm:prSet/>
      <dgm:spPr/>
      <dgm:t>
        <a:bodyPr/>
        <a:lstStyle/>
        <a:p>
          <a:pPr algn="just"/>
          <a:endParaRPr lang="en-US"/>
        </a:p>
      </dgm:t>
    </dgm:pt>
    <dgm:pt modelId="{F67B55D3-BA3A-4928-AEBD-B0C171BB838E}">
      <dgm:prSet custT="1"/>
      <dgm:spPr/>
      <dgm:t>
        <a:bodyPr/>
        <a:lstStyle/>
        <a:p>
          <a:pPr marL="57150" lvl="1" indent="-57150" algn="just" defTabSz="444500">
            <a:lnSpc>
              <a:spcPct val="90000"/>
            </a:lnSpc>
            <a:spcBef>
              <a:spcPct val="0"/>
            </a:spcBef>
            <a:spcAft>
              <a:spcPct val="20000"/>
            </a:spcAft>
            <a:buFont typeface="Arial" panose="020B0604020202020204" pitchFamily="34" charset="0"/>
            <a:buChar char="•"/>
            <a:defRPr sz="1000" kern="1200">
              <a:latin typeface="Calibri" panose="020F0502020204030204"/>
              <a:ea typeface="+mn-ea"/>
              <a:cs typeface="+mn-cs"/>
            </a:defRPr>
          </a:pPr>
          <a:r>
            <a:rPr sz="1050" b="1" dirty="0" err="1"/>
            <a:t>Siber</a:t>
          </a:r>
          <a:r>
            <a:rPr sz="1050" b="1" dirty="0"/>
            <a:t> </a:t>
          </a:r>
          <a:r>
            <a:rPr sz="1050" b="1" dirty="0" err="1"/>
            <a:t>Güvenlik</a:t>
          </a:r>
          <a:r>
            <a:rPr sz="1050" b="1" dirty="0"/>
            <a:t> </a:t>
          </a:r>
          <a:r>
            <a:rPr sz="1050" b="1" dirty="0" err="1"/>
            <a:t>ve</a:t>
          </a:r>
          <a:r>
            <a:rPr sz="1050" b="1" dirty="0"/>
            <a:t> Veri </a:t>
          </a:r>
          <a:r>
            <a:rPr sz="1050" b="1" dirty="0" err="1"/>
            <a:t>Gizliliği</a:t>
          </a:r>
          <a:r>
            <a:rPr sz="1050" b="1" dirty="0"/>
            <a:t>: </a:t>
          </a:r>
          <a:r>
            <a:rPr lang="en-US" sz="1050" dirty="0" err="1"/>
            <a:t>AUS</a:t>
          </a:r>
          <a:r>
            <a:rPr sz="1050" dirty="0" err="1"/>
            <a:t>'nin</a:t>
          </a:r>
          <a:r>
            <a:rPr sz="1050" dirty="0"/>
            <a:t> </a:t>
          </a:r>
          <a:r>
            <a:rPr sz="1050" dirty="0" err="1"/>
            <a:t>uygulanması</a:t>
          </a:r>
          <a:r>
            <a:rPr sz="1050" dirty="0"/>
            <a:t>, </a:t>
          </a:r>
          <a:r>
            <a:rPr sz="1050" dirty="0" err="1"/>
            <a:t>hassas</a:t>
          </a:r>
          <a:r>
            <a:rPr sz="1050" dirty="0"/>
            <a:t> </a:t>
          </a:r>
          <a:r>
            <a:rPr sz="1050" dirty="0" err="1"/>
            <a:t>verileri</a:t>
          </a:r>
          <a:r>
            <a:rPr sz="1050" dirty="0"/>
            <a:t> </a:t>
          </a:r>
          <a:r>
            <a:rPr sz="1050" dirty="0" err="1"/>
            <a:t>siber</a:t>
          </a:r>
          <a:r>
            <a:rPr sz="1050" dirty="0"/>
            <a:t> </a:t>
          </a:r>
          <a:r>
            <a:rPr sz="1050" dirty="0" err="1"/>
            <a:t>tehditlerden</a:t>
          </a:r>
          <a:r>
            <a:rPr sz="1050" dirty="0"/>
            <a:t> </a:t>
          </a:r>
          <a:r>
            <a:rPr sz="1050" dirty="0" err="1"/>
            <a:t>korumak</a:t>
          </a:r>
          <a:r>
            <a:rPr sz="1050" dirty="0"/>
            <a:t> </a:t>
          </a:r>
          <a:r>
            <a:rPr sz="1050" dirty="0" err="1"/>
            <a:t>ve</a:t>
          </a:r>
          <a:r>
            <a:rPr sz="1050" dirty="0"/>
            <a:t> GDPR </a:t>
          </a:r>
          <a:r>
            <a:rPr sz="1050" dirty="0" err="1"/>
            <a:t>ve</a:t>
          </a:r>
          <a:r>
            <a:rPr sz="1050" dirty="0"/>
            <a:t> CCPA </a:t>
          </a:r>
          <a:r>
            <a:rPr sz="1050" dirty="0" err="1"/>
            <a:t>gibi</a:t>
          </a:r>
          <a:r>
            <a:rPr sz="1050" dirty="0"/>
            <a:t> </a:t>
          </a:r>
          <a:r>
            <a:rPr sz="1050" dirty="0" err="1"/>
            <a:t>veri</a:t>
          </a:r>
          <a:r>
            <a:rPr sz="1050" dirty="0"/>
            <a:t> </a:t>
          </a:r>
          <a:r>
            <a:rPr sz="1050" dirty="0" err="1"/>
            <a:t>gizliliği</a:t>
          </a:r>
          <a:r>
            <a:rPr sz="1050" dirty="0"/>
            <a:t> </a:t>
          </a:r>
          <a:r>
            <a:rPr sz="1050" dirty="0" err="1"/>
            <a:t>düzenlemelerine</a:t>
          </a:r>
          <a:r>
            <a:rPr sz="1050" dirty="0"/>
            <a:t> </a:t>
          </a:r>
          <a:r>
            <a:rPr sz="1050" dirty="0" err="1"/>
            <a:t>uyumu</a:t>
          </a:r>
          <a:r>
            <a:rPr sz="1050" dirty="0"/>
            <a:t> </a:t>
          </a:r>
          <a:r>
            <a:rPr sz="1050" dirty="0" err="1"/>
            <a:t>sağlamak</a:t>
          </a:r>
          <a:r>
            <a:rPr sz="1050" dirty="0"/>
            <a:t> </a:t>
          </a:r>
          <a:r>
            <a:rPr sz="1050" dirty="0" err="1"/>
            <a:t>için</a:t>
          </a:r>
          <a:r>
            <a:rPr sz="1050" dirty="0"/>
            <a:t> </a:t>
          </a:r>
          <a:r>
            <a:rPr sz="1050" dirty="0" err="1"/>
            <a:t>gelişmiş</a:t>
          </a:r>
          <a:r>
            <a:rPr sz="1050" dirty="0"/>
            <a:t> </a:t>
          </a:r>
          <a:r>
            <a:rPr sz="1050" dirty="0" err="1"/>
            <a:t>siber</a:t>
          </a:r>
          <a:r>
            <a:rPr sz="1050" dirty="0"/>
            <a:t> </a:t>
          </a:r>
          <a:r>
            <a:rPr sz="1050" dirty="0" err="1"/>
            <a:t>güvenlik</a:t>
          </a:r>
          <a:r>
            <a:rPr sz="1050" dirty="0"/>
            <a:t> </a:t>
          </a:r>
          <a:r>
            <a:rPr sz="1050" dirty="0" err="1"/>
            <a:t>ve</a:t>
          </a:r>
          <a:r>
            <a:rPr sz="1050" dirty="0"/>
            <a:t> </a:t>
          </a:r>
          <a:r>
            <a:rPr sz="1050" dirty="0" err="1"/>
            <a:t>veri</a:t>
          </a:r>
          <a:r>
            <a:rPr sz="1050" dirty="0"/>
            <a:t> </a:t>
          </a:r>
          <a:r>
            <a:rPr sz="1050" dirty="0" err="1"/>
            <a:t>gizliliği</a:t>
          </a:r>
          <a:r>
            <a:rPr sz="1050" dirty="0"/>
            <a:t> </a:t>
          </a:r>
          <a:r>
            <a:rPr sz="1050" dirty="0" err="1"/>
            <a:t>önlemleri</a:t>
          </a:r>
          <a:r>
            <a:rPr sz="1050" dirty="0"/>
            <a:t> </a:t>
          </a:r>
          <a:r>
            <a:rPr sz="1050" dirty="0" err="1"/>
            <a:t>gerektirebilir</a:t>
          </a:r>
          <a:r>
            <a:rPr sz="1050" dirty="0"/>
            <a:t>. </a:t>
          </a:r>
          <a:r>
            <a:rPr sz="1050" dirty="0" err="1"/>
            <a:t>Sistemler</a:t>
          </a:r>
          <a:r>
            <a:rPr sz="1050" dirty="0"/>
            <a:t> </a:t>
          </a:r>
          <a:r>
            <a:rPr sz="1050" dirty="0" err="1"/>
            <a:t>tarafından</a:t>
          </a:r>
          <a:r>
            <a:rPr sz="1050" dirty="0"/>
            <a:t> </a:t>
          </a:r>
          <a:r>
            <a:rPr sz="1050" dirty="0" err="1"/>
            <a:t>üretilen</a:t>
          </a:r>
          <a:r>
            <a:rPr sz="1050" dirty="0"/>
            <a:t> </a:t>
          </a:r>
          <a:r>
            <a:rPr sz="1050" dirty="0" err="1"/>
            <a:t>büyük</a:t>
          </a:r>
          <a:r>
            <a:rPr sz="1050" dirty="0"/>
            <a:t> </a:t>
          </a:r>
          <a:r>
            <a:rPr sz="1050" dirty="0" err="1"/>
            <a:t>miktardaki</a:t>
          </a:r>
          <a:r>
            <a:rPr sz="1050" dirty="0"/>
            <a:t> </a:t>
          </a:r>
          <a:r>
            <a:rPr sz="1050" dirty="0" err="1"/>
            <a:t>veriler</a:t>
          </a:r>
          <a:r>
            <a:rPr sz="1050" dirty="0"/>
            <a:t> </a:t>
          </a:r>
          <a:r>
            <a:rPr sz="1050" dirty="0" err="1"/>
            <a:t>siber</a:t>
          </a:r>
          <a:r>
            <a:rPr sz="1050" dirty="0"/>
            <a:t> </a:t>
          </a:r>
          <a:r>
            <a:rPr sz="1050" dirty="0" err="1"/>
            <a:t>tehditlerden</a:t>
          </a:r>
          <a:r>
            <a:rPr sz="1050" dirty="0"/>
            <a:t> </a:t>
          </a:r>
          <a:r>
            <a:rPr sz="1050" dirty="0" err="1"/>
            <a:t>korunmalı</a:t>
          </a:r>
          <a:r>
            <a:rPr sz="1050" dirty="0"/>
            <a:t> </a:t>
          </a:r>
          <a:r>
            <a:rPr sz="1050" dirty="0" err="1"/>
            <a:t>ve</a:t>
          </a:r>
          <a:r>
            <a:rPr sz="1050" dirty="0"/>
            <a:t> </a:t>
          </a:r>
          <a:r>
            <a:rPr sz="1050" dirty="0" err="1"/>
            <a:t>veri</a:t>
          </a:r>
          <a:r>
            <a:rPr sz="1050" dirty="0"/>
            <a:t> </a:t>
          </a:r>
          <a:r>
            <a:rPr sz="1050" dirty="0" err="1"/>
            <a:t>gizliliği</a:t>
          </a:r>
          <a:r>
            <a:rPr sz="1050" dirty="0"/>
            <a:t> </a:t>
          </a:r>
          <a:r>
            <a:rPr sz="1050" dirty="0" err="1"/>
            <a:t>düzenlemelerine</a:t>
          </a:r>
          <a:r>
            <a:rPr sz="1050" dirty="0"/>
            <a:t> </a:t>
          </a:r>
          <a:r>
            <a:rPr sz="1050" dirty="0" err="1"/>
            <a:t>uygun</a:t>
          </a:r>
          <a:r>
            <a:rPr sz="1050" dirty="0"/>
            <a:t> </a:t>
          </a:r>
          <a:r>
            <a:rPr sz="1050" dirty="0" err="1"/>
            <a:t>olarak</a:t>
          </a:r>
          <a:r>
            <a:rPr sz="1050" dirty="0"/>
            <a:t> </a:t>
          </a:r>
          <a:r>
            <a:rPr sz="1050" dirty="0" err="1"/>
            <a:t>yönetilmelidir</a:t>
          </a:r>
          <a:r>
            <a:rPr sz="1050" dirty="0"/>
            <a:t>.</a:t>
          </a:r>
        </a:p>
      </dgm:t>
    </dgm:pt>
    <dgm:pt modelId="{BB2B4056-603C-4EFA-9160-CF8B9B95468D}" type="parTrans" cxnId="{A2F10BB1-79F5-4FC3-84A2-29A0301F5B72}">
      <dgm:prSet/>
      <dgm:spPr/>
      <dgm:t>
        <a:bodyPr/>
        <a:lstStyle/>
        <a:p>
          <a:pPr algn="just"/>
          <a:endParaRPr lang="en-US"/>
        </a:p>
      </dgm:t>
    </dgm:pt>
    <dgm:pt modelId="{CC78B8E0-78D8-40DC-BFE8-08BEBF57FEBD}" type="sibTrans" cxnId="{A2F10BB1-79F5-4FC3-84A2-29A0301F5B72}">
      <dgm:prSet/>
      <dgm:spPr/>
      <dgm:t>
        <a:bodyPr/>
        <a:lstStyle/>
        <a:p>
          <a:pPr algn="just"/>
          <a:endParaRPr lang="en-US"/>
        </a:p>
      </dgm:t>
    </dgm:pt>
    <dgm:pt modelId="{3D06C469-AC96-46F1-8E70-E2214AEC6048}">
      <dgm:prSet custT="1"/>
      <dgm:spPr/>
      <dgm:t>
        <a:bodyPr/>
        <a:lstStyle/>
        <a:p>
          <a:pPr marL="57150" lvl="1" indent="-57150" algn="just" defTabSz="444500">
            <a:lnSpc>
              <a:spcPct val="90000"/>
            </a:lnSpc>
            <a:spcBef>
              <a:spcPct val="0"/>
            </a:spcBef>
            <a:spcAft>
              <a:spcPct val="20000"/>
            </a:spcAft>
            <a:buFont typeface="Arial" panose="020B0604020202020204" pitchFamily="34" charset="0"/>
            <a:buChar char="•"/>
            <a:defRPr sz="1000" kern="1200">
              <a:latin typeface="Calibri" panose="020F0502020204030204"/>
              <a:ea typeface="+mn-ea"/>
              <a:cs typeface="+mn-cs"/>
            </a:defRPr>
          </a:pPr>
          <a:r>
            <a:rPr sz="1050" b="1"/>
            <a:t>Birlikte çalışabilirlik: </a:t>
          </a:r>
          <a:r>
            <a:rPr sz="1050"/>
            <a:t>Sistemleri, birbirleriyle ve diğer ulaşım sistemleriyle iletişim kurabilmelerini sağlamak için birlikte çalışabilir olmalıdır. Bu, iletişim ve veri alışverişi için ortak teknik standartların ve protokollerin geliştirilmesini gerektirir.</a:t>
          </a:r>
        </a:p>
      </dgm:t>
    </dgm:pt>
    <dgm:pt modelId="{9E93BDB5-F432-4561-BF09-622773586D5E}" type="parTrans" cxnId="{2A42DD9F-BE8F-4D5B-95F8-D64958EA3A58}">
      <dgm:prSet/>
      <dgm:spPr/>
      <dgm:t>
        <a:bodyPr/>
        <a:lstStyle/>
        <a:p>
          <a:pPr algn="just"/>
          <a:endParaRPr lang="en-US"/>
        </a:p>
      </dgm:t>
    </dgm:pt>
    <dgm:pt modelId="{9475174A-4798-45CD-827B-13C84779169D}" type="sibTrans" cxnId="{2A42DD9F-BE8F-4D5B-95F8-D64958EA3A58}">
      <dgm:prSet/>
      <dgm:spPr/>
      <dgm:t>
        <a:bodyPr/>
        <a:lstStyle/>
        <a:p>
          <a:pPr algn="just"/>
          <a:endParaRPr lang="en-US"/>
        </a:p>
      </dgm:t>
    </dgm:pt>
    <dgm:pt modelId="{47E16B77-DAFE-415D-9C9E-83EC4F6DA83F}">
      <dgm:prSet custT="1"/>
      <dgm:spPr/>
      <dgm:t>
        <a:bodyPr/>
        <a:lstStyle/>
        <a:p>
          <a:pPr marL="57150" lvl="1" indent="-57150" algn="just" defTabSz="444500">
            <a:lnSpc>
              <a:spcPct val="90000"/>
            </a:lnSpc>
            <a:spcBef>
              <a:spcPct val="0"/>
            </a:spcBef>
            <a:spcAft>
              <a:spcPct val="20000"/>
            </a:spcAft>
            <a:buFont typeface="Arial" panose="020B0604020202020204" pitchFamily="34" charset="0"/>
            <a:buChar char="•"/>
            <a:defRPr sz="1000" kern="1200">
              <a:latin typeface="Calibri" panose="020F0502020204030204"/>
              <a:ea typeface="+mn-ea"/>
              <a:cs typeface="+mn-cs"/>
            </a:defRPr>
          </a:pPr>
          <a:r>
            <a:rPr sz="1050" b="1" dirty="0" err="1"/>
            <a:t>Maliyet</a:t>
          </a:r>
          <a:r>
            <a:rPr sz="1050" b="1" dirty="0"/>
            <a:t>: </a:t>
          </a:r>
          <a:r>
            <a:rPr lang="en-US" sz="1050" dirty="0" err="1"/>
            <a:t>AUS</a:t>
          </a:r>
          <a:r>
            <a:rPr sz="1050" dirty="0" err="1"/>
            <a:t>'nin</a:t>
          </a:r>
          <a:r>
            <a:rPr sz="1050" dirty="0"/>
            <a:t> </a:t>
          </a:r>
          <a:r>
            <a:rPr sz="1050" dirty="0" err="1"/>
            <a:t>uygulanması</a:t>
          </a:r>
          <a:r>
            <a:rPr sz="1050" dirty="0"/>
            <a:t> </a:t>
          </a:r>
          <a:r>
            <a:rPr sz="1050" dirty="0" err="1"/>
            <a:t>maliyetli</a:t>
          </a:r>
          <a:r>
            <a:rPr sz="1050" dirty="0"/>
            <a:t> </a:t>
          </a:r>
          <a:r>
            <a:rPr sz="1050" dirty="0" err="1"/>
            <a:t>olabilir</a:t>
          </a:r>
          <a:r>
            <a:rPr sz="1050" dirty="0"/>
            <a:t> </a:t>
          </a:r>
          <a:r>
            <a:rPr sz="1050" dirty="0" err="1"/>
            <a:t>ve</a:t>
          </a:r>
          <a:r>
            <a:rPr sz="1050" dirty="0"/>
            <a:t> </a:t>
          </a:r>
          <a:r>
            <a:rPr sz="1050" dirty="0" err="1"/>
            <a:t>altyapı</a:t>
          </a:r>
          <a:r>
            <a:rPr sz="1050" dirty="0"/>
            <a:t> </a:t>
          </a:r>
          <a:r>
            <a:rPr sz="1050" dirty="0" err="1"/>
            <a:t>ve</a:t>
          </a:r>
          <a:r>
            <a:rPr sz="1050" dirty="0"/>
            <a:t> </a:t>
          </a:r>
          <a:r>
            <a:rPr sz="1050" dirty="0" err="1"/>
            <a:t>teknolojiye</a:t>
          </a:r>
          <a:r>
            <a:rPr sz="1050" dirty="0"/>
            <a:t> </a:t>
          </a:r>
          <a:r>
            <a:rPr sz="1050" dirty="0" err="1"/>
            <a:t>önemli</a:t>
          </a:r>
          <a:r>
            <a:rPr sz="1050" dirty="0"/>
            <a:t> </a:t>
          </a:r>
          <a:r>
            <a:rPr sz="1050" dirty="0" err="1"/>
            <a:t>yatırımlar</a:t>
          </a:r>
          <a:r>
            <a:rPr sz="1050" dirty="0"/>
            <a:t> </a:t>
          </a:r>
          <a:r>
            <a:rPr sz="1050" dirty="0" err="1"/>
            <a:t>gerektirir</a:t>
          </a:r>
          <a:r>
            <a:rPr sz="1050" dirty="0"/>
            <a:t>. Ek </a:t>
          </a:r>
          <a:r>
            <a:rPr sz="1050" dirty="0" err="1"/>
            <a:t>olarak</a:t>
          </a:r>
          <a:r>
            <a:rPr sz="1050" dirty="0"/>
            <a:t>, </a:t>
          </a:r>
          <a:r>
            <a:rPr sz="1050" dirty="0" err="1"/>
            <a:t>sistemlerinde</a:t>
          </a:r>
          <a:r>
            <a:rPr sz="1050" dirty="0"/>
            <a:t> </a:t>
          </a:r>
          <a:r>
            <a:rPr lang="tr-TR" sz="1050" dirty="0"/>
            <a:t>devam</a:t>
          </a:r>
          <a:r>
            <a:rPr sz="1050" dirty="0"/>
            <a:t> </a:t>
          </a:r>
          <a:r>
            <a:rPr sz="1050" dirty="0" err="1"/>
            <a:t>eden</a:t>
          </a:r>
          <a:r>
            <a:rPr sz="1050" dirty="0"/>
            <a:t> </a:t>
          </a:r>
          <a:r>
            <a:rPr sz="1050" dirty="0" err="1"/>
            <a:t>bakım</a:t>
          </a:r>
          <a:r>
            <a:rPr sz="1050" dirty="0"/>
            <a:t> </a:t>
          </a:r>
          <a:r>
            <a:rPr sz="1050" dirty="0" err="1"/>
            <a:t>ve</a:t>
          </a:r>
          <a:r>
            <a:rPr sz="1050" dirty="0"/>
            <a:t> </a:t>
          </a:r>
          <a:r>
            <a:rPr sz="1050" dirty="0" err="1"/>
            <a:t>yükseltmeler</a:t>
          </a:r>
          <a:r>
            <a:rPr sz="1050" dirty="0"/>
            <a:t> </a:t>
          </a:r>
          <a:r>
            <a:rPr sz="1050" dirty="0" err="1"/>
            <a:t>pahalı</a:t>
          </a:r>
          <a:r>
            <a:rPr sz="1050" dirty="0"/>
            <a:t> </a:t>
          </a:r>
          <a:r>
            <a:rPr sz="1050" dirty="0" err="1"/>
            <a:t>olabilir</a:t>
          </a:r>
          <a:r>
            <a:rPr sz="1050" dirty="0"/>
            <a:t>.</a:t>
          </a:r>
        </a:p>
      </dgm:t>
    </dgm:pt>
    <dgm:pt modelId="{A44AED09-59C4-4410-970D-E3A1ABF3408A}" type="parTrans" cxnId="{487FCA3D-EBEC-4CAA-AB00-02EA399139BC}">
      <dgm:prSet/>
      <dgm:spPr/>
      <dgm:t>
        <a:bodyPr/>
        <a:lstStyle/>
        <a:p>
          <a:pPr algn="just"/>
          <a:endParaRPr lang="en-US"/>
        </a:p>
      </dgm:t>
    </dgm:pt>
    <dgm:pt modelId="{75B980F9-0F52-457D-A9CC-BABA8359C373}" type="sibTrans" cxnId="{487FCA3D-EBEC-4CAA-AB00-02EA399139BC}">
      <dgm:prSet/>
      <dgm:spPr/>
      <dgm:t>
        <a:bodyPr/>
        <a:lstStyle/>
        <a:p>
          <a:pPr algn="just"/>
          <a:endParaRPr lang="en-US"/>
        </a:p>
      </dgm:t>
    </dgm:pt>
    <dgm:pt modelId="{A70A4D4E-3E82-4502-8A48-EEFE735E11CF}">
      <dgm:prSet custT="1"/>
      <dgm:spPr/>
      <dgm:t>
        <a:bodyPr/>
        <a:lstStyle/>
        <a:p>
          <a:pPr algn="just"/>
          <a:r>
            <a:rPr sz="1200" dirty="0"/>
            <a:t>Bu </a:t>
          </a:r>
          <a:r>
            <a:rPr sz="1200" dirty="0" err="1"/>
            <a:t>teknik</a:t>
          </a:r>
          <a:r>
            <a:rPr sz="1200" dirty="0"/>
            <a:t> </a:t>
          </a:r>
          <a:r>
            <a:rPr sz="1200" dirty="0" err="1"/>
            <a:t>zorlukların</a:t>
          </a:r>
          <a:r>
            <a:rPr sz="1200" dirty="0"/>
            <a:t> </a:t>
          </a:r>
          <a:r>
            <a:rPr sz="1200" dirty="0" err="1"/>
            <a:t>üstesinden</a:t>
          </a:r>
          <a:r>
            <a:rPr sz="1200" dirty="0"/>
            <a:t> </a:t>
          </a:r>
          <a:r>
            <a:rPr sz="1200" dirty="0" err="1"/>
            <a:t>gelmek</a:t>
          </a:r>
          <a:r>
            <a:rPr sz="1200" dirty="0"/>
            <a:t>, </a:t>
          </a:r>
          <a:r>
            <a:rPr sz="1200" dirty="0" err="1"/>
            <a:t>devlet</a:t>
          </a:r>
          <a:r>
            <a:rPr sz="1200" dirty="0"/>
            <a:t> </a:t>
          </a:r>
          <a:r>
            <a:rPr sz="1200" dirty="0" err="1"/>
            <a:t>kurumları</a:t>
          </a:r>
          <a:r>
            <a:rPr sz="1200" dirty="0"/>
            <a:t>, </a:t>
          </a:r>
          <a:r>
            <a:rPr sz="1200" dirty="0" err="1"/>
            <a:t>ulaşım</a:t>
          </a:r>
          <a:r>
            <a:rPr sz="1200" dirty="0"/>
            <a:t> </a:t>
          </a:r>
          <a:r>
            <a:rPr sz="1200" dirty="0" err="1"/>
            <a:t>sağlayıcıları</a:t>
          </a:r>
          <a:r>
            <a:rPr sz="1200" dirty="0"/>
            <a:t>, </a:t>
          </a:r>
          <a:r>
            <a:rPr sz="1200" dirty="0" err="1"/>
            <a:t>teknoloji</a:t>
          </a:r>
          <a:r>
            <a:rPr sz="1200" dirty="0"/>
            <a:t> </a:t>
          </a:r>
          <a:r>
            <a:rPr sz="1200" dirty="0" err="1"/>
            <a:t>şirketleri</a:t>
          </a:r>
          <a:r>
            <a:rPr sz="1200" dirty="0"/>
            <a:t> </a:t>
          </a:r>
          <a:r>
            <a:rPr sz="1200" dirty="0" err="1"/>
            <a:t>ve</a:t>
          </a:r>
          <a:r>
            <a:rPr sz="1200" dirty="0"/>
            <a:t> </a:t>
          </a:r>
          <a:r>
            <a:rPr sz="1200" dirty="0" err="1"/>
            <a:t>diğer</a:t>
          </a:r>
          <a:r>
            <a:rPr sz="1200" dirty="0"/>
            <a:t> </a:t>
          </a:r>
          <a:r>
            <a:rPr sz="1200" dirty="0" err="1"/>
            <a:t>paydaşlar</a:t>
          </a:r>
          <a:r>
            <a:rPr sz="1200" dirty="0"/>
            <a:t> </a:t>
          </a:r>
          <a:r>
            <a:rPr sz="1200" dirty="0" err="1"/>
            <a:t>arasında</a:t>
          </a:r>
          <a:r>
            <a:rPr sz="1200" dirty="0"/>
            <a:t> </a:t>
          </a:r>
          <a:r>
            <a:rPr sz="1200" dirty="0" err="1"/>
            <a:t>işbirliği</a:t>
          </a:r>
          <a:r>
            <a:rPr sz="1200" dirty="0"/>
            <a:t> </a:t>
          </a:r>
          <a:r>
            <a:rPr sz="1200" dirty="0" err="1"/>
            <a:t>gerektirir</a:t>
          </a:r>
          <a:r>
            <a:rPr sz="1200" dirty="0"/>
            <a:t>. </a:t>
          </a:r>
          <a:r>
            <a:rPr sz="1200" dirty="0" err="1"/>
            <a:t>Ortak</a:t>
          </a:r>
          <a:r>
            <a:rPr sz="1200" dirty="0"/>
            <a:t> </a:t>
          </a:r>
          <a:r>
            <a:rPr sz="1200" dirty="0" err="1"/>
            <a:t>teknik</a:t>
          </a:r>
          <a:r>
            <a:rPr sz="1200" dirty="0"/>
            <a:t> </a:t>
          </a:r>
          <a:r>
            <a:rPr sz="1200" dirty="0" err="1"/>
            <a:t>standartlar</a:t>
          </a:r>
          <a:r>
            <a:rPr sz="1200" dirty="0"/>
            <a:t> </a:t>
          </a:r>
          <a:r>
            <a:rPr sz="1200" dirty="0" err="1"/>
            <a:t>ve</a:t>
          </a:r>
          <a:r>
            <a:rPr sz="1200" dirty="0"/>
            <a:t> </a:t>
          </a:r>
          <a:r>
            <a:rPr sz="1200" dirty="0" err="1"/>
            <a:t>protokoller</a:t>
          </a:r>
          <a:r>
            <a:rPr sz="1200" dirty="0"/>
            <a:t> </a:t>
          </a:r>
          <a:r>
            <a:rPr sz="1200" dirty="0" err="1"/>
            <a:t>geliştirmek</a:t>
          </a:r>
          <a:r>
            <a:rPr sz="1200" dirty="0"/>
            <a:t>, </a:t>
          </a:r>
          <a:r>
            <a:rPr sz="1200" dirty="0" err="1"/>
            <a:t>veri</a:t>
          </a:r>
          <a:r>
            <a:rPr sz="1200" dirty="0"/>
            <a:t> </a:t>
          </a:r>
          <a:r>
            <a:rPr sz="1200" dirty="0" err="1"/>
            <a:t>ve</a:t>
          </a:r>
          <a:r>
            <a:rPr sz="1200" dirty="0"/>
            <a:t> </a:t>
          </a:r>
          <a:r>
            <a:rPr sz="1200" dirty="0" err="1"/>
            <a:t>kaynakları</a:t>
          </a:r>
          <a:r>
            <a:rPr sz="1200" dirty="0"/>
            <a:t> </a:t>
          </a:r>
          <a:r>
            <a:rPr sz="1200" dirty="0" err="1"/>
            <a:t>paylaşmak</a:t>
          </a:r>
          <a:r>
            <a:rPr sz="1200" dirty="0"/>
            <a:t> </a:t>
          </a:r>
          <a:r>
            <a:rPr sz="1200" dirty="0" err="1"/>
            <a:t>ve</a:t>
          </a:r>
          <a:r>
            <a:rPr sz="1200" dirty="0"/>
            <a:t> </a:t>
          </a:r>
          <a:r>
            <a:rPr sz="1200" dirty="0" err="1"/>
            <a:t>araştırma</a:t>
          </a:r>
          <a:r>
            <a:rPr sz="1200" dirty="0"/>
            <a:t> </a:t>
          </a:r>
          <a:r>
            <a:rPr sz="1200" dirty="0" err="1"/>
            <a:t>ve</a:t>
          </a:r>
          <a:r>
            <a:rPr sz="1200" dirty="0"/>
            <a:t> </a:t>
          </a:r>
          <a:r>
            <a:rPr sz="1200" dirty="0" err="1"/>
            <a:t>geliştirmeye</a:t>
          </a:r>
          <a:r>
            <a:rPr sz="1200" dirty="0"/>
            <a:t> </a:t>
          </a:r>
          <a:r>
            <a:rPr sz="1200" dirty="0" err="1"/>
            <a:t>yatırım</a:t>
          </a:r>
          <a:r>
            <a:rPr sz="1200" dirty="0"/>
            <a:t> </a:t>
          </a:r>
          <a:r>
            <a:rPr sz="1200" dirty="0" err="1"/>
            <a:t>yapmak</a:t>
          </a:r>
          <a:r>
            <a:rPr sz="1200" dirty="0"/>
            <a:t>, </a:t>
          </a:r>
          <a:r>
            <a:rPr sz="1200" dirty="0" err="1"/>
            <a:t>bu</a:t>
          </a:r>
          <a:r>
            <a:rPr sz="1200" dirty="0"/>
            <a:t> </a:t>
          </a:r>
          <a:r>
            <a:rPr sz="1200" dirty="0" err="1"/>
            <a:t>zorlukların</a:t>
          </a:r>
          <a:r>
            <a:rPr sz="1200" dirty="0"/>
            <a:t> </a:t>
          </a:r>
          <a:r>
            <a:rPr sz="1200" dirty="0" err="1"/>
            <a:t>üstesinden</a:t>
          </a:r>
          <a:r>
            <a:rPr sz="1200" dirty="0"/>
            <a:t> </a:t>
          </a:r>
          <a:r>
            <a:rPr sz="1200" dirty="0" err="1"/>
            <a:t>gelmeye</a:t>
          </a:r>
          <a:r>
            <a:rPr sz="1200" dirty="0"/>
            <a:t> </a:t>
          </a:r>
          <a:r>
            <a:rPr sz="1200" dirty="0" err="1"/>
            <a:t>ve</a:t>
          </a:r>
          <a:r>
            <a:rPr sz="1200" dirty="0"/>
            <a:t> </a:t>
          </a:r>
          <a:r>
            <a:rPr sz="1200" dirty="0" err="1"/>
            <a:t>sistemlerinin</a:t>
          </a:r>
          <a:r>
            <a:rPr sz="1200" dirty="0"/>
            <a:t> </a:t>
          </a:r>
          <a:r>
            <a:rPr sz="1200" dirty="0" err="1"/>
            <a:t>etkili</a:t>
          </a:r>
          <a:r>
            <a:rPr sz="1200" dirty="0"/>
            <a:t> </a:t>
          </a:r>
          <a:r>
            <a:rPr sz="1200" dirty="0" err="1"/>
            <a:t>bir</a:t>
          </a:r>
          <a:r>
            <a:rPr sz="1200" dirty="0"/>
            <a:t> </a:t>
          </a:r>
          <a:r>
            <a:rPr sz="1200" dirty="0" err="1"/>
            <a:t>şekilde</a:t>
          </a:r>
          <a:r>
            <a:rPr sz="1200" dirty="0"/>
            <a:t> </a:t>
          </a:r>
          <a:r>
            <a:rPr sz="1200" dirty="0" err="1"/>
            <a:t>uygulanmasını</a:t>
          </a:r>
          <a:r>
            <a:rPr sz="1200" dirty="0"/>
            <a:t> </a:t>
          </a:r>
          <a:r>
            <a:rPr sz="1200" dirty="0" err="1"/>
            <a:t>sağlamaya</a:t>
          </a:r>
          <a:r>
            <a:rPr sz="1200" dirty="0"/>
            <a:t> </a:t>
          </a:r>
          <a:r>
            <a:rPr sz="1200" dirty="0" err="1"/>
            <a:t>yardımcı</a:t>
          </a:r>
          <a:r>
            <a:rPr sz="1200" dirty="0"/>
            <a:t> </a:t>
          </a:r>
          <a:r>
            <a:rPr sz="1200" dirty="0" err="1"/>
            <a:t>olabilir</a:t>
          </a:r>
          <a:r>
            <a:rPr sz="1200" dirty="0"/>
            <a:t>.</a:t>
          </a:r>
        </a:p>
      </dgm:t>
    </dgm:pt>
    <dgm:pt modelId="{7DAB87C1-15DE-4F6B-8E96-3DCE22366DE8}" type="parTrans" cxnId="{B59AA01E-CAE9-41F7-9C2C-92B84E587741}">
      <dgm:prSet/>
      <dgm:spPr/>
      <dgm:t>
        <a:bodyPr/>
        <a:lstStyle/>
        <a:p>
          <a:pPr algn="just"/>
          <a:endParaRPr lang="en-US"/>
        </a:p>
      </dgm:t>
    </dgm:pt>
    <dgm:pt modelId="{2A2D9F8A-BA6F-4A2D-9221-2E73F83231BE}" type="sibTrans" cxnId="{B59AA01E-CAE9-41F7-9C2C-92B84E587741}">
      <dgm:prSet/>
      <dgm:spPr/>
      <dgm:t>
        <a:bodyPr/>
        <a:lstStyle/>
        <a:p>
          <a:pPr algn="just"/>
          <a:endParaRPr lang="en-US"/>
        </a:p>
      </dgm:t>
    </dgm:pt>
    <dgm:pt modelId="{BD543C81-A4F0-483F-8ABA-1F698B815381}" type="pres">
      <dgm:prSet presAssocID="{ACA66587-B9AC-4AD4-8AA6-D1305BE5130C}" presName="linear" presStyleCnt="0">
        <dgm:presLayoutVars>
          <dgm:animLvl val="lvl"/>
          <dgm:resizeHandles val="exact"/>
        </dgm:presLayoutVars>
      </dgm:prSet>
      <dgm:spPr/>
    </dgm:pt>
    <dgm:pt modelId="{06BAE505-92FF-4B2D-8469-4E0913D69303}" type="pres">
      <dgm:prSet presAssocID="{9A8BC95D-46BC-4BEA-811E-37654163E2B4}" presName="parentText" presStyleLbl="node1" presStyleIdx="0" presStyleCnt="2" custScaleY="42901">
        <dgm:presLayoutVars>
          <dgm:chMax val="0"/>
          <dgm:bulletEnabled val="1"/>
        </dgm:presLayoutVars>
      </dgm:prSet>
      <dgm:spPr/>
    </dgm:pt>
    <dgm:pt modelId="{044BC92A-C66A-482E-A210-3D928D48E62F}" type="pres">
      <dgm:prSet presAssocID="{9A8BC95D-46BC-4BEA-811E-37654163E2B4}" presName="childText" presStyleLbl="revTx" presStyleIdx="0" presStyleCnt="1">
        <dgm:presLayoutVars>
          <dgm:bulletEnabled val="1"/>
        </dgm:presLayoutVars>
      </dgm:prSet>
      <dgm:spPr/>
    </dgm:pt>
    <dgm:pt modelId="{4A08163E-4C83-40AF-A417-4DA5CE8032E3}" type="pres">
      <dgm:prSet presAssocID="{A70A4D4E-3E82-4502-8A48-EEFE735E11CF}" presName="parentText" presStyleLbl="node1" presStyleIdx="1" presStyleCnt="2" custScaleY="69689">
        <dgm:presLayoutVars>
          <dgm:chMax val="0"/>
          <dgm:bulletEnabled val="1"/>
        </dgm:presLayoutVars>
      </dgm:prSet>
      <dgm:spPr/>
    </dgm:pt>
  </dgm:ptLst>
  <dgm:cxnLst>
    <dgm:cxn modelId="{6B9A8B13-91A7-4577-BD59-B881F4E4C9F4}" type="presOf" srcId="{5AAB0D5E-4EBF-407A-AC6E-BBD330D6B0CC}" destId="{044BC92A-C66A-482E-A210-3D928D48E62F}" srcOrd="0" destOrd="0" presId="urn:microsoft.com/office/officeart/2005/8/layout/vList2"/>
    <dgm:cxn modelId="{B59AA01E-CAE9-41F7-9C2C-92B84E587741}" srcId="{ACA66587-B9AC-4AD4-8AA6-D1305BE5130C}" destId="{A70A4D4E-3E82-4502-8A48-EEFE735E11CF}" srcOrd="1" destOrd="0" parTransId="{7DAB87C1-15DE-4F6B-8E96-3DCE22366DE8}" sibTransId="{2A2D9F8A-BA6F-4A2D-9221-2E73F83231BE}"/>
    <dgm:cxn modelId="{C9C96F29-5B77-42FB-879B-2D0CCD82787B}" type="presOf" srcId="{A70A4D4E-3E82-4502-8A48-EEFE735E11CF}" destId="{4A08163E-4C83-40AF-A417-4DA5CE8032E3}" srcOrd="0" destOrd="0" presId="urn:microsoft.com/office/officeart/2005/8/layout/vList2"/>
    <dgm:cxn modelId="{B4C2F730-3F3E-4DC8-93E4-B0A63AB85306}" type="presOf" srcId="{3D06C469-AC96-46F1-8E70-E2214AEC6048}" destId="{044BC92A-C66A-482E-A210-3D928D48E62F}" srcOrd="0" destOrd="2" presId="urn:microsoft.com/office/officeart/2005/8/layout/vList2"/>
    <dgm:cxn modelId="{487FCA3D-EBEC-4CAA-AB00-02EA399139BC}" srcId="{9A8BC95D-46BC-4BEA-811E-37654163E2B4}" destId="{47E16B77-DAFE-415D-9C9E-83EC4F6DA83F}" srcOrd="3" destOrd="0" parTransId="{A44AED09-59C4-4410-970D-E3A1ABF3408A}" sibTransId="{75B980F9-0F52-457D-A9CC-BABA8359C373}"/>
    <dgm:cxn modelId="{AE06E646-C040-4475-8132-9E31A2BD97DD}" type="presOf" srcId="{47E16B77-DAFE-415D-9C9E-83EC4F6DA83F}" destId="{044BC92A-C66A-482E-A210-3D928D48E62F}" srcOrd="0" destOrd="3" presId="urn:microsoft.com/office/officeart/2005/8/layout/vList2"/>
    <dgm:cxn modelId="{1CF62647-65EE-46FF-87CB-7D8C57E74085}" type="presOf" srcId="{9A8BC95D-46BC-4BEA-811E-37654163E2B4}" destId="{06BAE505-92FF-4B2D-8469-4E0913D69303}" srcOrd="0" destOrd="0" presId="urn:microsoft.com/office/officeart/2005/8/layout/vList2"/>
    <dgm:cxn modelId="{D6A89F89-AB0E-467E-99E8-942ABE46C158}" type="presOf" srcId="{ACA66587-B9AC-4AD4-8AA6-D1305BE5130C}" destId="{BD543C81-A4F0-483F-8ABA-1F698B815381}" srcOrd="0" destOrd="0" presId="urn:microsoft.com/office/officeart/2005/8/layout/vList2"/>
    <dgm:cxn modelId="{2A42DD9F-BE8F-4D5B-95F8-D64958EA3A58}" srcId="{9A8BC95D-46BC-4BEA-811E-37654163E2B4}" destId="{3D06C469-AC96-46F1-8E70-E2214AEC6048}" srcOrd="2" destOrd="0" parTransId="{9E93BDB5-F432-4561-BF09-622773586D5E}" sibTransId="{9475174A-4798-45CD-827B-13C84779169D}"/>
    <dgm:cxn modelId="{A2F10BB1-79F5-4FC3-84A2-29A0301F5B72}" srcId="{9A8BC95D-46BC-4BEA-811E-37654163E2B4}" destId="{F67B55D3-BA3A-4928-AEBD-B0C171BB838E}" srcOrd="1" destOrd="0" parTransId="{BB2B4056-603C-4EFA-9160-CF8B9B95468D}" sibTransId="{CC78B8E0-78D8-40DC-BFE8-08BEBF57FEBD}"/>
    <dgm:cxn modelId="{9FCC00CD-D395-4F24-80F0-1664F61DF7B4}" srcId="{ACA66587-B9AC-4AD4-8AA6-D1305BE5130C}" destId="{9A8BC95D-46BC-4BEA-811E-37654163E2B4}" srcOrd="0" destOrd="0" parTransId="{89E4EB4C-DD58-4F05-B4C8-837A1472F4AF}" sibTransId="{0B3FFC70-5C69-46D0-9B10-BC2CFE4ABF19}"/>
    <dgm:cxn modelId="{CF8363EE-928A-4058-98CA-1DC4BB3A9AE4}" srcId="{9A8BC95D-46BC-4BEA-811E-37654163E2B4}" destId="{5AAB0D5E-4EBF-407A-AC6E-BBD330D6B0CC}" srcOrd="0" destOrd="0" parTransId="{7F9FCDFA-DDB5-4CFC-9143-0A1DA250DEEE}" sibTransId="{90319DE1-6839-440C-B751-E4DB4083BFDF}"/>
    <dgm:cxn modelId="{2BEDA7F3-5FDF-432D-B391-A8873D5463BF}" type="presOf" srcId="{F67B55D3-BA3A-4928-AEBD-B0C171BB838E}" destId="{044BC92A-C66A-482E-A210-3D928D48E62F}" srcOrd="0" destOrd="1" presId="urn:microsoft.com/office/officeart/2005/8/layout/vList2"/>
    <dgm:cxn modelId="{677D607C-8E7B-42A0-9BBB-253A3D8EB998}" type="presParOf" srcId="{BD543C81-A4F0-483F-8ABA-1F698B815381}" destId="{06BAE505-92FF-4B2D-8469-4E0913D69303}" srcOrd="0" destOrd="0" presId="urn:microsoft.com/office/officeart/2005/8/layout/vList2"/>
    <dgm:cxn modelId="{B5B3B1AF-D378-46CD-87BF-A334E5E74823}" type="presParOf" srcId="{BD543C81-A4F0-483F-8ABA-1F698B815381}" destId="{044BC92A-C66A-482E-A210-3D928D48E62F}" srcOrd="1" destOrd="0" presId="urn:microsoft.com/office/officeart/2005/8/layout/vList2"/>
    <dgm:cxn modelId="{1E73004F-53E2-403F-A190-2ABDDDFA774A}" type="presParOf" srcId="{BD543C81-A4F0-483F-8ABA-1F698B815381}" destId="{4A08163E-4C83-40AF-A417-4DA5CE8032E3}" srcOrd="2"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8F1BD9C1-F5DB-497B-BCA4-FDE57AC32546}" type="doc">
      <dgm:prSet loTypeId="urn:microsoft.com/office/officeart/2008/layout/VerticalCurvedList" loCatId="list" qsTypeId="urn:microsoft.com/office/officeart/2005/8/quickstyle/simple1" qsCatId="simple" csTypeId="urn:microsoft.com/office/officeart/2005/8/colors/accent0_3" csCatId="mainScheme" phldr="1"/>
      <dgm:spPr/>
      <dgm:t>
        <a:bodyPr/>
        <a:lstStyle/>
        <a:p>
          <a:endParaRPr lang="en-US"/>
        </a:p>
      </dgm:t>
    </dgm:pt>
    <dgm:pt modelId="{6A164C46-7382-49B5-A154-108F92076883}">
      <dgm:prSet custT="1"/>
      <dgm:spPr/>
      <dgm:t>
        <a:bodyPr/>
        <a:lstStyle/>
        <a:p>
          <a:pPr algn="just">
            <a:defRPr sz="800"/>
          </a:pPr>
          <a:r>
            <a:rPr sz="1000" dirty="0" err="1"/>
            <a:t>Türkiye'nin</a:t>
          </a:r>
          <a:r>
            <a:rPr sz="1000" dirty="0"/>
            <a:t> </a:t>
          </a:r>
          <a:r>
            <a:rPr sz="1000" dirty="0" err="1"/>
            <a:t>başkenti</a:t>
          </a:r>
          <a:r>
            <a:rPr sz="1000" dirty="0"/>
            <a:t> </a:t>
          </a:r>
          <a:r>
            <a:rPr sz="1000" dirty="0" err="1"/>
            <a:t>Ankara'da</a:t>
          </a:r>
          <a:r>
            <a:rPr sz="1000" dirty="0"/>
            <a:t> </a:t>
          </a:r>
          <a:r>
            <a:rPr sz="1000" dirty="0" err="1"/>
            <a:t>ulaşım</a:t>
          </a:r>
          <a:r>
            <a:rPr sz="1000" dirty="0"/>
            <a:t> </a:t>
          </a:r>
          <a:r>
            <a:rPr sz="1000" dirty="0" err="1"/>
            <a:t>planlama</a:t>
          </a:r>
          <a:r>
            <a:rPr sz="1000" dirty="0"/>
            <a:t> </a:t>
          </a:r>
          <a:r>
            <a:rPr sz="1000" dirty="0" err="1"/>
            <a:t>önlemlerinin</a:t>
          </a:r>
          <a:r>
            <a:rPr sz="1000" dirty="0"/>
            <a:t> </a:t>
          </a:r>
          <a:r>
            <a:rPr sz="1000" dirty="0" err="1"/>
            <a:t>uygulanması</a:t>
          </a:r>
          <a:r>
            <a:rPr sz="1000" dirty="0"/>
            <a:t>, </a:t>
          </a:r>
          <a:r>
            <a:rPr sz="1000" dirty="0" err="1"/>
            <a:t>kentin</a:t>
          </a:r>
          <a:r>
            <a:rPr sz="1000" dirty="0"/>
            <a:t> </a:t>
          </a:r>
          <a:r>
            <a:rPr sz="1000" dirty="0" err="1"/>
            <a:t>ulaşım</a:t>
          </a:r>
          <a:r>
            <a:rPr sz="1000" dirty="0"/>
            <a:t> </a:t>
          </a:r>
          <a:r>
            <a:rPr sz="1000" dirty="0" err="1"/>
            <a:t>sistemi</a:t>
          </a:r>
          <a:r>
            <a:rPr sz="1000" dirty="0"/>
            <a:t> </a:t>
          </a:r>
          <a:r>
            <a:rPr sz="1000" dirty="0" err="1"/>
            <a:t>ve</a:t>
          </a:r>
          <a:r>
            <a:rPr sz="1000" dirty="0"/>
            <a:t> </a:t>
          </a:r>
          <a:r>
            <a:rPr sz="1000" dirty="0" err="1"/>
            <a:t>sakinleri</a:t>
          </a:r>
          <a:r>
            <a:rPr sz="1000" dirty="0"/>
            <a:t> </a:t>
          </a:r>
          <a:r>
            <a:rPr sz="1000" dirty="0" err="1"/>
            <a:t>için</a:t>
          </a:r>
          <a:r>
            <a:rPr sz="1000" dirty="0"/>
            <a:t> </a:t>
          </a:r>
          <a:r>
            <a:rPr sz="1000" dirty="0" err="1"/>
            <a:t>yaşam</a:t>
          </a:r>
          <a:r>
            <a:rPr sz="1000" dirty="0"/>
            <a:t> </a:t>
          </a:r>
          <a:r>
            <a:rPr sz="1000" dirty="0" err="1"/>
            <a:t>kalitesi</a:t>
          </a:r>
          <a:r>
            <a:rPr sz="1000" dirty="0"/>
            <a:t> </a:t>
          </a:r>
          <a:r>
            <a:rPr sz="1000" dirty="0" err="1"/>
            <a:t>üzerinde</a:t>
          </a:r>
          <a:r>
            <a:rPr sz="1000" dirty="0"/>
            <a:t> </a:t>
          </a:r>
          <a:r>
            <a:rPr sz="1000" dirty="0" err="1"/>
            <a:t>önemli</a:t>
          </a:r>
          <a:r>
            <a:rPr sz="1000" dirty="0"/>
            <a:t> </a:t>
          </a:r>
          <a:r>
            <a:rPr sz="1000" dirty="0" err="1"/>
            <a:t>bir</a:t>
          </a:r>
          <a:r>
            <a:rPr sz="1000" dirty="0"/>
            <a:t> </a:t>
          </a:r>
          <a:r>
            <a:rPr sz="1000" dirty="0" err="1"/>
            <a:t>etkiye</a:t>
          </a:r>
          <a:r>
            <a:rPr sz="1000" dirty="0"/>
            <a:t> </a:t>
          </a:r>
          <a:r>
            <a:rPr sz="1000" dirty="0" err="1"/>
            <a:t>sahip</a:t>
          </a:r>
          <a:r>
            <a:rPr sz="1000" dirty="0"/>
            <a:t> </a:t>
          </a:r>
          <a:r>
            <a:rPr sz="1000" dirty="0" err="1"/>
            <a:t>olabilir</a:t>
          </a:r>
          <a:r>
            <a:rPr sz="1000" dirty="0"/>
            <a:t>. </a:t>
          </a:r>
        </a:p>
      </dgm:t>
    </dgm:pt>
    <dgm:pt modelId="{A7DD60D8-E3BF-4367-BAB6-9B7E956DE9F5}" type="parTrans" cxnId="{B5CF88A9-18C8-40A2-A7AC-70867FF89E9E}">
      <dgm:prSet/>
      <dgm:spPr/>
      <dgm:t>
        <a:bodyPr/>
        <a:lstStyle/>
        <a:p>
          <a:pPr algn="just"/>
          <a:endParaRPr lang="en-US" sz="2000"/>
        </a:p>
      </dgm:t>
    </dgm:pt>
    <dgm:pt modelId="{85D229CA-0EAF-417B-B2D2-82F91F99F240}" type="sibTrans" cxnId="{B5CF88A9-18C8-40A2-A7AC-70867FF89E9E}">
      <dgm:prSet/>
      <dgm:spPr/>
      <dgm:t>
        <a:bodyPr/>
        <a:lstStyle/>
        <a:p>
          <a:pPr algn="just"/>
          <a:endParaRPr lang="en-US" sz="2000"/>
        </a:p>
      </dgm:t>
    </dgm:pt>
    <dgm:pt modelId="{409C4391-09F3-4242-B015-897A1F0F0DCF}">
      <dgm:prSet custT="1"/>
      <dgm:spPr/>
      <dgm:t>
        <a:bodyPr anchor="ctr"/>
        <a:lstStyle/>
        <a:p>
          <a:pPr algn="just">
            <a:defRPr sz="700"/>
          </a:pPr>
          <a:r>
            <a:rPr sz="800" dirty="0"/>
            <a:t>- </a:t>
          </a:r>
          <a:r>
            <a:rPr sz="800" b="1" dirty="0" err="1"/>
            <a:t>Trafik</a:t>
          </a:r>
          <a:r>
            <a:rPr sz="800" b="1" dirty="0"/>
            <a:t> </a:t>
          </a:r>
          <a:r>
            <a:rPr sz="800" b="1" dirty="0" err="1"/>
            <a:t>sıkışıklığının</a:t>
          </a:r>
          <a:r>
            <a:rPr sz="800" b="1" dirty="0"/>
            <a:t> </a:t>
          </a:r>
          <a:r>
            <a:rPr sz="800" b="1" dirty="0" err="1"/>
            <a:t>azaltılması</a:t>
          </a:r>
          <a:r>
            <a:rPr sz="800" b="1" dirty="0"/>
            <a:t>: </a:t>
          </a:r>
          <a:r>
            <a:rPr sz="800" dirty="0"/>
            <a:t>Ulaşım </a:t>
          </a:r>
          <a:r>
            <a:rPr sz="800" dirty="0" err="1"/>
            <a:t>planlama</a:t>
          </a:r>
          <a:r>
            <a:rPr sz="800" dirty="0"/>
            <a:t> </a:t>
          </a:r>
          <a:r>
            <a:rPr sz="800" dirty="0" err="1"/>
            <a:t>önlemleri</a:t>
          </a:r>
          <a:r>
            <a:rPr sz="800" dirty="0"/>
            <a:t> </a:t>
          </a:r>
          <a:r>
            <a:rPr sz="800" dirty="0" err="1"/>
            <a:t>Ankara'daki</a:t>
          </a:r>
          <a:r>
            <a:rPr sz="800" dirty="0"/>
            <a:t> </a:t>
          </a:r>
          <a:r>
            <a:rPr sz="800" dirty="0" err="1"/>
            <a:t>trafik</a:t>
          </a:r>
          <a:r>
            <a:rPr sz="800" dirty="0"/>
            <a:t> </a:t>
          </a:r>
          <a:r>
            <a:rPr sz="800" dirty="0" err="1"/>
            <a:t>sıkışıklığının</a:t>
          </a:r>
          <a:r>
            <a:rPr sz="800" dirty="0"/>
            <a:t> </a:t>
          </a:r>
          <a:r>
            <a:rPr sz="800" dirty="0" err="1"/>
            <a:t>azaltılmasına</a:t>
          </a:r>
          <a:r>
            <a:rPr sz="800" dirty="0"/>
            <a:t> </a:t>
          </a:r>
          <a:r>
            <a:rPr sz="800" dirty="0" err="1"/>
            <a:t>yardımcı</a:t>
          </a:r>
          <a:r>
            <a:rPr sz="800" dirty="0"/>
            <a:t> </a:t>
          </a:r>
          <a:r>
            <a:rPr sz="800" dirty="0" err="1"/>
            <a:t>olabilir</a:t>
          </a:r>
          <a:r>
            <a:rPr sz="800" dirty="0"/>
            <a:t>. </a:t>
          </a:r>
          <a:r>
            <a:rPr sz="800" dirty="0" err="1"/>
            <a:t>Örneğin</a:t>
          </a:r>
          <a:r>
            <a:rPr sz="800" dirty="0"/>
            <a:t>, </a:t>
          </a:r>
          <a:r>
            <a:rPr sz="800" dirty="0" err="1"/>
            <a:t>bir</a:t>
          </a:r>
          <a:r>
            <a:rPr sz="800" dirty="0"/>
            <a:t> </a:t>
          </a:r>
          <a:r>
            <a:rPr sz="800" dirty="0" err="1"/>
            <a:t>otobüs</a:t>
          </a:r>
          <a:r>
            <a:rPr sz="800" dirty="0"/>
            <a:t> </a:t>
          </a:r>
          <a:r>
            <a:rPr sz="800" dirty="0" err="1"/>
            <a:t>hızlı</a:t>
          </a:r>
          <a:r>
            <a:rPr sz="800" dirty="0"/>
            <a:t> transit (BRT) </a:t>
          </a:r>
          <a:r>
            <a:rPr sz="800" dirty="0" err="1"/>
            <a:t>sistemi</a:t>
          </a:r>
          <a:r>
            <a:rPr sz="800" dirty="0"/>
            <a:t> </a:t>
          </a:r>
          <a:r>
            <a:rPr sz="800" dirty="0" err="1"/>
            <a:t>uygulamak</a:t>
          </a:r>
          <a:r>
            <a:rPr sz="800" dirty="0"/>
            <a:t> </a:t>
          </a:r>
          <a:r>
            <a:rPr sz="800" dirty="0" err="1"/>
            <a:t>veya</a:t>
          </a:r>
          <a:r>
            <a:rPr sz="800" dirty="0"/>
            <a:t> </a:t>
          </a:r>
          <a:r>
            <a:rPr sz="800" dirty="0" err="1"/>
            <a:t>bisiklet</a:t>
          </a:r>
          <a:r>
            <a:rPr sz="800" dirty="0"/>
            <a:t> </a:t>
          </a:r>
          <a:r>
            <a:rPr sz="800" dirty="0" err="1"/>
            <a:t>şeritlerinin</a:t>
          </a:r>
          <a:r>
            <a:rPr sz="800" dirty="0"/>
            <a:t> </a:t>
          </a:r>
          <a:r>
            <a:rPr sz="800" dirty="0" err="1"/>
            <a:t>sayısını</a:t>
          </a:r>
          <a:r>
            <a:rPr sz="800" dirty="0"/>
            <a:t> </a:t>
          </a:r>
          <a:r>
            <a:rPr sz="800" dirty="0" err="1"/>
            <a:t>artırmak</a:t>
          </a:r>
          <a:r>
            <a:rPr sz="800" dirty="0"/>
            <a:t>, </a:t>
          </a:r>
          <a:r>
            <a:rPr sz="800" dirty="0" err="1"/>
            <a:t>daha</a:t>
          </a:r>
          <a:r>
            <a:rPr sz="800" dirty="0"/>
            <a:t> </a:t>
          </a:r>
          <a:r>
            <a:rPr sz="800" dirty="0" err="1"/>
            <a:t>fazla</a:t>
          </a:r>
          <a:r>
            <a:rPr sz="800" dirty="0"/>
            <a:t> </a:t>
          </a:r>
          <a:r>
            <a:rPr sz="800" dirty="0" err="1"/>
            <a:t>insanı</a:t>
          </a:r>
          <a:r>
            <a:rPr sz="800" dirty="0"/>
            <a:t> </a:t>
          </a:r>
          <a:r>
            <a:rPr sz="800" dirty="0" err="1"/>
            <a:t>toplu</a:t>
          </a:r>
          <a:r>
            <a:rPr sz="800" dirty="0"/>
            <a:t> </a:t>
          </a:r>
          <a:r>
            <a:rPr sz="800" dirty="0" err="1"/>
            <a:t>taşıma</a:t>
          </a:r>
          <a:r>
            <a:rPr sz="800" dirty="0"/>
            <a:t> </a:t>
          </a:r>
          <a:r>
            <a:rPr sz="800" dirty="0" err="1"/>
            <a:t>veya</a:t>
          </a:r>
          <a:r>
            <a:rPr sz="800" dirty="0"/>
            <a:t> </a:t>
          </a:r>
          <a:r>
            <a:rPr sz="800" dirty="0" err="1"/>
            <a:t>bisiklet</a:t>
          </a:r>
          <a:r>
            <a:rPr sz="800" dirty="0"/>
            <a:t> </a:t>
          </a:r>
          <a:r>
            <a:rPr sz="800" dirty="0" err="1"/>
            <a:t>kullanmaya</a:t>
          </a:r>
          <a:r>
            <a:rPr sz="800" dirty="0"/>
            <a:t> </a:t>
          </a:r>
          <a:r>
            <a:rPr sz="800" dirty="0" err="1"/>
            <a:t>teşvik</a:t>
          </a:r>
          <a:r>
            <a:rPr sz="800" dirty="0"/>
            <a:t> </a:t>
          </a:r>
          <a:r>
            <a:rPr sz="800" dirty="0" err="1"/>
            <a:t>edebilir</a:t>
          </a:r>
          <a:r>
            <a:rPr sz="800" dirty="0"/>
            <a:t> </a:t>
          </a:r>
          <a:r>
            <a:rPr sz="800" dirty="0" err="1"/>
            <a:t>ve</a:t>
          </a:r>
          <a:r>
            <a:rPr sz="800" dirty="0"/>
            <a:t> </a:t>
          </a:r>
          <a:r>
            <a:rPr sz="800" dirty="0" err="1"/>
            <a:t>bu</a:t>
          </a:r>
          <a:r>
            <a:rPr sz="800" dirty="0"/>
            <a:t> da </a:t>
          </a:r>
          <a:r>
            <a:rPr sz="800" dirty="0" err="1"/>
            <a:t>yoldaki</a:t>
          </a:r>
          <a:r>
            <a:rPr sz="800" dirty="0"/>
            <a:t> araba </a:t>
          </a:r>
          <a:r>
            <a:rPr sz="800" dirty="0" err="1"/>
            <a:t>sayısını</a:t>
          </a:r>
          <a:r>
            <a:rPr sz="800" dirty="0"/>
            <a:t> </a:t>
          </a:r>
          <a:r>
            <a:rPr sz="800" dirty="0" err="1"/>
            <a:t>azaltmaya</a:t>
          </a:r>
          <a:r>
            <a:rPr sz="800" dirty="0"/>
            <a:t> </a:t>
          </a:r>
          <a:r>
            <a:rPr sz="800" dirty="0" err="1"/>
            <a:t>yardımcı</a:t>
          </a:r>
          <a:r>
            <a:rPr sz="800" dirty="0"/>
            <a:t> </a:t>
          </a:r>
          <a:r>
            <a:rPr sz="800" dirty="0" err="1"/>
            <a:t>olabilir</a:t>
          </a:r>
          <a:r>
            <a:rPr sz="800" dirty="0"/>
            <a:t>.</a:t>
          </a:r>
        </a:p>
        <a:p>
          <a:pPr algn="just">
            <a:defRPr sz="700"/>
          </a:pPr>
          <a:r>
            <a:rPr sz="800" dirty="0"/>
            <a:t>-   </a:t>
          </a:r>
          <a:r>
            <a:rPr sz="800" b="1" dirty="0" err="1"/>
            <a:t>Geliştirilmiş</a:t>
          </a:r>
          <a:r>
            <a:rPr sz="800" b="1" dirty="0"/>
            <a:t> </a:t>
          </a:r>
          <a:r>
            <a:rPr sz="800" b="1" dirty="0" err="1"/>
            <a:t>hava</a:t>
          </a:r>
          <a:r>
            <a:rPr sz="800" b="1" dirty="0"/>
            <a:t> </a:t>
          </a:r>
          <a:r>
            <a:rPr sz="800" b="1" dirty="0" err="1"/>
            <a:t>kalitesi</a:t>
          </a:r>
          <a:r>
            <a:rPr sz="800" b="1" dirty="0"/>
            <a:t>: </a:t>
          </a:r>
          <a:r>
            <a:rPr sz="800" dirty="0" err="1"/>
            <a:t>Trafik</a:t>
          </a:r>
          <a:r>
            <a:rPr sz="800" dirty="0"/>
            <a:t> </a:t>
          </a:r>
          <a:r>
            <a:rPr sz="800" dirty="0" err="1"/>
            <a:t>sıkışıklığı</a:t>
          </a:r>
          <a:r>
            <a:rPr sz="800" dirty="0"/>
            <a:t> </a:t>
          </a:r>
          <a:r>
            <a:rPr sz="800" dirty="0" err="1"/>
            <a:t>ve</a:t>
          </a:r>
          <a:r>
            <a:rPr sz="800" dirty="0"/>
            <a:t> araba </a:t>
          </a:r>
          <a:r>
            <a:rPr sz="800" dirty="0" err="1"/>
            <a:t>kullanımı</a:t>
          </a:r>
          <a:r>
            <a:rPr sz="800" dirty="0"/>
            <a:t>, </a:t>
          </a:r>
          <a:r>
            <a:rPr sz="800" dirty="0" err="1"/>
            <a:t>şehirlerdeki</a:t>
          </a:r>
          <a:r>
            <a:rPr sz="800" dirty="0"/>
            <a:t> </a:t>
          </a:r>
          <a:r>
            <a:rPr sz="800" dirty="0" err="1"/>
            <a:t>hava</a:t>
          </a:r>
          <a:r>
            <a:rPr sz="800" dirty="0"/>
            <a:t> </a:t>
          </a:r>
          <a:r>
            <a:rPr sz="800" dirty="0" err="1"/>
            <a:t>kirliliğine</a:t>
          </a:r>
          <a:r>
            <a:rPr sz="800" dirty="0"/>
            <a:t> </a:t>
          </a:r>
          <a:r>
            <a:rPr sz="800" dirty="0" err="1"/>
            <a:t>büyük</a:t>
          </a:r>
          <a:r>
            <a:rPr sz="800" dirty="0"/>
            <a:t> </a:t>
          </a:r>
          <a:r>
            <a:rPr sz="800" dirty="0" err="1"/>
            <a:t>katkıda</a:t>
          </a:r>
          <a:r>
            <a:rPr sz="800" dirty="0"/>
            <a:t> </a:t>
          </a:r>
          <a:r>
            <a:rPr sz="800" dirty="0" err="1"/>
            <a:t>bulunuyor</a:t>
          </a:r>
          <a:r>
            <a:rPr sz="800" dirty="0"/>
            <a:t>. </a:t>
          </a:r>
          <a:r>
            <a:rPr sz="800" dirty="0" err="1"/>
            <a:t>Araç</a:t>
          </a:r>
          <a:r>
            <a:rPr sz="800" dirty="0"/>
            <a:t> </a:t>
          </a:r>
          <a:r>
            <a:rPr sz="800" dirty="0" err="1"/>
            <a:t>kullanımını</a:t>
          </a:r>
          <a:r>
            <a:rPr sz="800" dirty="0"/>
            <a:t> </a:t>
          </a:r>
          <a:r>
            <a:rPr sz="800" dirty="0" err="1"/>
            <a:t>azaltan</a:t>
          </a:r>
          <a:r>
            <a:rPr sz="800" dirty="0"/>
            <a:t> </a:t>
          </a:r>
          <a:r>
            <a:rPr sz="800" dirty="0" err="1"/>
            <a:t>ulaşım</a:t>
          </a:r>
          <a:r>
            <a:rPr sz="800" dirty="0"/>
            <a:t> </a:t>
          </a:r>
          <a:r>
            <a:rPr sz="800" dirty="0" err="1"/>
            <a:t>planlama</a:t>
          </a:r>
          <a:r>
            <a:rPr sz="800" dirty="0"/>
            <a:t> </a:t>
          </a:r>
          <a:r>
            <a:rPr sz="800" dirty="0" err="1"/>
            <a:t>önlemlerinin</a:t>
          </a:r>
          <a:r>
            <a:rPr sz="800" dirty="0"/>
            <a:t> </a:t>
          </a:r>
          <a:r>
            <a:rPr sz="800" dirty="0" err="1"/>
            <a:t>uygulanması</a:t>
          </a:r>
          <a:r>
            <a:rPr sz="800" dirty="0"/>
            <a:t>, </a:t>
          </a:r>
          <a:r>
            <a:rPr sz="800" dirty="0" err="1"/>
            <a:t>hava</a:t>
          </a:r>
          <a:r>
            <a:rPr sz="800" dirty="0"/>
            <a:t> </a:t>
          </a:r>
          <a:r>
            <a:rPr sz="800" dirty="0" err="1"/>
            <a:t>kalitesini</a:t>
          </a:r>
          <a:r>
            <a:rPr sz="800" dirty="0"/>
            <a:t> </a:t>
          </a:r>
          <a:r>
            <a:rPr sz="800" dirty="0" err="1"/>
            <a:t>artırabilir</a:t>
          </a:r>
          <a:r>
            <a:rPr sz="800" dirty="0"/>
            <a:t> </a:t>
          </a:r>
          <a:r>
            <a:rPr sz="800" dirty="0" err="1"/>
            <a:t>ve</a:t>
          </a:r>
          <a:r>
            <a:rPr sz="800" dirty="0"/>
            <a:t> </a:t>
          </a:r>
          <a:r>
            <a:rPr sz="800" dirty="0" err="1"/>
            <a:t>bu</a:t>
          </a:r>
          <a:r>
            <a:rPr sz="800" dirty="0"/>
            <a:t> da </a:t>
          </a:r>
          <a:r>
            <a:rPr sz="800" dirty="0" err="1"/>
            <a:t>halk</a:t>
          </a:r>
          <a:r>
            <a:rPr sz="800" dirty="0"/>
            <a:t> </a:t>
          </a:r>
          <a:r>
            <a:rPr sz="800" dirty="0" err="1"/>
            <a:t>sağlığı</a:t>
          </a:r>
          <a:r>
            <a:rPr sz="800" dirty="0"/>
            <a:t> </a:t>
          </a:r>
          <a:r>
            <a:rPr sz="800" dirty="0" err="1"/>
            <a:t>üzerinde</a:t>
          </a:r>
          <a:r>
            <a:rPr sz="800" dirty="0"/>
            <a:t> </a:t>
          </a:r>
          <a:r>
            <a:rPr sz="800" dirty="0" err="1"/>
            <a:t>olumlu</a:t>
          </a:r>
          <a:r>
            <a:rPr sz="800" dirty="0"/>
            <a:t> </a:t>
          </a:r>
          <a:r>
            <a:rPr sz="800" dirty="0" err="1"/>
            <a:t>bir</a:t>
          </a:r>
          <a:r>
            <a:rPr sz="800" dirty="0"/>
            <a:t> </a:t>
          </a:r>
          <a:r>
            <a:rPr sz="800" dirty="0" err="1"/>
            <a:t>etki</a:t>
          </a:r>
          <a:r>
            <a:rPr sz="800" dirty="0"/>
            <a:t> </a:t>
          </a:r>
          <a:r>
            <a:rPr sz="800" dirty="0" err="1"/>
            <a:t>yaratabilir</a:t>
          </a:r>
          <a:r>
            <a:rPr sz="800" dirty="0"/>
            <a:t>.</a:t>
          </a:r>
        </a:p>
        <a:p>
          <a:pPr algn="just">
            <a:defRPr sz="700"/>
          </a:pPr>
          <a:r>
            <a:rPr sz="800" b="1" dirty="0" err="1"/>
            <a:t>Artan</a:t>
          </a:r>
          <a:r>
            <a:rPr sz="800" b="1" dirty="0"/>
            <a:t> </a:t>
          </a:r>
          <a:r>
            <a:rPr sz="800" b="1" dirty="0" err="1"/>
            <a:t>erişilebilirlik</a:t>
          </a:r>
          <a:r>
            <a:rPr sz="800" b="1" dirty="0"/>
            <a:t>: </a:t>
          </a:r>
          <a:r>
            <a:rPr sz="800" dirty="0"/>
            <a:t>Ulaşım </a:t>
          </a:r>
          <a:r>
            <a:rPr sz="800" dirty="0" err="1"/>
            <a:t>planlama</a:t>
          </a:r>
          <a:r>
            <a:rPr sz="800" dirty="0"/>
            <a:t> </a:t>
          </a:r>
          <a:r>
            <a:rPr sz="800" dirty="0" err="1"/>
            <a:t>önlemleri</a:t>
          </a:r>
          <a:r>
            <a:rPr sz="800" dirty="0"/>
            <a:t>, </a:t>
          </a:r>
          <a:r>
            <a:rPr sz="800" dirty="0" err="1"/>
            <a:t>engelliler</a:t>
          </a:r>
          <a:r>
            <a:rPr sz="800" dirty="0"/>
            <a:t> </a:t>
          </a:r>
          <a:r>
            <a:rPr sz="800" dirty="0" err="1"/>
            <a:t>veya</a:t>
          </a:r>
          <a:r>
            <a:rPr sz="800" dirty="0"/>
            <a:t> </a:t>
          </a:r>
          <a:r>
            <a:rPr sz="800" dirty="0" err="1"/>
            <a:t>toplu</a:t>
          </a:r>
          <a:r>
            <a:rPr sz="800" dirty="0"/>
            <a:t> </a:t>
          </a:r>
          <a:r>
            <a:rPr sz="800" dirty="0" err="1"/>
            <a:t>taşıma</a:t>
          </a:r>
          <a:r>
            <a:rPr sz="800" dirty="0"/>
            <a:t> </a:t>
          </a:r>
          <a:r>
            <a:rPr sz="800" dirty="0" err="1"/>
            <a:t>araçlarına</a:t>
          </a:r>
          <a:r>
            <a:rPr sz="800" dirty="0"/>
            <a:t> </a:t>
          </a:r>
          <a:r>
            <a:rPr sz="800" dirty="0" err="1"/>
            <a:t>güvenenler</a:t>
          </a:r>
          <a:r>
            <a:rPr sz="800" dirty="0"/>
            <a:t> </a:t>
          </a:r>
          <a:r>
            <a:rPr sz="800" dirty="0" err="1"/>
            <a:t>için</a:t>
          </a:r>
          <a:r>
            <a:rPr sz="800" dirty="0"/>
            <a:t> </a:t>
          </a:r>
          <a:r>
            <a:rPr sz="800" dirty="0" err="1"/>
            <a:t>erişilebilirliği</a:t>
          </a:r>
          <a:r>
            <a:rPr sz="800" dirty="0"/>
            <a:t> de </a:t>
          </a:r>
          <a:r>
            <a:rPr sz="800" dirty="0" err="1"/>
            <a:t>artırabilir</a:t>
          </a:r>
          <a:r>
            <a:rPr sz="800" dirty="0"/>
            <a:t>. </a:t>
          </a:r>
          <a:r>
            <a:rPr sz="800" dirty="0" err="1"/>
            <a:t>Örneğin</a:t>
          </a:r>
          <a:r>
            <a:rPr sz="800" dirty="0"/>
            <a:t>, </a:t>
          </a:r>
          <a:r>
            <a:rPr sz="800" dirty="0" err="1"/>
            <a:t>otobüslere</a:t>
          </a:r>
          <a:r>
            <a:rPr sz="800" dirty="0"/>
            <a:t> </a:t>
          </a:r>
          <a:r>
            <a:rPr sz="800" dirty="0" err="1"/>
            <a:t>tekerlekli</a:t>
          </a:r>
          <a:r>
            <a:rPr sz="800" dirty="0"/>
            <a:t> </a:t>
          </a:r>
          <a:r>
            <a:rPr sz="800" dirty="0" err="1"/>
            <a:t>sandalye</a:t>
          </a:r>
          <a:r>
            <a:rPr sz="800" dirty="0"/>
            <a:t> </a:t>
          </a:r>
          <a:r>
            <a:rPr sz="800" dirty="0" err="1"/>
            <a:t>rampaları</a:t>
          </a:r>
          <a:r>
            <a:rPr sz="800" dirty="0"/>
            <a:t> </a:t>
          </a:r>
          <a:r>
            <a:rPr sz="800" dirty="0" err="1"/>
            <a:t>kurmak</a:t>
          </a:r>
          <a:r>
            <a:rPr sz="800" dirty="0"/>
            <a:t> </a:t>
          </a:r>
          <a:r>
            <a:rPr sz="800" dirty="0" err="1"/>
            <a:t>veya</a:t>
          </a:r>
          <a:r>
            <a:rPr sz="800" dirty="0"/>
            <a:t> </a:t>
          </a:r>
          <a:r>
            <a:rPr sz="800" dirty="0" err="1"/>
            <a:t>şu</a:t>
          </a:r>
          <a:r>
            <a:rPr sz="800" dirty="0"/>
            <a:t> </a:t>
          </a:r>
          <a:r>
            <a:rPr sz="800" dirty="0" err="1"/>
            <a:t>anda</a:t>
          </a:r>
          <a:r>
            <a:rPr sz="800" dirty="0"/>
            <a:t> </a:t>
          </a:r>
          <a:r>
            <a:rPr sz="800" dirty="0" err="1"/>
            <a:t>toplu</a:t>
          </a:r>
          <a:r>
            <a:rPr sz="800" dirty="0"/>
            <a:t> </a:t>
          </a:r>
          <a:r>
            <a:rPr sz="800" dirty="0" err="1"/>
            <a:t>taşıma</a:t>
          </a:r>
          <a:r>
            <a:rPr sz="800" dirty="0"/>
            <a:t> </a:t>
          </a:r>
          <a:r>
            <a:rPr sz="800" dirty="0" err="1"/>
            <a:t>araçlarının</a:t>
          </a:r>
          <a:r>
            <a:rPr sz="800" dirty="0"/>
            <a:t> </a:t>
          </a:r>
          <a:r>
            <a:rPr sz="800" dirty="0" err="1"/>
            <a:t>yetersiz</a:t>
          </a:r>
          <a:r>
            <a:rPr sz="800" dirty="0"/>
            <a:t> </a:t>
          </a:r>
          <a:r>
            <a:rPr sz="800" dirty="0" err="1"/>
            <a:t>hizmet</a:t>
          </a:r>
          <a:r>
            <a:rPr sz="800" dirty="0"/>
            <a:t> </a:t>
          </a:r>
          <a:r>
            <a:rPr sz="800" dirty="0" err="1"/>
            <a:t>verdiği</a:t>
          </a:r>
          <a:r>
            <a:rPr sz="800" dirty="0"/>
            <a:t> </a:t>
          </a:r>
          <a:r>
            <a:rPr sz="800" dirty="0" err="1"/>
            <a:t>alanlarda</a:t>
          </a:r>
          <a:r>
            <a:rPr sz="800" dirty="0"/>
            <a:t> yeni metro </a:t>
          </a:r>
          <a:r>
            <a:rPr sz="800" dirty="0" err="1"/>
            <a:t>istasyonları</a:t>
          </a:r>
          <a:r>
            <a:rPr sz="800" dirty="0"/>
            <a:t> </a:t>
          </a:r>
          <a:r>
            <a:rPr sz="800" dirty="0" err="1"/>
            <a:t>inşa</a:t>
          </a:r>
          <a:r>
            <a:rPr sz="800" dirty="0"/>
            <a:t> </a:t>
          </a:r>
          <a:r>
            <a:rPr sz="800" dirty="0" err="1"/>
            <a:t>etmek</a:t>
          </a:r>
          <a:r>
            <a:rPr sz="800" dirty="0"/>
            <a:t> </a:t>
          </a:r>
          <a:r>
            <a:rPr sz="800" dirty="0" err="1"/>
            <a:t>erişilebilirliği</a:t>
          </a:r>
          <a:r>
            <a:rPr sz="800" dirty="0"/>
            <a:t> </a:t>
          </a:r>
          <a:r>
            <a:rPr sz="800" dirty="0" err="1"/>
            <a:t>artırmaya</a:t>
          </a:r>
          <a:r>
            <a:rPr sz="800" dirty="0"/>
            <a:t> </a:t>
          </a:r>
          <a:r>
            <a:rPr sz="800" dirty="0" err="1"/>
            <a:t>yardımcı</a:t>
          </a:r>
          <a:r>
            <a:rPr sz="800" dirty="0"/>
            <a:t> </a:t>
          </a:r>
          <a:r>
            <a:rPr sz="800" dirty="0" err="1"/>
            <a:t>olabilir</a:t>
          </a:r>
          <a:r>
            <a:rPr sz="800" dirty="0"/>
            <a:t>.</a:t>
          </a:r>
        </a:p>
        <a:p>
          <a:pPr algn="just">
            <a:defRPr sz="700"/>
          </a:pPr>
          <a:r>
            <a:rPr sz="800" dirty="0"/>
            <a:t>-   </a:t>
          </a:r>
          <a:r>
            <a:rPr sz="800" b="1" dirty="0" err="1"/>
            <a:t>Gelişmiş</a:t>
          </a:r>
          <a:r>
            <a:rPr sz="800" b="1" dirty="0"/>
            <a:t> </a:t>
          </a:r>
          <a:r>
            <a:rPr sz="800" b="1" dirty="0" err="1"/>
            <a:t>kentsel</a:t>
          </a:r>
          <a:r>
            <a:rPr sz="800" b="1" dirty="0"/>
            <a:t> </a:t>
          </a:r>
          <a:r>
            <a:rPr sz="800" b="1" dirty="0" err="1"/>
            <a:t>alanlar</a:t>
          </a:r>
          <a:r>
            <a:rPr sz="800" b="1" dirty="0"/>
            <a:t>: </a:t>
          </a:r>
          <a:r>
            <a:rPr sz="800" dirty="0"/>
            <a:t>Ulaşım </a:t>
          </a:r>
          <a:r>
            <a:rPr sz="800" dirty="0" err="1"/>
            <a:t>planlama</a:t>
          </a:r>
          <a:r>
            <a:rPr sz="800" dirty="0"/>
            <a:t> </a:t>
          </a:r>
          <a:r>
            <a:rPr sz="800" dirty="0" err="1"/>
            <a:t>önlemleri</a:t>
          </a:r>
          <a:r>
            <a:rPr sz="800" dirty="0"/>
            <a:t> </a:t>
          </a:r>
          <a:r>
            <a:rPr sz="800" dirty="0" err="1"/>
            <a:t>Ankara'daki</a:t>
          </a:r>
          <a:r>
            <a:rPr sz="800" dirty="0"/>
            <a:t> </a:t>
          </a:r>
          <a:r>
            <a:rPr sz="800" dirty="0" err="1"/>
            <a:t>kentsel</a:t>
          </a:r>
          <a:r>
            <a:rPr sz="800" dirty="0"/>
            <a:t> </a:t>
          </a:r>
          <a:r>
            <a:rPr sz="800" dirty="0" err="1"/>
            <a:t>alanları</a:t>
          </a:r>
          <a:r>
            <a:rPr sz="800" dirty="0"/>
            <a:t> da </a:t>
          </a:r>
          <a:r>
            <a:rPr sz="800" dirty="0" err="1"/>
            <a:t>artırabilir</a:t>
          </a:r>
          <a:r>
            <a:rPr sz="800" dirty="0"/>
            <a:t>. </a:t>
          </a:r>
          <a:r>
            <a:rPr sz="800" dirty="0" err="1"/>
            <a:t>Örneğin</a:t>
          </a:r>
          <a:r>
            <a:rPr sz="800" dirty="0"/>
            <a:t>, </a:t>
          </a:r>
          <a:r>
            <a:rPr sz="800" dirty="0" err="1"/>
            <a:t>otoparkları</a:t>
          </a:r>
          <a:r>
            <a:rPr sz="800" dirty="0"/>
            <a:t> </a:t>
          </a:r>
          <a:r>
            <a:rPr sz="800" dirty="0" err="1"/>
            <a:t>halka</a:t>
          </a:r>
          <a:r>
            <a:rPr sz="800" dirty="0"/>
            <a:t> </a:t>
          </a:r>
          <a:r>
            <a:rPr sz="800" dirty="0" err="1"/>
            <a:t>açık</a:t>
          </a:r>
          <a:r>
            <a:rPr sz="800" dirty="0"/>
            <a:t> </a:t>
          </a:r>
          <a:r>
            <a:rPr sz="800" dirty="0" err="1"/>
            <a:t>parklara</a:t>
          </a:r>
          <a:r>
            <a:rPr sz="800" dirty="0"/>
            <a:t> </a:t>
          </a:r>
          <a:r>
            <a:rPr sz="800" dirty="0" err="1"/>
            <a:t>dönüştürmek</a:t>
          </a:r>
          <a:r>
            <a:rPr sz="800" dirty="0"/>
            <a:t> </a:t>
          </a:r>
          <a:r>
            <a:rPr sz="800" dirty="0" err="1"/>
            <a:t>veya</a:t>
          </a:r>
          <a:r>
            <a:rPr sz="800" dirty="0"/>
            <a:t> </a:t>
          </a:r>
          <a:r>
            <a:rPr sz="800" dirty="0" err="1"/>
            <a:t>caddeleri</a:t>
          </a:r>
          <a:r>
            <a:rPr sz="800" dirty="0"/>
            <a:t> </a:t>
          </a:r>
          <a:r>
            <a:rPr sz="800" dirty="0" err="1"/>
            <a:t>yayalaştırmak</a:t>
          </a:r>
          <a:r>
            <a:rPr sz="800" dirty="0"/>
            <a:t> </a:t>
          </a:r>
          <a:r>
            <a:rPr sz="800" dirty="0" err="1"/>
            <a:t>daha</a:t>
          </a:r>
          <a:r>
            <a:rPr sz="800" dirty="0"/>
            <a:t> </a:t>
          </a:r>
          <a:r>
            <a:rPr sz="800" dirty="0" err="1"/>
            <a:t>fazla</a:t>
          </a:r>
          <a:r>
            <a:rPr sz="800" dirty="0"/>
            <a:t> </a:t>
          </a:r>
          <a:r>
            <a:rPr sz="800" dirty="0" err="1"/>
            <a:t>yeşil</a:t>
          </a:r>
          <a:r>
            <a:rPr sz="800" dirty="0"/>
            <a:t> </a:t>
          </a:r>
          <a:r>
            <a:rPr sz="800" dirty="0" err="1"/>
            <a:t>alan</a:t>
          </a:r>
          <a:r>
            <a:rPr sz="800" dirty="0"/>
            <a:t> </a:t>
          </a:r>
          <a:r>
            <a:rPr sz="800" dirty="0" err="1"/>
            <a:t>yaratabilir</a:t>
          </a:r>
          <a:r>
            <a:rPr sz="800" dirty="0"/>
            <a:t> </a:t>
          </a:r>
          <a:r>
            <a:rPr sz="800" dirty="0" err="1"/>
            <a:t>ve</a:t>
          </a:r>
          <a:r>
            <a:rPr sz="800" dirty="0"/>
            <a:t> </a:t>
          </a:r>
          <a:r>
            <a:rPr sz="800" dirty="0" err="1"/>
            <a:t>sakinlerin</a:t>
          </a:r>
          <a:r>
            <a:rPr sz="800" dirty="0"/>
            <a:t> </a:t>
          </a:r>
          <a:r>
            <a:rPr sz="800" dirty="0" err="1"/>
            <a:t>yaşam</a:t>
          </a:r>
          <a:r>
            <a:rPr sz="800" dirty="0"/>
            <a:t> </a:t>
          </a:r>
          <a:r>
            <a:rPr sz="800" dirty="0" err="1"/>
            <a:t>kalitesini</a:t>
          </a:r>
          <a:r>
            <a:rPr sz="800" dirty="0"/>
            <a:t> </a:t>
          </a:r>
          <a:r>
            <a:rPr sz="800" dirty="0" err="1"/>
            <a:t>artırabilir</a:t>
          </a:r>
          <a:r>
            <a:rPr sz="800" dirty="0"/>
            <a:t>.</a:t>
          </a:r>
        </a:p>
        <a:p>
          <a:pPr algn="just">
            <a:defRPr sz="700"/>
          </a:pPr>
          <a:r>
            <a:rPr sz="800" dirty="0"/>
            <a:t>-   </a:t>
          </a:r>
          <a:r>
            <a:rPr sz="800" b="1" dirty="0" err="1"/>
            <a:t>Ekonomik</a:t>
          </a:r>
          <a:r>
            <a:rPr sz="800" b="1" dirty="0"/>
            <a:t> </a:t>
          </a:r>
          <a:r>
            <a:rPr sz="800" b="1" dirty="0" err="1"/>
            <a:t>faydalar</a:t>
          </a:r>
          <a:r>
            <a:rPr sz="800" b="1" dirty="0"/>
            <a:t>: </a:t>
          </a:r>
          <a:r>
            <a:rPr sz="800" dirty="0" err="1"/>
            <a:t>Ankara'daki</a:t>
          </a:r>
          <a:r>
            <a:rPr sz="800" dirty="0"/>
            <a:t> </a:t>
          </a:r>
          <a:r>
            <a:rPr sz="800" dirty="0" err="1"/>
            <a:t>ulaşım</a:t>
          </a:r>
          <a:r>
            <a:rPr sz="800" dirty="0"/>
            <a:t> </a:t>
          </a:r>
          <a:r>
            <a:rPr sz="800" dirty="0" err="1"/>
            <a:t>sisteminin</a:t>
          </a:r>
          <a:r>
            <a:rPr sz="800" dirty="0"/>
            <a:t> </a:t>
          </a:r>
          <a:r>
            <a:rPr sz="800" dirty="0" err="1"/>
            <a:t>iyileştirilmesi</a:t>
          </a:r>
          <a:r>
            <a:rPr sz="800" dirty="0"/>
            <a:t>, </a:t>
          </a:r>
          <a:r>
            <a:rPr sz="800" dirty="0" err="1"/>
            <a:t>işletmeler</a:t>
          </a:r>
          <a:r>
            <a:rPr sz="800" dirty="0"/>
            <a:t> </a:t>
          </a:r>
          <a:r>
            <a:rPr sz="800" dirty="0" err="1"/>
            <a:t>için</a:t>
          </a:r>
          <a:r>
            <a:rPr sz="800" dirty="0"/>
            <a:t> </a:t>
          </a:r>
          <a:r>
            <a:rPr sz="800" dirty="0" err="1"/>
            <a:t>ulaşım</a:t>
          </a:r>
          <a:r>
            <a:rPr sz="800" dirty="0"/>
            <a:t> </a:t>
          </a:r>
          <a:r>
            <a:rPr sz="800" dirty="0" err="1"/>
            <a:t>maliyetlerini</a:t>
          </a:r>
          <a:r>
            <a:rPr sz="800" dirty="0"/>
            <a:t> </a:t>
          </a:r>
          <a:r>
            <a:rPr sz="800" dirty="0" err="1"/>
            <a:t>azaltmak</a:t>
          </a:r>
          <a:r>
            <a:rPr sz="800" dirty="0"/>
            <a:t> </a:t>
          </a:r>
          <a:r>
            <a:rPr sz="800" dirty="0" err="1"/>
            <a:t>ve</a:t>
          </a:r>
          <a:r>
            <a:rPr sz="800" dirty="0"/>
            <a:t> </a:t>
          </a:r>
          <a:r>
            <a:rPr sz="800" dirty="0" err="1"/>
            <a:t>şehrin</a:t>
          </a:r>
          <a:r>
            <a:rPr sz="800" dirty="0"/>
            <a:t> </a:t>
          </a:r>
          <a:r>
            <a:rPr sz="800" dirty="0" err="1"/>
            <a:t>turistlere</a:t>
          </a:r>
          <a:r>
            <a:rPr sz="800" dirty="0"/>
            <a:t> </a:t>
          </a:r>
          <a:r>
            <a:rPr sz="800" dirty="0" err="1"/>
            <a:t>ve</a:t>
          </a:r>
          <a:r>
            <a:rPr sz="800" dirty="0"/>
            <a:t> </a:t>
          </a:r>
          <a:r>
            <a:rPr sz="800" dirty="0" err="1"/>
            <a:t>yatırımcılara</a:t>
          </a:r>
          <a:r>
            <a:rPr sz="800" dirty="0"/>
            <a:t> </a:t>
          </a:r>
          <a:r>
            <a:rPr sz="800" dirty="0" err="1"/>
            <a:t>çekiciliğini</a:t>
          </a:r>
          <a:r>
            <a:rPr sz="800" dirty="0"/>
            <a:t> </a:t>
          </a:r>
          <a:r>
            <a:rPr sz="800" dirty="0" err="1"/>
            <a:t>artırmak</a:t>
          </a:r>
          <a:r>
            <a:rPr sz="800" dirty="0"/>
            <a:t> </a:t>
          </a:r>
          <a:r>
            <a:rPr sz="800" dirty="0" err="1"/>
            <a:t>gibi</a:t>
          </a:r>
          <a:r>
            <a:rPr sz="800" dirty="0"/>
            <a:t> </a:t>
          </a:r>
          <a:r>
            <a:rPr sz="800" dirty="0" err="1"/>
            <a:t>ekonomik</a:t>
          </a:r>
          <a:r>
            <a:rPr sz="800" dirty="0"/>
            <a:t> </a:t>
          </a:r>
          <a:r>
            <a:rPr sz="800" dirty="0" err="1"/>
            <a:t>faydalara</a:t>
          </a:r>
          <a:r>
            <a:rPr sz="800" dirty="0"/>
            <a:t> da </a:t>
          </a:r>
          <a:r>
            <a:rPr sz="800" dirty="0" err="1"/>
            <a:t>sahip</a:t>
          </a:r>
          <a:r>
            <a:rPr sz="800" dirty="0"/>
            <a:t> </a:t>
          </a:r>
          <a:r>
            <a:rPr sz="800" dirty="0" err="1"/>
            <a:t>olabilir</a:t>
          </a:r>
          <a:r>
            <a:rPr sz="800" dirty="0"/>
            <a:t>.</a:t>
          </a:r>
        </a:p>
      </dgm:t>
    </dgm:pt>
    <dgm:pt modelId="{0D3F120C-E9AC-4FDA-9D89-A7FB581D6467}" type="parTrans" cxnId="{5DA04BD7-3FB0-4C42-AFCA-3334C3F4BD80}">
      <dgm:prSet/>
      <dgm:spPr/>
      <dgm:t>
        <a:bodyPr/>
        <a:lstStyle/>
        <a:p>
          <a:pPr algn="just"/>
          <a:endParaRPr lang="en-US" sz="2000"/>
        </a:p>
      </dgm:t>
    </dgm:pt>
    <dgm:pt modelId="{F3E0AAEF-6006-4C22-BEB6-377AC9C20EB2}" type="sibTrans" cxnId="{5DA04BD7-3FB0-4C42-AFCA-3334C3F4BD80}">
      <dgm:prSet/>
      <dgm:spPr/>
      <dgm:t>
        <a:bodyPr/>
        <a:lstStyle/>
        <a:p>
          <a:pPr algn="just"/>
          <a:endParaRPr lang="en-US" sz="2000"/>
        </a:p>
      </dgm:t>
    </dgm:pt>
    <dgm:pt modelId="{DABE64C4-4695-4CD6-B44C-B9F4F964F96F}">
      <dgm:prSet custT="1"/>
      <dgm:spPr/>
      <dgm:t>
        <a:bodyPr/>
        <a:lstStyle/>
        <a:p>
          <a:pPr algn="just">
            <a:defRPr sz="800"/>
          </a:pPr>
          <a:r>
            <a:rPr sz="900" dirty="0" err="1"/>
            <a:t>Ankara'da</a:t>
          </a:r>
          <a:r>
            <a:rPr sz="900" dirty="0"/>
            <a:t> </a:t>
          </a:r>
          <a:r>
            <a:rPr sz="900" dirty="0" err="1"/>
            <a:t>ulaşım</a:t>
          </a:r>
          <a:r>
            <a:rPr sz="900" dirty="0"/>
            <a:t> </a:t>
          </a:r>
          <a:r>
            <a:rPr sz="900" dirty="0" err="1"/>
            <a:t>planlama</a:t>
          </a:r>
          <a:r>
            <a:rPr sz="900" dirty="0"/>
            <a:t> </a:t>
          </a:r>
          <a:r>
            <a:rPr sz="900" dirty="0" err="1"/>
            <a:t>önlemlerinin</a:t>
          </a:r>
          <a:r>
            <a:rPr sz="900" dirty="0"/>
            <a:t> </a:t>
          </a:r>
          <a:r>
            <a:rPr sz="900" dirty="0" err="1"/>
            <a:t>uygulanması</a:t>
          </a:r>
          <a:r>
            <a:rPr sz="900" dirty="0"/>
            <a:t>, </a:t>
          </a:r>
          <a:r>
            <a:rPr sz="900" dirty="0" err="1"/>
            <a:t>ulaşımı</a:t>
          </a:r>
          <a:r>
            <a:rPr sz="900" dirty="0"/>
            <a:t>, </a:t>
          </a:r>
          <a:r>
            <a:rPr sz="900" dirty="0" err="1"/>
            <a:t>halk</a:t>
          </a:r>
          <a:r>
            <a:rPr sz="900" dirty="0"/>
            <a:t> </a:t>
          </a:r>
          <a:r>
            <a:rPr sz="900" dirty="0" err="1"/>
            <a:t>sağlığını</a:t>
          </a:r>
          <a:r>
            <a:rPr sz="900" dirty="0"/>
            <a:t>, </a:t>
          </a:r>
          <a:r>
            <a:rPr sz="900" dirty="0" err="1"/>
            <a:t>erişilebilirliği</a:t>
          </a:r>
          <a:r>
            <a:rPr sz="900" dirty="0"/>
            <a:t>, </a:t>
          </a:r>
          <a:r>
            <a:rPr sz="900" dirty="0" err="1"/>
            <a:t>kentsel</a:t>
          </a:r>
          <a:r>
            <a:rPr sz="900" dirty="0"/>
            <a:t> </a:t>
          </a:r>
          <a:r>
            <a:rPr sz="900" dirty="0" err="1"/>
            <a:t>alanları</a:t>
          </a:r>
          <a:r>
            <a:rPr sz="900" dirty="0"/>
            <a:t> </a:t>
          </a:r>
          <a:r>
            <a:rPr sz="900" dirty="0" err="1"/>
            <a:t>ve</a:t>
          </a:r>
          <a:r>
            <a:rPr sz="900" dirty="0"/>
            <a:t> </a:t>
          </a:r>
          <a:r>
            <a:rPr sz="900" dirty="0" err="1"/>
            <a:t>ekonomiyi</a:t>
          </a:r>
          <a:r>
            <a:rPr sz="900" dirty="0"/>
            <a:t> </a:t>
          </a:r>
          <a:r>
            <a:rPr sz="900" dirty="0" err="1"/>
            <a:t>iyileştirme</a:t>
          </a:r>
          <a:r>
            <a:rPr sz="900" dirty="0"/>
            <a:t> </a:t>
          </a:r>
          <a:r>
            <a:rPr sz="900" dirty="0" err="1"/>
            <a:t>potansiyeline</a:t>
          </a:r>
          <a:r>
            <a:rPr sz="900" dirty="0"/>
            <a:t> </a:t>
          </a:r>
          <a:r>
            <a:rPr sz="900" dirty="0" err="1"/>
            <a:t>sahiptir</a:t>
          </a:r>
          <a:r>
            <a:rPr sz="900" dirty="0"/>
            <a:t>. </a:t>
          </a:r>
          <a:r>
            <a:rPr sz="900" dirty="0" err="1"/>
            <a:t>Bununla</a:t>
          </a:r>
          <a:r>
            <a:rPr sz="900" dirty="0"/>
            <a:t> </a:t>
          </a:r>
          <a:r>
            <a:rPr sz="900" dirty="0" err="1"/>
            <a:t>birlikte</a:t>
          </a:r>
          <a:r>
            <a:rPr sz="900" dirty="0"/>
            <a:t>, </a:t>
          </a:r>
          <a:r>
            <a:rPr sz="900" dirty="0" err="1"/>
            <a:t>bu</a:t>
          </a:r>
          <a:r>
            <a:rPr sz="900" dirty="0"/>
            <a:t> </a:t>
          </a:r>
          <a:r>
            <a:rPr sz="900" dirty="0" err="1"/>
            <a:t>önlemleri</a:t>
          </a:r>
          <a:r>
            <a:rPr sz="900" dirty="0"/>
            <a:t> </a:t>
          </a:r>
          <a:r>
            <a:rPr sz="900" dirty="0" err="1"/>
            <a:t>tasarlarken</a:t>
          </a:r>
          <a:r>
            <a:rPr sz="900" dirty="0"/>
            <a:t> </a:t>
          </a:r>
          <a:r>
            <a:rPr sz="900" dirty="0" err="1"/>
            <a:t>ve</a:t>
          </a:r>
          <a:r>
            <a:rPr sz="900" dirty="0"/>
            <a:t> </a:t>
          </a:r>
          <a:r>
            <a:rPr sz="900" dirty="0" err="1"/>
            <a:t>uygularken</a:t>
          </a:r>
          <a:r>
            <a:rPr sz="900" dirty="0"/>
            <a:t> </a:t>
          </a:r>
          <a:r>
            <a:rPr sz="900" dirty="0" err="1"/>
            <a:t>şehrin</a:t>
          </a:r>
          <a:r>
            <a:rPr sz="900" dirty="0"/>
            <a:t> </a:t>
          </a:r>
          <a:r>
            <a:rPr sz="900" dirty="0" err="1"/>
            <a:t>özel</a:t>
          </a:r>
          <a:r>
            <a:rPr sz="900" dirty="0"/>
            <a:t> </a:t>
          </a:r>
          <a:r>
            <a:rPr sz="900" dirty="0" err="1"/>
            <a:t>ihtiyaçlarını</a:t>
          </a:r>
          <a:r>
            <a:rPr sz="900" dirty="0"/>
            <a:t> </a:t>
          </a:r>
          <a:r>
            <a:rPr sz="900" dirty="0" err="1"/>
            <a:t>ve</a:t>
          </a:r>
          <a:r>
            <a:rPr sz="900" dirty="0"/>
            <a:t> </a:t>
          </a:r>
          <a:r>
            <a:rPr sz="900" dirty="0" err="1"/>
            <a:t>zorluklarını</a:t>
          </a:r>
          <a:r>
            <a:rPr sz="900" dirty="0"/>
            <a:t> </a:t>
          </a:r>
          <a:r>
            <a:rPr sz="900" dirty="0" err="1"/>
            <a:t>dikkatlice</a:t>
          </a:r>
          <a:r>
            <a:rPr sz="900" dirty="0"/>
            <a:t> </a:t>
          </a:r>
          <a:r>
            <a:rPr sz="900" dirty="0" err="1"/>
            <a:t>değerlendirmek</a:t>
          </a:r>
          <a:r>
            <a:rPr sz="900" dirty="0"/>
            <a:t> </a:t>
          </a:r>
          <a:r>
            <a:rPr sz="900" dirty="0" err="1"/>
            <a:t>önemlidir</a:t>
          </a:r>
          <a:r>
            <a:rPr sz="900" dirty="0"/>
            <a:t>.</a:t>
          </a:r>
        </a:p>
      </dgm:t>
    </dgm:pt>
    <dgm:pt modelId="{6F09119B-5FF1-498E-AD21-21D1AAA9B410}" type="parTrans" cxnId="{F01E67DC-D573-4CAA-957E-BB72C3E36DC5}">
      <dgm:prSet/>
      <dgm:spPr/>
      <dgm:t>
        <a:bodyPr/>
        <a:lstStyle/>
        <a:p>
          <a:pPr algn="just"/>
          <a:endParaRPr lang="en-US" sz="2000"/>
        </a:p>
      </dgm:t>
    </dgm:pt>
    <dgm:pt modelId="{4428D1BF-CA76-4353-9A41-BBA65DC12B66}" type="sibTrans" cxnId="{F01E67DC-D573-4CAA-957E-BB72C3E36DC5}">
      <dgm:prSet/>
      <dgm:spPr/>
      <dgm:t>
        <a:bodyPr/>
        <a:lstStyle/>
        <a:p>
          <a:pPr algn="just"/>
          <a:endParaRPr lang="en-US" sz="2000"/>
        </a:p>
      </dgm:t>
    </dgm:pt>
    <dgm:pt modelId="{E56414FE-5827-4131-AC27-F24491AFA63A}" type="pres">
      <dgm:prSet presAssocID="{8F1BD9C1-F5DB-497B-BCA4-FDE57AC32546}" presName="Name0" presStyleCnt="0">
        <dgm:presLayoutVars>
          <dgm:chMax val="7"/>
          <dgm:chPref val="7"/>
          <dgm:dir/>
        </dgm:presLayoutVars>
      </dgm:prSet>
      <dgm:spPr/>
    </dgm:pt>
    <dgm:pt modelId="{99ACDAF6-6162-415A-9947-94A93706BE6E}" type="pres">
      <dgm:prSet presAssocID="{8F1BD9C1-F5DB-497B-BCA4-FDE57AC32546}" presName="Name1" presStyleCnt="0"/>
      <dgm:spPr/>
    </dgm:pt>
    <dgm:pt modelId="{3206431C-65EA-4BA4-A742-71F3E9CD1954}" type="pres">
      <dgm:prSet presAssocID="{8F1BD9C1-F5DB-497B-BCA4-FDE57AC32546}" presName="cycle" presStyleCnt="0"/>
      <dgm:spPr/>
    </dgm:pt>
    <dgm:pt modelId="{6FE4242B-B11B-49FD-BF64-637415D05C54}" type="pres">
      <dgm:prSet presAssocID="{8F1BD9C1-F5DB-497B-BCA4-FDE57AC32546}" presName="srcNode" presStyleLbl="node1" presStyleIdx="0" presStyleCnt="3"/>
      <dgm:spPr/>
    </dgm:pt>
    <dgm:pt modelId="{718FBBAB-07ED-4C15-B770-085783058809}" type="pres">
      <dgm:prSet presAssocID="{8F1BD9C1-F5DB-497B-BCA4-FDE57AC32546}" presName="conn" presStyleLbl="parChTrans1D2" presStyleIdx="0" presStyleCnt="1"/>
      <dgm:spPr/>
    </dgm:pt>
    <dgm:pt modelId="{99E4E195-956F-4BC9-8CF9-433109F131BD}" type="pres">
      <dgm:prSet presAssocID="{8F1BD9C1-F5DB-497B-BCA4-FDE57AC32546}" presName="extraNode" presStyleLbl="node1" presStyleIdx="0" presStyleCnt="3"/>
      <dgm:spPr/>
    </dgm:pt>
    <dgm:pt modelId="{0F37CE7F-A9F5-479B-9194-1BA368D80AAF}" type="pres">
      <dgm:prSet presAssocID="{8F1BD9C1-F5DB-497B-BCA4-FDE57AC32546}" presName="dstNode" presStyleLbl="node1" presStyleIdx="0" presStyleCnt="3"/>
      <dgm:spPr/>
    </dgm:pt>
    <dgm:pt modelId="{25E85CCA-9A0E-474C-B96C-774D7DCE80A5}" type="pres">
      <dgm:prSet presAssocID="{6A164C46-7382-49B5-A154-108F92076883}" presName="text_1" presStyleLbl="node1" presStyleIdx="0" presStyleCnt="3">
        <dgm:presLayoutVars>
          <dgm:bulletEnabled val="1"/>
        </dgm:presLayoutVars>
      </dgm:prSet>
      <dgm:spPr/>
    </dgm:pt>
    <dgm:pt modelId="{9957F4E2-BF42-47B1-8D7A-56EE3B6364F0}" type="pres">
      <dgm:prSet presAssocID="{6A164C46-7382-49B5-A154-108F92076883}" presName="accent_1" presStyleCnt="0"/>
      <dgm:spPr/>
    </dgm:pt>
    <dgm:pt modelId="{8EE7CCD5-9126-4B96-83C7-12961E386C33}" type="pres">
      <dgm:prSet presAssocID="{6A164C46-7382-49B5-A154-108F92076883}" presName="accentRepeatNode" presStyleLbl="solidFgAcc1" presStyleIdx="0" presStyleCnt="3"/>
      <dgm:spPr/>
    </dgm:pt>
    <dgm:pt modelId="{2483B7D3-529B-46D0-9887-E23264A8E76D}" type="pres">
      <dgm:prSet presAssocID="{409C4391-09F3-4242-B015-897A1F0F0DCF}" presName="text_2" presStyleLbl="node1" presStyleIdx="1" presStyleCnt="3" custScaleY="172473">
        <dgm:presLayoutVars>
          <dgm:bulletEnabled val="1"/>
        </dgm:presLayoutVars>
      </dgm:prSet>
      <dgm:spPr/>
    </dgm:pt>
    <dgm:pt modelId="{47773172-C755-49A4-9E36-30559ECBCA8E}" type="pres">
      <dgm:prSet presAssocID="{409C4391-09F3-4242-B015-897A1F0F0DCF}" presName="accent_2" presStyleCnt="0"/>
      <dgm:spPr/>
    </dgm:pt>
    <dgm:pt modelId="{65C35A12-FB85-4893-8BC7-3FFE5DEA74FC}" type="pres">
      <dgm:prSet presAssocID="{409C4391-09F3-4242-B015-897A1F0F0DCF}" presName="accentRepeatNode" presStyleLbl="solidFgAcc1" presStyleIdx="1" presStyleCnt="3"/>
      <dgm:spPr/>
    </dgm:pt>
    <dgm:pt modelId="{354EED9C-DC7F-4718-8EB7-6F5D3E9DFAFD}" type="pres">
      <dgm:prSet presAssocID="{DABE64C4-4695-4CD6-B44C-B9F4F964F96F}" presName="text_3" presStyleLbl="node1" presStyleIdx="2" presStyleCnt="3">
        <dgm:presLayoutVars>
          <dgm:bulletEnabled val="1"/>
        </dgm:presLayoutVars>
      </dgm:prSet>
      <dgm:spPr/>
    </dgm:pt>
    <dgm:pt modelId="{58EBE721-B3F6-40B4-88F8-6B6F37C3A638}" type="pres">
      <dgm:prSet presAssocID="{DABE64C4-4695-4CD6-B44C-B9F4F964F96F}" presName="accent_3" presStyleCnt="0"/>
      <dgm:spPr/>
    </dgm:pt>
    <dgm:pt modelId="{BAB5F1BE-057F-4C50-810A-1E7B5F7E78D6}" type="pres">
      <dgm:prSet presAssocID="{DABE64C4-4695-4CD6-B44C-B9F4F964F96F}" presName="accentRepeatNode" presStyleLbl="solidFgAcc1" presStyleIdx="2" presStyleCnt="3"/>
      <dgm:spPr/>
    </dgm:pt>
  </dgm:ptLst>
  <dgm:cxnLst>
    <dgm:cxn modelId="{87B8891C-8701-497E-AFD2-2D6E4EA12F0B}" type="presOf" srcId="{6A164C46-7382-49B5-A154-108F92076883}" destId="{25E85CCA-9A0E-474C-B96C-774D7DCE80A5}" srcOrd="0" destOrd="0" presId="urn:microsoft.com/office/officeart/2008/layout/VerticalCurvedList"/>
    <dgm:cxn modelId="{5DECE964-D2CA-41E0-80AD-AAAEA5A055F3}" type="presOf" srcId="{8F1BD9C1-F5DB-497B-BCA4-FDE57AC32546}" destId="{E56414FE-5827-4131-AC27-F24491AFA63A}" srcOrd="0" destOrd="0" presId="urn:microsoft.com/office/officeart/2008/layout/VerticalCurvedList"/>
    <dgm:cxn modelId="{421BF24D-6158-4E5B-9645-E50B880927F9}" type="presOf" srcId="{85D229CA-0EAF-417B-B2D2-82F91F99F240}" destId="{718FBBAB-07ED-4C15-B770-085783058809}" srcOrd="0" destOrd="0" presId="urn:microsoft.com/office/officeart/2008/layout/VerticalCurvedList"/>
    <dgm:cxn modelId="{EE44CD71-42FA-4B3F-BCBB-39DAF579821A}" type="presOf" srcId="{409C4391-09F3-4242-B015-897A1F0F0DCF}" destId="{2483B7D3-529B-46D0-9887-E23264A8E76D}" srcOrd="0" destOrd="0" presId="urn:microsoft.com/office/officeart/2008/layout/VerticalCurvedList"/>
    <dgm:cxn modelId="{B5CF88A9-18C8-40A2-A7AC-70867FF89E9E}" srcId="{8F1BD9C1-F5DB-497B-BCA4-FDE57AC32546}" destId="{6A164C46-7382-49B5-A154-108F92076883}" srcOrd="0" destOrd="0" parTransId="{A7DD60D8-E3BF-4367-BAB6-9B7E956DE9F5}" sibTransId="{85D229CA-0EAF-417B-B2D2-82F91F99F240}"/>
    <dgm:cxn modelId="{5DA04BD7-3FB0-4C42-AFCA-3334C3F4BD80}" srcId="{8F1BD9C1-F5DB-497B-BCA4-FDE57AC32546}" destId="{409C4391-09F3-4242-B015-897A1F0F0DCF}" srcOrd="1" destOrd="0" parTransId="{0D3F120C-E9AC-4FDA-9D89-A7FB581D6467}" sibTransId="{F3E0AAEF-6006-4C22-BEB6-377AC9C20EB2}"/>
    <dgm:cxn modelId="{F01E67DC-D573-4CAA-957E-BB72C3E36DC5}" srcId="{8F1BD9C1-F5DB-497B-BCA4-FDE57AC32546}" destId="{DABE64C4-4695-4CD6-B44C-B9F4F964F96F}" srcOrd="2" destOrd="0" parTransId="{6F09119B-5FF1-498E-AD21-21D1AAA9B410}" sibTransId="{4428D1BF-CA76-4353-9A41-BBA65DC12B66}"/>
    <dgm:cxn modelId="{A093DAFA-5172-4572-A755-5F7392BF4DF9}" type="presOf" srcId="{DABE64C4-4695-4CD6-B44C-B9F4F964F96F}" destId="{354EED9C-DC7F-4718-8EB7-6F5D3E9DFAFD}" srcOrd="0" destOrd="0" presId="urn:microsoft.com/office/officeart/2008/layout/VerticalCurvedList"/>
    <dgm:cxn modelId="{74B9A57F-1469-4316-ABFA-3EA173091CCE}" type="presParOf" srcId="{E56414FE-5827-4131-AC27-F24491AFA63A}" destId="{99ACDAF6-6162-415A-9947-94A93706BE6E}" srcOrd="0" destOrd="0" presId="urn:microsoft.com/office/officeart/2008/layout/VerticalCurvedList"/>
    <dgm:cxn modelId="{C3FC2B57-D45F-4D6F-8495-7163213C64F2}" type="presParOf" srcId="{99ACDAF6-6162-415A-9947-94A93706BE6E}" destId="{3206431C-65EA-4BA4-A742-71F3E9CD1954}" srcOrd="0" destOrd="0" presId="urn:microsoft.com/office/officeart/2008/layout/VerticalCurvedList"/>
    <dgm:cxn modelId="{2586140D-1268-4CE5-B891-32B75B60494E}" type="presParOf" srcId="{3206431C-65EA-4BA4-A742-71F3E9CD1954}" destId="{6FE4242B-B11B-49FD-BF64-637415D05C54}" srcOrd="0" destOrd="0" presId="urn:microsoft.com/office/officeart/2008/layout/VerticalCurvedList"/>
    <dgm:cxn modelId="{94B78A59-9BC9-4877-A930-48A91DA6D487}" type="presParOf" srcId="{3206431C-65EA-4BA4-A742-71F3E9CD1954}" destId="{718FBBAB-07ED-4C15-B770-085783058809}" srcOrd="1" destOrd="0" presId="urn:microsoft.com/office/officeart/2008/layout/VerticalCurvedList"/>
    <dgm:cxn modelId="{CFF519F5-4C83-496E-A57E-3C08465B7A20}" type="presParOf" srcId="{3206431C-65EA-4BA4-A742-71F3E9CD1954}" destId="{99E4E195-956F-4BC9-8CF9-433109F131BD}" srcOrd="2" destOrd="0" presId="urn:microsoft.com/office/officeart/2008/layout/VerticalCurvedList"/>
    <dgm:cxn modelId="{AB4E0529-C771-4B06-A356-B23745E145E2}" type="presParOf" srcId="{3206431C-65EA-4BA4-A742-71F3E9CD1954}" destId="{0F37CE7F-A9F5-479B-9194-1BA368D80AAF}" srcOrd="3" destOrd="0" presId="urn:microsoft.com/office/officeart/2008/layout/VerticalCurvedList"/>
    <dgm:cxn modelId="{89D03B40-23F0-4A99-BF98-B19430427FF0}" type="presParOf" srcId="{99ACDAF6-6162-415A-9947-94A93706BE6E}" destId="{25E85CCA-9A0E-474C-B96C-774D7DCE80A5}" srcOrd="1" destOrd="0" presId="urn:microsoft.com/office/officeart/2008/layout/VerticalCurvedList"/>
    <dgm:cxn modelId="{F17C5C6C-B0CA-492B-A1D3-F08FD429197C}" type="presParOf" srcId="{99ACDAF6-6162-415A-9947-94A93706BE6E}" destId="{9957F4E2-BF42-47B1-8D7A-56EE3B6364F0}" srcOrd="2" destOrd="0" presId="urn:microsoft.com/office/officeart/2008/layout/VerticalCurvedList"/>
    <dgm:cxn modelId="{1541EA33-EEA3-4971-AC2A-936D33B099B9}" type="presParOf" srcId="{9957F4E2-BF42-47B1-8D7A-56EE3B6364F0}" destId="{8EE7CCD5-9126-4B96-83C7-12961E386C33}" srcOrd="0" destOrd="0" presId="urn:microsoft.com/office/officeart/2008/layout/VerticalCurvedList"/>
    <dgm:cxn modelId="{320E2EA5-D38A-40B2-851E-AE268B73B56F}" type="presParOf" srcId="{99ACDAF6-6162-415A-9947-94A93706BE6E}" destId="{2483B7D3-529B-46D0-9887-E23264A8E76D}" srcOrd="3" destOrd="0" presId="urn:microsoft.com/office/officeart/2008/layout/VerticalCurvedList"/>
    <dgm:cxn modelId="{CDA334D9-8D11-4FCF-BBB8-C012A897D520}" type="presParOf" srcId="{99ACDAF6-6162-415A-9947-94A93706BE6E}" destId="{47773172-C755-49A4-9E36-30559ECBCA8E}" srcOrd="4" destOrd="0" presId="urn:microsoft.com/office/officeart/2008/layout/VerticalCurvedList"/>
    <dgm:cxn modelId="{6520E846-E95B-438A-AB70-242F6586D734}" type="presParOf" srcId="{47773172-C755-49A4-9E36-30559ECBCA8E}" destId="{65C35A12-FB85-4893-8BC7-3FFE5DEA74FC}" srcOrd="0" destOrd="0" presId="urn:microsoft.com/office/officeart/2008/layout/VerticalCurvedList"/>
    <dgm:cxn modelId="{12110F29-EB96-4851-B590-F1ED55FA08FC}" type="presParOf" srcId="{99ACDAF6-6162-415A-9947-94A93706BE6E}" destId="{354EED9C-DC7F-4718-8EB7-6F5D3E9DFAFD}" srcOrd="5" destOrd="0" presId="urn:microsoft.com/office/officeart/2008/layout/VerticalCurvedList"/>
    <dgm:cxn modelId="{219CBCB7-A99F-48B9-868F-DB951E13A500}" type="presParOf" srcId="{99ACDAF6-6162-415A-9947-94A93706BE6E}" destId="{58EBE721-B3F6-40B4-88F8-6B6F37C3A638}" srcOrd="6" destOrd="0" presId="urn:microsoft.com/office/officeart/2008/layout/VerticalCurvedList"/>
    <dgm:cxn modelId="{0276573C-AD37-48A5-8CCA-65B7DAF487CC}" type="presParOf" srcId="{58EBE721-B3F6-40B4-88F8-6B6F37C3A638}" destId="{BAB5F1BE-057F-4C50-810A-1E7B5F7E78D6}" srcOrd="0" destOrd="0" presId="urn:microsoft.com/office/officeart/2008/layout/VerticalCurv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92B0F2DC-3FE2-4BB2-9099-1AF96E121CC4}" type="doc">
      <dgm:prSet loTypeId="urn:microsoft.com/office/officeart/2008/layout/VerticalAccentList" loCatId="list" qsTypeId="urn:microsoft.com/office/officeart/2005/8/quickstyle/simple1" qsCatId="simple" csTypeId="urn:microsoft.com/office/officeart/2005/8/colors/accent1_2" csCatId="accent1"/>
      <dgm:spPr/>
      <dgm:t>
        <a:bodyPr/>
        <a:lstStyle/>
        <a:p>
          <a:endParaRPr lang="en-US"/>
        </a:p>
      </dgm:t>
    </dgm:pt>
    <dgm:pt modelId="{8CAF4C54-9312-4191-AAC5-1F9E3D806D50}">
      <dgm:prSet/>
      <dgm:spPr/>
      <dgm:t>
        <a:bodyPr/>
        <a:lstStyle/>
        <a:p>
          <a:r>
            <a:t>Ankara'da ulaşım planlama önlemlerinin uygulanması bir dizi faktör nedeniyle zor olabilir. Bu zorlukların ele alınması, önlemlerin başarısını ve sürdürülebilirliğini sağlamak için esastır:</a:t>
          </a:r>
          <a:endParaRPr lang="en-US" dirty="0"/>
        </a:p>
      </dgm:t>
    </dgm:pt>
    <dgm:pt modelId="{40C790E4-139D-4C13-930C-C27558F75592}" type="parTrans" cxnId="{62463850-AD80-4F51-9A77-8B0530D38B3F}">
      <dgm:prSet/>
      <dgm:spPr/>
      <dgm:t>
        <a:bodyPr/>
        <a:lstStyle/>
        <a:p>
          <a:endParaRPr lang="en-US"/>
        </a:p>
      </dgm:t>
    </dgm:pt>
    <dgm:pt modelId="{A89E6371-C892-4872-9EE3-D7A0B89394B5}" type="sibTrans" cxnId="{62463850-AD80-4F51-9A77-8B0530D38B3F}">
      <dgm:prSet/>
      <dgm:spPr/>
      <dgm:t>
        <a:bodyPr/>
        <a:lstStyle/>
        <a:p>
          <a:endParaRPr lang="en-US"/>
        </a:p>
      </dgm:t>
    </dgm:pt>
    <dgm:pt modelId="{0C007E32-F8C9-4F56-95ED-57DA2BA9BF83}">
      <dgm:prSet/>
      <dgm:spPr/>
      <dgm:t>
        <a:bodyPr/>
        <a:lstStyle/>
        <a:p>
          <a:r>
            <a:rPr b="1"/>
            <a:t>Sınırlı toplu taşıma altyapısı: </a:t>
          </a:r>
          <a:r>
            <a:t>Yeni toplu taşıma altyapısının geliştirilmesi pahalı ve zaman alıcı olabilir.</a:t>
          </a:r>
        </a:p>
      </dgm:t>
    </dgm:pt>
    <dgm:pt modelId="{50C91078-7B1D-4D45-91BC-0BD4317BC1FF}" type="parTrans" cxnId="{B604A7DA-9775-4AD4-BB12-014E99F6CD0E}">
      <dgm:prSet/>
      <dgm:spPr/>
      <dgm:t>
        <a:bodyPr/>
        <a:lstStyle/>
        <a:p>
          <a:endParaRPr lang="en-US"/>
        </a:p>
      </dgm:t>
    </dgm:pt>
    <dgm:pt modelId="{08DAE34E-94C7-4B23-8534-21FCF506451F}" type="sibTrans" cxnId="{B604A7DA-9775-4AD4-BB12-014E99F6CD0E}">
      <dgm:prSet/>
      <dgm:spPr/>
      <dgm:t>
        <a:bodyPr/>
        <a:lstStyle/>
        <a:p>
          <a:endParaRPr lang="en-US"/>
        </a:p>
      </dgm:t>
    </dgm:pt>
    <dgm:pt modelId="{E43CA162-C508-46FA-9CF7-D9B1D9CFA05B}">
      <dgm:prSet/>
      <dgm:spPr/>
      <dgm:t>
        <a:bodyPr/>
        <a:lstStyle/>
        <a:p>
          <a:r>
            <a:rPr b="1"/>
            <a:t>Otomobil sahipliğine yönelik kültürel tutumlar</a:t>
          </a:r>
          <a:r>
            <a:t>: Ankara'da otomobil sahipliği genellikle statü ve başarının sembolü olarak görülüyor. Sakinleri alternatif ulaşım yöntemlerini kullanmaya teşvik etmek zor olabilir.</a:t>
          </a:r>
        </a:p>
      </dgm:t>
    </dgm:pt>
    <dgm:pt modelId="{BF4F327C-8559-4E03-96C9-97C10FCFDFEA}" type="parTrans" cxnId="{3DD1F2ED-3923-4FBF-855C-F073EDF69444}">
      <dgm:prSet/>
      <dgm:spPr/>
      <dgm:t>
        <a:bodyPr/>
        <a:lstStyle/>
        <a:p>
          <a:endParaRPr lang="en-US"/>
        </a:p>
      </dgm:t>
    </dgm:pt>
    <dgm:pt modelId="{2D3BF0D7-39BE-46FB-977B-291A946F36F9}" type="sibTrans" cxnId="{3DD1F2ED-3923-4FBF-855C-F073EDF69444}">
      <dgm:prSet/>
      <dgm:spPr/>
      <dgm:t>
        <a:bodyPr/>
        <a:lstStyle/>
        <a:p>
          <a:endParaRPr lang="en-US"/>
        </a:p>
      </dgm:t>
    </dgm:pt>
    <dgm:pt modelId="{4356E1CE-1223-4FB9-8D89-259B8D7BB264}">
      <dgm:prSet/>
      <dgm:spPr/>
      <dgm:t>
        <a:bodyPr/>
        <a:lstStyle/>
        <a:p>
          <a:r>
            <a:rPr b="1" dirty="0"/>
            <a:t>Ulaşım </a:t>
          </a:r>
          <a:r>
            <a:rPr b="1" dirty="0" err="1"/>
            <a:t>planlama</a:t>
          </a:r>
          <a:r>
            <a:rPr b="1" dirty="0"/>
            <a:t> </a:t>
          </a:r>
          <a:r>
            <a:rPr b="1" dirty="0" err="1"/>
            <a:t>önlemlerinin</a:t>
          </a:r>
          <a:r>
            <a:rPr b="1" dirty="0"/>
            <a:t> </a:t>
          </a:r>
          <a:r>
            <a:rPr b="1" dirty="0" err="1"/>
            <a:t>uygulanması</a:t>
          </a:r>
          <a:r>
            <a:rPr dirty="0"/>
            <a:t>, </a:t>
          </a:r>
          <a:r>
            <a:rPr dirty="0" err="1"/>
            <a:t>yerel</a:t>
          </a:r>
          <a:r>
            <a:rPr dirty="0"/>
            <a:t> </a:t>
          </a:r>
          <a:r>
            <a:rPr dirty="0" err="1"/>
            <a:t>ve</a:t>
          </a:r>
          <a:r>
            <a:rPr dirty="0"/>
            <a:t> </a:t>
          </a:r>
          <a:r>
            <a:rPr dirty="0" err="1"/>
            <a:t>ulusal</a:t>
          </a:r>
          <a:r>
            <a:rPr dirty="0"/>
            <a:t> </a:t>
          </a:r>
          <a:r>
            <a:rPr dirty="0" err="1"/>
            <a:t>makamlardan</a:t>
          </a:r>
          <a:r>
            <a:rPr dirty="0"/>
            <a:t> </a:t>
          </a:r>
          <a:r>
            <a:rPr dirty="0" err="1"/>
            <a:t>önemli</a:t>
          </a:r>
          <a:r>
            <a:rPr dirty="0"/>
            <a:t> </a:t>
          </a:r>
          <a:r>
            <a:rPr dirty="0" err="1"/>
            <a:t>siyasi</a:t>
          </a:r>
          <a:r>
            <a:rPr dirty="0"/>
            <a:t> </a:t>
          </a:r>
          <a:r>
            <a:rPr dirty="0" err="1"/>
            <a:t>irade</a:t>
          </a:r>
          <a:r>
            <a:rPr dirty="0"/>
            <a:t> </a:t>
          </a:r>
          <a:r>
            <a:rPr dirty="0" err="1"/>
            <a:t>ve</a:t>
          </a:r>
          <a:r>
            <a:rPr dirty="0"/>
            <a:t> </a:t>
          </a:r>
          <a:r>
            <a:rPr dirty="0" err="1"/>
            <a:t>destek</a:t>
          </a:r>
          <a:r>
            <a:rPr dirty="0"/>
            <a:t> </a:t>
          </a:r>
          <a:r>
            <a:rPr dirty="0" err="1"/>
            <a:t>gerektirebilir</a:t>
          </a:r>
          <a:r>
            <a:rPr dirty="0"/>
            <a:t>.</a:t>
          </a:r>
        </a:p>
      </dgm:t>
    </dgm:pt>
    <dgm:pt modelId="{E42A0E28-194E-4449-ADEE-0D374A932FD6}" type="parTrans" cxnId="{819C6DB5-B026-42E2-9E91-B8B314054880}">
      <dgm:prSet/>
      <dgm:spPr/>
      <dgm:t>
        <a:bodyPr/>
        <a:lstStyle/>
        <a:p>
          <a:endParaRPr lang="en-US"/>
        </a:p>
      </dgm:t>
    </dgm:pt>
    <dgm:pt modelId="{D3AE633A-6E6A-473C-89D5-3110C53C90F3}" type="sibTrans" cxnId="{819C6DB5-B026-42E2-9E91-B8B314054880}">
      <dgm:prSet/>
      <dgm:spPr/>
      <dgm:t>
        <a:bodyPr/>
        <a:lstStyle/>
        <a:p>
          <a:endParaRPr lang="en-US"/>
        </a:p>
      </dgm:t>
    </dgm:pt>
    <dgm:pt modelId="{1123D883-B1DE-4D19-8EA2-09B9978F692F}">
      <dgm:prSet/>
      <dgm:spPr/>
      <dgm:t>
        <a:bodyPr/>
        <a:lstStyle/>
        <a:p>
          <a:r>
            <a:rPr b="1"/>
            <a:t>İşletme sahiplerinin direnci: </a:t>
          </a:r>
          <a:r>
            <a:t>İşletme sahipleri, araç erişimini kısıtlayan veya otopark kullanılabilirliğini azaltan önlemlere direnebilir.</a:t>
          </a:r>
        </a:p>
      </dgm:t>
    </dgm:pt>
    <dgm:pt modelId="{5CA09C4C-685D-40F3-A030-491ED00FC680}" type="parTrans" cxnId="{9472EFC5-F35C-4E23-B495-1A2C9B5EA1EA}">
      <dgm:prSet/>
      <dgm:spPr/>
      <dgm:t>
        <a:bodyPr/>
        <a:lstStyle/>
        <a:p>
          <a:endParaRPr lang="en-US"/>
        </a:p>
      </dgm:t>
    </dgm:pt>
    <dgm:pt modelId="{85FA0571-9CF8-4A2A-B98B-9E71997C4BAE}" type="sibTrans" cxnId="{9472EFC5-F35C-4E23-B495-1A2C9B5EA1EA}">
      <dgm:prSet/>
      <dgm:spPr/>
      <dgm:t>
        <a:bodyPr/>
        <a:lstStyle/>
        <a:p>
          <a:endParaRPr lang="en-US"/>
        </a:p>
      </dgm:t>
    </dgm:pt>
    <dgm:pt modelId="{394C6508-2FFA-46C9-B8CE-9783A7787AF6}">
      <dgm:prSet/>
      <dgm:spPr/>
      <dgm:t>
        <a:bodyPr/>
        <a:lstStyle/>
        <a:p>
          <a:r>
            <a:rPr b="1"/>
            <a:t>Sınırlı finansman: </a:t>
          </a:r>
          <a:r>
            <a:t>Ulaşım planlama önlemlerinin uygulanması genellikle sınırlı veya mevcut olmayan önemli finansal kaynaklar gerektirir.</a:t>
          </a:r>
        </a:p>
      </dgm:t>
    </dgm:pt>
    <dgm:pt modelId="{22875E8C-1D6D-460F-B687-687796AD3624}" type="parTrans" cxnId="{225361D6-F6F4-47D3-9B11-80B3592D7764}">
      <dgm:prSet/>
      <dgm:spPr/>
      <dgm:t>
        <a:bodyPr/>
        <a:lstStyle/>
        <a:p>
          <a:endParaRPr lang="en-US"/>
        </a:p>
      </dgm:t>
    </dgm:pt>
    <dgm:pt modelId="{E73152FE-42D6-47FD-A6F3-46E966A11FB8}" type="sibTrans" cxnId="{225361D6-F6F4-47D3-9B11-80B3592D7764}">
      <dgm:prSet/>
      <dgm:spPr/>
      <dgm:t>
        <a:bodyPr/>
        <a:lstStyle/>
        <a:p>
          <a:endParaRPr lang="en-US"/>
        </a:p>
      </dgm:t>
    </dgm:pt>
    <dgm:pt modelId="{B86475CD-5A48-4DE5-9954-3CC8E1B2F1C1}">
      <dgm:prSet/>
      <dgm:spPr/>
      <dgm:t>
        <a:bodyPr/>
        <a:lstStyle/>
        <a:p>
          <a:r>
            <a:rPr b="1"/>
            <a:t>Kamu bilincinin eksikliği: </a:t>
          </a:r>
          <a:r>
            <a:t>Ulaşım planlama önlemlerinin başarısı, sakinlerin bunları kullanma istekliliğine bağlıdır. Halkı önlemlerin yararları hakkında eğitmek, kullanımlarını teşvik etmek için esastır.</a:t>
          </a:r>
        </a:p>
      </dgm:t>
    </dgm:pt>
    <dgm:pt modelId="{534FA4EF-0D1E-4C2E-BA80-273EABF15984}" type="parTrans" cxnId="{E127F54C-19FE-4410-BD85-2DD211A2063F}">
      <dgm:prSet/>
      <dgm:spPr/>
      <dgm:t>
        <a:bodyPr/>
        <a:lstStyle/>
        <a:p>
          <a:endParaRPr lang="en-US"/>
        </a:p>
      </dgm:t>
    </dgm:pt>
    <dgm:pt modelId="{9C22C93C-9B5A-4DCB-8819-D91CDC9907A2}" type="sibTrans" cxnId="{E127F54C-19FE-4410-BD85-2DD211A2063F}">
      <dgm:prSet/>
      <dgm:spPr/>
      <dgm:t>
        <a:bodyPr/>
        <a:lstStyle/>
        <a:p>
          <a:endParaRPr lang="en-US"/>
        </a:p>
      </dgm:t>
    </dgm:pt>
    <dgm:pt modelId="{2278A6E6-1A62-4D43-BA54-19D84FE9E676}" type="pres">
      <dgm:prSet presAssocID="{92B0F2DC-3FE2-4BB2-9099-1AF96E121CC4}" presName="Name0" presStyleCnt="0">
        <dgm:presLayoutVars>
          <dgm:chMax/>
          <dgm:chPref/>
          <dgm:dir/>
        </dgm:presLayoutVars>
      </dgm:prSet>
      <dgm:spPr/>
    </dgm:pt>
    <dgm:pt modelId="{57B32589-7363-47F6-8D58-32AFDD1D94E8}" type="pres">
      <dgm:prSet presAssocID="{8CAF4C54-9312-4191-AAC5-1F9E3D806D50}" presName="parenttextcomposite" presStyleCnt="0"/>
      <dgm:spPr/>
    </dgm:pt>
    <dgm:pt modelId="{4D349CB4-DF26-4BB4-9B14-65451995A5BA}" type="pres">
      <dgm:prSet presAssocID="{8CAF4C54-9312-4191-AAC5-1F9E3D806D50}" presName="parenttext" presStyleLbl="revTx" presStyleIdx="0" presStyleCnt="7">
        <dgm:presLayoutVars>
          <dgm:chMax/>
          <dgm:chPref val="2"/>
          <dgm:bulletEnabled val="1"/>
        </dgm:presLayoutVars>
      </dgm:prSet>
      <dgm:spPr/>
    </dgm:pt>
    <dgm:pt modelId="{4C59EBB7-88BC-4B2B-A2FA-9A62C6BA0993}" type="pres">
      <dgm:prSet presAssocID="{8CAF4C54-9312-4191-AAC5-1F9E3D806D50}" presName="parallelogramComposite" presStyleCnt="0"/>
      <dgm:spPr/>
    </dgm:pt>
    <dgm:pt modelId="{21934444-A9F9-4C04-8A6E-167240E4A2B2}" type="pres">
      <dgm:prSet presAssocID="{8CAF4C54-9312-4191-AAC5-1F9E3D806D50}" presName="parallelogram1" presStyleLbl="alignNode1" presStyleIdx="0" presStyleCnt="49"/>
      <dgm:spPr/>
    </dgm:pt>
    <dgm:pt modelId="{A4F13292-3325-4CA9-8A31-AEACFF098244}" type="pres">
      <dgm:prSet presAssocID="{8CAF4C54-9312-4191-AAC5-1F9E3D806D50}" presName="parallelogram2" presStyleLbl="alignNode1" presStyleIdx="1" presStyleCnt="49"/>
      <dgm:spPr/>
    </dgm:pt>
    <dgm:pt modelId="{442525A8-A7B2-44E4-8BB1-CA3FD733DB5A}" type="pres">
      <dgm:prSet presAssocID="{8CAF4C54-9312-4191-AAC5-1F9E3D806D50}" presName="parallelogram3" presStyleLbl="alignNode1" presStyleIdx="2" presStyleCnt="49"/>
      <dgm:spPr/>
    </dgm:pt>
    <dgm:pt modelId="{29146E19-E09D-4193-91A9-AD0E164416CE}" type="pres">
      <dgm:prSet presAssocID="{8CAF4C54-9312-4191-AAC5-1F9E3D806D50}" presName="parallelogram4" presStyleLbl="alignNode1" presStyleIdx="3" presStyleCnt="49"/>
      <dgm:spPr/>
    </dgm:pt>
    <dgm:pt modelId="{0CD86607-A4D5-4A68-8299-09643D0FF2DF}" type="pres">
      <dgm:prSet presAssocID="{8CAF4C54-9312-4191-AAC5-1F9E3D806D50}" presName="parallelogram5" presStyleLbl="alignNode1" presStyleIdx="4" presStyleCnt="49"/>
      <dgm:spPr/>
    </dgm:pt>
    <dgm:pt modelId="{A361673A-A876-455A-ABA7-71548C950878}" type="pres">
      <dgm:prSet presAssocID="{8CAF4C54-9312-4191-AAC5-1F9E3D806D50}" presName="parallelogram6" presStyleLbl="alignNode1" presStyleIdx="5" presStyleCnt="49"/>
      <dgm:spPr/>
    </dgm:pt>
    <dgm:pt modelId="{63986F42-032C-4591-B6DE-0E479DC2C507}" type="pres">
      <dgm:prSet presAssocID="{8CAF4C54-9312-4191-AAC5-1F9E3D806D50}" presName="parallelogram7" presStyleLbl="alignNode1" presStyleIdx="6" presStyleCnt="49"/>
      <dgm:spPr/>
    </dgm:pt>
    <dgm:pt modelId="{AAAFF5FC-0228-4175-9669-E509C54121EB}" type="pres">
      <dgm:prSet presAssocID="{A89E6371-C892-4872-9EE3-D7A0B89394B5}" presName="sibTrans" presStyleCnt="0"/>
      <dgm:spPr/>
    </dgm:pt>
    <dgm:pt modelId="{83AE5A35-471C-4EB4-92F4-EAFF3A0A7C5A}" type="pres">
      <dgm:prSet presAssocID="{0C007E32-F8C9-4F56-95ED-57DA2BA9BF83}" presName="parenttextcomposite" presStyleCnt="0"/>
      <dgm:spPr/>
    </dgm:pt>
    <dgm:pt modelId="{E489A15F-9EA9-488F-B610-AF1387627BA2}" type="pres">
      <dgm:prSet presAssocID="{0C007E32-F8C9-4F56-95ED-57DA2BA9BF83}" presName="parenttext" presStyleLbl="revTx" presStyleIdx="1" presStyleCnt="7">
        <dgm:presLayoutVars>
          <dgm:chMax/>
          <dgm:chPref val="2"/>
          <dgm:bulletEnabled val="1"/>
        </dgm:presLayoutVars>
      </dgm:prSet>
      <dgm:spPr/>
    </dgm:pt>
    <dgm:pt modelId="{96BAD2A9-7887-4C9A-B0B8-E50545A43983}" type="pres">
      <dgm:prSet presAssocID="{0C007E32-F8C9-4F56-95ED-57DA2BA9BF83}" presName="parallelogramComposite" presStyleCnt="0"/>
      <dgm:spPr/>
    </dgm:pt>
    <dgm:pt modelId="{9DBFE174-EEA6-4FEC-9A10-066AEE9E8378}" type="pres">
      <dgm:prSet presAssocID="{0C007E32-F8C9-4F56-95ED-57DA2BA9BF83}" presName="parallelogram1" presStyleLbl="alignNode1" presStyleIdx="7" presStyleCnt="49"/>
      <dgm:spPr/>
    </dgm:pt>
    <dgm:pt modelId="{6ADC0835-69BA-4177-87C2-1F4ADDEAB3A7}" type="pres">
      <dgm:prSet presAssocID="{0C007E32-F8C9-4F56-95ED-57DA2BA9BF83}" presName="parallelogram2" presStyleLbl="alignNode1" presStyleIdx="8" presStyleCnt="49"/>
      <dgm:spPr/>
    </dgm:pt>
    <dgm:pt modelId="{CDCF7344-025B-43AB-A291-427964F99A06}" type="pres">
      <dgm:prSet presAssocID="{0C007E32-F8C9-4F56-95ED-57DA2BA9BF83}" presName="parallelogram3" presStyleLbl="alignNode1" presStyleIdx="9" presStyleCnt="49"/>
      <dgm:spPr/>
    </dgm:pt>
    <dgm:pt modelId="{0F7D9D4C-17BE-4134-A2D1-514A0A72934B}" type="pres">
      <dgm:prSet presAssocID="{0C007E32-F8C9-4F56-95ED-57DA2BA9BF83}" presName="parallelogram4" presStyleLbl="alignNode1" presStyleIdx="10" presStyleCnt="49"/>
      <dgm:spPr/>
    </dgm:pt>
    <dgm:pt modelId="{F9E22EF7-757F-4AF3-843F-568FDD05EEEE}" type="pres">
      <dgm:prSet presAssocID="{0C007E32-F8C9-4F56-95ED-57DA2BA9BF83}" presName="parallelogram5" presStyleLbl="alignNode1" presStyleIdx="11" presStyleCnt="49"/>
      <dgm:spPr/>
    </dgm:pt>
    <dgm:pt modelId="{7191FB2F-77A2-4BB7-A52E-BD7125ED1812}" type="pres">
      <dgm:prSet presAssocID="{0C007E32-F8C9-4F56-95ED-57DA2BA9BF83}" presName="parallelogram6" presStyleLbl="alignNode1" presStyleIdx="12" presStyleCnt="49"/>
      <dgm:spPr/>
    </dgm:pt>
    <dgm:pt modelId="{D95419B4-3E43-4B80-9FF1-3BF830DFF75F}" type="pres">
      <dgm:prSet presAssocID="{0C007E32-F8C9-4F56-95ED-57DA2BA9BF83}" presName="parallelogram7" presStyleLbl="alignNode1" presStyleIdx="13" presStyleCnt="49"/>
      <dgm:spPr/>
    </dgm:pt>
    <dgm:pt modelId="{1ADC0C86-2F91-4575-AB8E-BE62C95BF793}" type="pres">
      <dgm:prSet presAssocID="{08DAE34E-94C7-4B23-8534-21FCF506451F}" presName="sibTrans" presStyleCnt="0"/>
      <dgm:spPr/>
    </dgm:pt>
    <dgm:pt modelId="{A6F69B3D-FD9B-40F4-B3AB-50750832A592}" type="pres">
      <dgm:prSet presAssocID="{E43CA162-C508-46FA-9CF7-D9B1D9CFA05B}" presName="parenttextcomposite" presStyleCnt="0"/>
      <dgm:spPr/>
    </dgm:pt>
    <dgm:pt modelId="{4ED6291A-8C53-4133-9766-1DE140528AD5}" type="pres">
      <dgm:prSet presAssocID="{E43CA162-C508-46FA-9CF7-D9B1D9CFA05B}" presName="parenttext" presStyleLbl="revTx" presStyleIdx="2" presStyleCnt="7">
        <dgm:presLayoutVars>
          <dgm:chMax/>
          <dgm:chPref val="2"/>
          <dgm:bulletEnabled val="1"/>
        </dgm:presLayoutVars>
      </dgm:prSet>
      <dgm:spPr/>
    </dgm:pt>
    <dgm:pt modelId="{D23366A7-4C40-4781-A0E1-78B9AC6DF311}" type="pres">
      <dgm:prSet presAssocID="{E43CA162-C508-46FA-9CF7-D9B1D9CFA05B}" presName="parallelogramComposite" presStyleCnt="0"/>
      <dgm:spPr/>
    </dgm:pt>
    <dgm:pt modelId="{01DA5A69-B6B0-4379-82A2-4014D385BA48}" type="pres">
      <dgm:prSet presAssocID="{E43CA162-C508-46FA-9CF7-D9B1D9CFA05B}" presName="parallelogram1" presStyleLbl="alignNode1" presStyleIdx="14" presStyleCnt="49"/>
      <dgm:spPr/>
    </dgm:pt>
    <dgm:pt modelId="{D0C6A3F4-FEC2-495B-8BE2-B1788D969A60}" type="pres">
      <dgm:prSet presAssocID="{E43CA162-C508-46FA-9CF7-D9B1D9CFA05B}" presName="parallelogram2" presStyleLbl="alignNode1" presStyleIdx="15" presStyleCnt="49"/>
      <dgm:spPr/>
    </dgm:pt>
    <dgm:pt modelId="{A016A93E-83BC-42B5-B06D-0259E067A488}" type="pres">
      <dgm:prSet presAssocID="{E43CA162-C508-46FA-9CF7-D9B1D9CFA05B}" presName="parallelogram3" presStyleLbl="alignNode1" presStyleIdx="16" presStyleCnt="49"/>
      <dgm:spPr/>
    </dgm:pt>
    <dgm:pt modelId="{35F5AF84-CB42-4B7D-B467-8099CA5F3ABF}" type="pres">
      <dgm:prSet presAssocID="{E43CA162-C508-46FA-9CF7-D9B1D9CFA05B}" presName="parallelogram4" presStyleLbl="alignNode1" presStyleIdx="17" presStyleCnt="49"/>
      <dgm:spPr/>
    </dgm:pt>
    <dgm:pt modelId="{6C4E8ED2-6F8D-4A4F-BA7A-3837520BC136}" type="pres">
      <dgm:prSet presAssocID="{E43CA162-C508-46FA-9CF7-D9B1D9CFA05B}" presName="parallelogram5" presStyleLbl="alignNode1" presStyleIdx="18" presStyleCnt="49"/>
      <dgm:spPr/>
    </dgm:pt>
    <dgm:pt modelId="{FFF95ACC-5132-45F4-924D-57DAD1941825}" type="pres">
      <dgm:prSet presAssocID="{E43CA162-C508-46FA-9CF7-D9B1D9CFA05B}" presName="parallelogram6" presStyleLbl="alignNode1" presStyleIdx="19" presStyleCnt="49"/>
      <dgm:spPr/>
    </dgm:pt>
    <dgm:pt modelId="{F4E140C0-238D-4608-8647-87472011ADC2}" type="pres">
      <dgm:prSet presAssocID="{E43CA162-C508-46FA-9CF7-D9B1D9CFA05B}" presName="parallelogram7" presStyleLbl="alignNode1" presStyleIdx="20" presStyleCnt="49"/>
      <dgm:spPr/>
    </dgm:pt>
    <dgm:pt modelId="{CCA2D39F-277B-4A50-8078-FFA62A439003}" type="pres">
      <dgm:prSet presAssocID="{2D3BF0D7-39BE-46FB-977B-291A946F36F9}" presName="sibTrans" presStyleCnt="0"/>
      <dgm:spPr/>
    </dgm:pt>
    <dgm:pt modelId="{771BE9F0-00A8-46E7-87EC-67B0EA8C8D64}" type="pres">
      <dgm:prSet presAssocID="{4356E1CE-1223-4FB9-8D89-259B8D7BB264}" presName="parenttextcomposite" presStyleCnt="0"/>
      <dgm:spPr/>
    </dgm:pt>
    <dgm:pt modelId="{3D7473D0-E7CB-484A-807C-86C701435A2D}" type="pres">
      <dgm:prSet presAssocID="{4356E1CE-1223-4FB9-8D89-259B8D7BB264}" presName="parenttext" presStyleLbl="revTx" presStyleIdx="3" presStyleCnt="7">
        <dgm:presLayoutVars>
          <dgm:chMax/>
          <dgm:chPref val="2"/>
          <dgm:bulletEnabled val="1"/>
        </dgm:presLayoutVars>
      </dgm:prSet>
      <dgm:spPr/>
    </dgm:pt>
    <dgm:pt modelId="{2B57D89E-2699-4281-93A5-6563DE3CF33B}" type="pres">
      <dgm:prSet presAssocID="{4356E1CE-1223-4FB9-8D89-259B8D7BB264}" presName="parallelogramComposite" presStyleCnt="0"/>
      <dgm:spPr/>
    </dgm:pt>
    <dgm:pt modelId="{16D44279-97AE-48CE-95AA-63F0DBECB126}" type="pres">
      <dgm:prSet presAssocID="{4356E1CE-1223-4FB9-8D89-259B8D7BB264}" presName="parallelogram1" presStyleLbl="alignNode1" presStyleIdx="21" presStyleCnt="49"/>
      <dgm:spPr/>
    </dgm:pt>
    <dgm:pt modelId="{168055EF-AF1F-491D-B299-446EFFDAA730}" type="pres">
      <dgm:prSet presAssocID="{4356E1CE-1223-4FB9-8D89-259B8D7BB264}" presName="parallelogram2" presStyleLbl="alignNode1" presStyleIdx="22" presStyleCnt="49"/>
      <dgm:spPr/>
    </dgm:pt>
    <dgm:pt modelId="{516DADB0-A3F1-4AC4-8528-B1D04EBAC8B2}" type="pres">
      <dgm:prSet presAssocID="{4356E1CE-1223-4FB9-8D89-259B8D7BB264}" presName="parallelogram3" presStyleLbl="alignNode1" presStyleIdx="23" presStyleCnt="49"/>
      <dgm:spPr/>
    </dgm:pt>
    <dgm:pt modelId="{02EA1D01-F97B-43BE-8273-FBEB552826A8}" type="pres">
      <dgm:prSet presAssocID="{4356E1CE-1223-4FB9-8D89-259B8D7BB264}" presName="parallelogram4" presStyleLbl="alignNode1" presStyleIdx="24" presStyleCnt="49"/>
      <dgm:spPr/>
    </dgm:pt>
    <dgm:pt modelId="{7AD5B563-9642-46D8-AE9A-EA5425AB7E89}" type="pres">
      <dgm:prSet presAssocID="{4356E1CE-1223-4FB9-8D89-259B8D7BB264}" presName="parallelogram5" presStyleLbl="alignNode1" presStyleIdx="25" presStyleCnt="49"/>
      <dgm:spPr/>
    </dgm:pt>
    <dgm:pt modelId="{44022854-060D-4799-BEE2-E199FA78C9DC}" type="pres">
      <dgm:prSet presAssocID="{4356E1CE-1223-4FB9-8D89-259B8D7BB264}" presName="parallelogram6" presStyleLbl="alignNode1" presStyleIdx="26" presStyleCnt="49"/>
      <dgm:spPr/>
    </dgm:pt>
    <dgm:pt modelId="{32261055-A35F-4B07-BEB4-EDEEEDC6196E}" type="pres">
      <dgm:prSet presAssocID="{4356E1CE-1223-4FB9-8D89-259B8D7BB264}" presName="parallelogram7" presStyleLbl="alignNode1" presStyleIdx="27" presStyleCnt="49"/>
      <dgm:spPr/>
    </dgm:pt>
    <dgm:pt modelId="{D7B44EB1-0EEF-4555-AC20-C12C7A24EA4F}" type="pres">
      <dgm:prSet presAssocID="{D3AE633A-6E6A-473C-89D5-3110C53C90F3}" presName="sibTrans" presStyleCnt="0"/>
      <dgm:spPr/>
    </dgm:pt>
    <dgm:pt modelId="{2B8D5BF9-11F0-4D75-8919-2059012129F9}" type="pres">
      <dgm:prSet presAssocID="{1123D883-B1DE-4D19-8EA2-09B9978F692F}" presName="parenttextcomposite" presStyleCnt="0"/>
      <dgm:spPr/>
    </dgm:pt>
    <dgm:pt modelId="{44967D90-C3EC-4238-AE33-61F4BE69BA18}" type="pres">
      <dgm:prSet presAssocID="{1123D883-B1DE-4D19-8EA2-09B9978F692F}" presName="parenttext" presStyleLbl="revTx" presStyleIdx="4" presStyleCnt="7">
        <dgm:presLayoutVars>
          <dgm:chMax/>
          <dgm:chPref val="2"/>
          <dgm:bulletEnabled val="1"/>
        </dgm:presLayoutVars>
      </dgm:prSet>
      <dgm:spPr/>
    </dgm:pt>
    <dgm:pt modelId="{B244A03F-1CD7-4A9C-89EF-DB5916AE8DAC}" type="pres">
      <dgm:prSet presAssocID="{1123D883-B1DE-4D19-8EA2-09B9978F692F}" presName="parallelogramComposite" presStyleCnt="0"/>
      <dgm:spPr/>
    </dgm:pt>
    <dgm:pt modelId="{C4C758E3-3F13-4BFD-A109-7918087A7A43}" type="pres">
      <dgm:prSet presAssocID="{1123D883-B1DE-4D19-8EA2-09B9978F692F}" presName="parallelogram1" presStyleLbl="alignNode1" presStyleIdx="28" presStyleCnt="49"/>
      <dgm:spPr/>
    </dgm:pt>
    <dgm:pt modelId="{F865A64C-EC60-46E5-87AF-D8CB26B9047A}" type="pres">
      <dgm:prSet presAssocID="{1123D883-B1DE-4D19-8EA2-09B9978F692F}" presName="parallelogram2" presStyleLbl="alignNode1" presStyleIdx="29" presStyleCnt="49"/>
      <dgm:spPr/>
    </dgm:pt>
    <dgm:pt modelId="{3B30F11E-24FB-4CE9-A7FB-FE1339B4CE2A}" type="pres">
      <dgm:prSet presAssocID="{1123D883-B1DE-4D19-8EA2-09B9978F692F}" presName="parallelogram3" presStyleLbl="alignNode1" presStyleIdx="30" presStyleCnt="49"/>
      <dgm:spPr/>
    </dgm:pt>
    <dgm:pt modelId="{3B2EBC77-F5A2-4A8F-95F4-C005244EBF8A}" type="pres">
      <dgm:prSet presAssocID="{1123D883-B1DE-4D19-8EA2-09B9978F692F}" presName="parallelogram4" presStyleLbl="alignNode1" presStyleIdx="31" presStyleCnt="49"/>
      <dgm:spPr/>
    </dgm:pt>
    <dgm:pt modelId="{5C46FECD-9E20-407D-BB9A-EB76C5E0EC36}" type="pres">
      <dgm:prSet presAssocID="{1123D883-B1DE-4D19-8EA2-09B9978F692F}" presName="parallelogram5" presStyleLbl="alignNode1" presStyleIdx="32" presStyleCnt="49"/>
      <dgm:spPr/>
    </dgm:pt>
    <dgm:pt modelId="{E4A7E292-DC5A-4BA0-8156-67A34FFD9402}" type="pres">
      <dgm:prSet presAssocID="{1123D883-B1DE-4D19-8EA2-09B9978F692F}" presName="parallelogram6" presStyleLbl="alignNode1" presStyleIdx="33" presStyleCnt="49"/>
      <dgm:spPr/>
    </dgm:pt>
    <dgm:pt modelId="{44BA71D8-3BE7-431D-89C5-5AF63CF86AB9}" type="pres">
      <dgm:prSet presAssocID="{1123D883-B1DE-4D19-8EA2-09B9978F692F}" presName="parallelogram7" presStyleLbl="alignNode1" presStyleIdx="34" presStyleCnt="49"/>
      <dgm:spPr/>
    </dgm:pt>
    <dgm:pt modelId="{AFC7285C-2875-42F8-80D7-AF7C88D7703F}" type="pres">
      <dgm:prSet presAssocID="{85FA0571-9CF8-4A2A-B98B-9E71997C4BAE}" presName="sibTrans" presStyleCnt="0"/>
      <dgm:spPr/>
    </dgm:pt>
    <dgm:pt modelId="{836E5E77-78FF-42F2-9AAE-34962CD88EAD}" type="pres">
      <dgm:prSet presAssocID="{394C6508-2FFA-46C9-B8CE-9783A7787AF6}" presName="parenttextcomposite" presStyleCnt="0"/>
      <dgm:spPr/>
    </dgm:pt>
    <dgm:pt modelId="{82066BD8-2E45-4873-895C-938E5FF25D07}" type="pres">
      <dgm:prSet presAssocID="{394C6508-2FFA-46C9-B8CE-9783A7787AF6}" presName="parenttext" presStyleLbl="revTx" presStyleIdx="5" presStyleCnt="7">
        <dgm:presLayoutVars>
          <dgm:chMax/>
          <dgm:chPref val="2"/>
          <dgm:bulletEnabled val="1"/>
        </dgm:presLayoutVars>
      </dgm:prSet>
      <dgm:spPr/>
    </dgm:pt>
    <dgm:pt modelId="{D6842118-7D65-4508-A778-785C50F96C4C}" type="pres">
      <dgm:prSet presAssocID="{394C6508-2FFA-46C9-B8CE-9783A7787AF6}" presName="parallelogramComposite" presStyleCnt="0"/>
      <dgm:spPr/>
    </dgm:pt>
    <dgm:pt modelId="{7AAFD26D-6004-4F46-B4AF-5BC18CA8A913}" type="pres">
      <dgm:prSet presAssocID="{394C6508-2FFA-46C9-B8CE-9783A7787AF6}" presName="parallelogram1" presStyleLbl="alignNode1" presStyleIdx="35" presStyleCnt="49"/>
      <dgm:spPr/>
    </dgm:pt>
    <dgm:pt modelId="{AAC637EC-AC37-425B-A815-01851A678BE8}" type="pres">
      <dgm:prSet presAssocID="{394C6508-2FFA-46C9-B8CE-9783A7787AF6}" presName="parallelogram2" presStyleLbl="alignNode1" presStyleIdx="36" presStyleCnt="49"/>
      <dgm:spPr/>
    </dgm:pt>
    <dgm:pt modelId="{275683F1-79B6-4EE4-8775-3FAB2C3C5287}" type="pres">
      <dgm:prSet presAssocID="{394C6508-2FFA-46C9-B8CE-9783A7787AF6}" presName="parallelogram3" presStyleLbl="alignNode1" presStyleIdx="37" presStyleCnt="49"/>
      <dgm:spPr/>
    </dgm:pt>
    <dgm:pt modelId="{25659202-BA87-44CD-AD3C-05245A654B2D}" type="pres">
      <dgm:prSet presAssocID="{394C6508-2FFA-46C9-B8CE-9783A7787AF6}" presName="parallelogram4" presStyleLbl="alignNode1" presStyleIdx="38" presStyleCnt="49"/>
      <dgm:spPr/>
    </dgm:pt>
    <dgm:pt modelId="{42F3454A-4629-489B-9294-46E405F5BAF0}" type="pres">
      <dgm:prSet presAssocID="{394C6508-2FFA-46C9-B8CE-9783A7787AF6}" presName="parallelogram5" presStyleLbl="alignNode1" presStyleIdx="39" presStyleCnt="49"/>
      <dgm:spPr/>
    </dgm:pt>
    <dgm:pt modelId="{A7BE3EB4-E26C-4C20-BBB3-05180FF00D66}" type="pres">
      <dgm:prSet presAssocID="{394C6508-2FFA-46C9-B8CE-9783A7787AF6}" presName="parallelogram6" presStyleLbl="alignNode1" presStyleIdx="40" presStyleCnt="49"/>
      <dgm:spPr/>
    </dgm:pt>
    <dgm:pt modelId="{7509D7F3-CDD8-4EFB-8477-495EA808701A}" type="pres">
      <dgm:prSet presAssocID="{394C6508-2FFA-46C9-B8CE-9783A7787AF6}" presName="parallelogram7" presStyleLbl="alignNode1" presStyleIdx="41" presStyleCnt="49"/>
      <dgm:spPr/>
    </dgm:pt>
    <dgm:pt modelId="{511347B6-F628-4DA0-B93E-842DDF1AC88C}" type="pres">
      <dgm:prSet presAssocID="{E73152FE-42D6-47FD-A6F3-46E966A11FB8}" presName="sibTrans" presStyleCnt="0"/>
      <dgm:spPr/>
    </dgm:pt>
    <dgm:pt modelId="{2D3ACD8B-4FF4-4D9B-9D2D-B1FF51076897}" type="pres">
      <dgm:prSet presAssocID="{B86475CD-5A48-4DE5-9954-3CC8E1B2F1C1}" presName="parenttextcomposite" presStyleCnt="0"/>
      <dgm:spPr/>
    </dgm:pt>
    <dgm:pt modelId="{DD99808A-B8B6-4030-90BD-1F371E08F75C}" type="pres">
      <dgm:prSet presAssocID="{B86475CD-5A48-4DE5-9954-3CC8E1B2F1C1}" presName="parenttext" presStyleLbl="revTx" presStyleIdx="6" presStyleCnt="7">
        <dgm:presLayoutVars>
          <dgm:chMax/>
          <dgm:chPref val="2"/>
          <dgm:bulletEnabled val="1"/>
        </dgm:presLayoutVars>
      </dgm:prSet>
      <dgm:spPr/>
    </dgm:pt>
    <dgm:pt modelId="{26752327-A131-4CB9-A314-B2D3B10A50AF}" type="pres">
      <dgm:prSet presAssocID="{B86475CD-5A48-4DE5-9954-3CC8E1B2F1C1}" presName="parallelogramComposite" presStyleCnt="0"/>
      <dgm:spPr/>
    </dgm:pt>
    <dgm:pt modelId="{E5DD64A0-B5E3-4BF3-AC29-68A935F996A7}" type="pres">
      <dgm:prSet presAssocID="{B86475CD-5A48-4DE5-9954-3CC8E1B2F1C1}" presName="parallelogram1" presStyleLbl="alignNode1" presStyleIdx="42" presStyleCnt="49"/>
      <dgm:spPr/>
    </dgm:pt>
    <dgm:pt modelId="{CDB1642A-564C-4E71-B195-9C2BD8A7559D}" type="pres">
      <dgm:prSet presAssocID="{B86475CD-5A48-4DE5-9954-3CC8E1B2F1C1}" presName="parallelogram2" presStyleLbl="alignNode1" presStyleIdx="43" presStyleCnt="49"/>
      <dgm:spPr/>
    </dgm:pt>
    <dgm:pt modelId="{32A91073-43E9-4E46-8515-D4E66034F10E}" type="pres">
      <dgm:prSet presAssocID="{B86475CD-5A48-4DE5-9954-3CC8E1B2F1C1}" presName="parallelogram3" presStyleLbl="alignNode1" presStyleIdx="44" presStyleCnt="49"/>
      <dgm:spPr/>
    </dgm:pt>
    <dgm:pt modelId="{17067905-0558-4D78-BADD-F1B57FD55E1B}" type="pres">
      <dgm:prSet presAssocID="{B86475CD-5A48-4DE5-9954-3CC8E1B2F1C1}" presName="parallelogram4" presStyleLbl="alignNode1" presStyleIdx="45" presStyleCnt="49"/>
      <dgm:spPr/>
    </dgm:pt>
    <dgm:pt modelId="{95806095-A5EF-4011-82E2-19E567EBBE19}" type="pres">
      <dgm:prSet presAssocID="{B86475CD-5A48-4DE5-9954-3CC8E1B2F1C1}" presName="parallelogram5" presStyleLbl="alignNode1" presStyleIdx="46" presStyleCnt="49"/>
      <dgm:spPr/>
    </dgm:pt>
    <dgm:pt modelId="{51845850-ECB3-4520-8949-DEB35755AEC4}" type="pres">
      <dgm:prSet presAssocID="{B86475CD-5A48-4DE5-9954-3CC8E1B2F1C1}" presName="parallelogram6" presStyleLbl="alignNode1" presStyleIdx="47" presStyleCnt="49"/>
      <dgm:spPr/>
    </dgm:pt>
    <dgm:pt modelId="{11C8BF81-1460-4351-BC26-C71A32669245}" type="pres">
      <dgm:prSet presAssocID="{B86475CD-5A48-4DE5-9954-3CC8E1B2F1C1}" presName="parallelogram7" presStyleLbl="alignNode1" presStyleIdx="48" presStyleCnt="49"/>
      <dgm:spPr/>
    </dgm:pt>
  </dgm:ptLst>
  <dgm:cxnLst>
    <dgm:cxn modelId="{F87A4402-7F9A-4911-A7BA-F6CDCE6B856A}" type="presOf" srcId="{E43CA162-C508-46FA-9CF7-D9B1D9CFA05B}" destId="{4ED6291A-8C53-4133-9766-1DE140528AD5}" srcOrd="0" destOrd="0" presId="urn:microsoft.com/office/officeart/2008/layout/VerticalAccentList"/>
    <dgm:cxn modelId="{3844CA28-EBE0-4770-9050-66988667E74D}" type="presOf" srcId="{1123D883-B1DE-4D19-8EA2-09B9978F692F}" destId="{44967D90-C3EC-4238-AE33-61F4BE69BA18}" srcOrd="0" destOrd="0" presId="urn:microsoft.com/office/officeart/2008/layout/VerticalAccentList"/>
    <dgm:cxn modelId="{E127F54C-19FE-4410-BD85-2DD211A2063F}" srcId="{92B0F2DC-3FE2-4BB2-9099-1AF96E121CC4}" destId="{B86475CD-5A48-4DE5-9954-3CC8E1B2F1C1}" srcOrd="6" destOrd="0" parTransId="{534FA4EF-0D1E-4C2E-BA80-273EABF15984}" sibTransId="{9C22C93C-9B5A-4DCB-8819-D91CDC9907A2}"/>
    <dgm:cxn modelId="{62463850-AD80-4F51-9A77-8B0530D38B3F}" srcId="{92B0F2DC-3FE2-4BB2-9099-1AF96E121CC4}" destId="{8CAF4C54-9312-4191-AAC5-1F9E3D806D50}" srcOrd="0" destOrd="0" parTransId="{40C790E4-139D-4C13-930C-C27558F75592}" sibTransId="{A89E6371-C892-4872-9EE3-D7A0B89394B5}"/>
    <dgm:cxn modelId="{000C6151-AB2D-4FA6-A587-7B6245CBD020}" type="presOf" srcId="{8CAF4C54-9312-4191-AAC5-1F9E3D806D50}" destId="{4D349CB4-DF26-4BB4-9B14-65451995A5BA}" srcOrd="0" destOrd="0" presId="urn:microsoft.com/office/officeart/2008/layout/VerticalAccentList"/>
    <dgm:cxn modelId="{F06B0E7A-1D5C-492C-AFE1-C9A13B8BAE8B}" type="presOf" srcId="{394C6508-2FFA-46C9-B8CE-9783A7787AF6}" destId="{82066BD8-2E45-4873-895C-938E5FF25D07}" srcOrd="0" destOrd="0" presId="urn:microsoft.com/office/officeart/2008/layout/VerticalAccentList"/>
    <dgm:cxn modelId="{D7B0277B-0046-4905-A7AD-6C2B005FF13A}" type="presOf" srcId="{B86475CD-5A48-4DE5-9954-3CC8E1B2F1C1}" destId="{DD99808A-B8B6-4030-90BD-1F371E08F75C}" srcOrd="0" destOrd="0" presId="urn:microsoft.com/office/officeart/2008/layout/VerticalAccentList"/>
    <dgm:cxn modelId="{EFA6C997-4B98-4ED2-B48B-06C7B4F71915}" type="presOf" srcId="{4356E1CE-1223-4FB9-8D89-259B8D7BB264}" destId="{3D7473D0-E7CB-484A-807C-86C701435A2D}" srcOrd="0" destOrd="0" presId="urn:microsoft.com/office/officeart/2008/layout/VerticalAccentList"/>
    <dgm:cxn modelId="{47FC93A1-8576-4A86-8CAA-671376647DE8}" type="presOf" srcId="{0C007E32-F8C9-4F56-95ED-57DA2BA9BF83}" destId="{E489A15F-9EA9-488F-B610-AF1387627BA2}" srcOrd="0" destOrd="0" presId="urn:microsoft.com/office/officeart/2008/layout/VerticalAccentList"/>
    <dgm:cxn modelId="{552A91A7-16E2-4E19-BC27-BDBEF8F75AE6}" type="presOf" srcId="{92B0F2DC-3FE2-4BB2-9099-1AF96E121CC4}" destId="{2278A6E6-1A62-4D43-BA54-19D84FE9E676}" srcOrd="0" destOrd="0" presId="urn:microsoft.com/office/officeart/2008/layout/VerticalAccentList"/>
    <dgm:cxn modelId="{819C6DB5-B026-42E2-9E91-B8B314054880}" srcId="{92B0F2DC-3FE2-4BB2-9099-1AF96E121CC4}" destId="{4356E1CE-1223-4FB9-8D89-259B8D7BB264}" srcOrd="3" destOrd="0" parTransId="{E42A0E28-194E-4449-ADEE-0D374A932FD6}" sibTransId="{D3AE633A-6E6A-473C-89D5-3110C53C90F3}"/>
    <dgm:cxn modelId="{9472EFC5-F35C-4E23-B495-1A2C9B5EA1EA}" srcId="{92B0F2DC-3FE2-4BB2-9099-1AF96E121CC4}" destId="{1123D883-B1DE-4D19-8EA2-09B9978F692F}" srcOrd="4" destOrd="0" parTransId="{5CA09C4C-685D-40F3-A030-491ED00FC680}" sibTransId="{85FA0571-9CF8-4A2A-B98B-9E71997C4BAE}"/>
    <dgm:cxn modelId="{225361D6-F6F4-47D3-9B11-80B3592D7764}" srcId="{92B0F2DC-3FE2-4BB2-9099-1AF96E121CC4}" destId="{394C6508-2FFA-46C9-B8CE-9783A7787AF6}" srcOrd="5" destOrd="0" parTransId="{22875E8C-1D6D-460F-B687-687796AD3624}" sibTransId="{E73152FE-42D6-47FD-A6F3-46E966A11FB8}"/>
    <dgm:cxn modelId="{B604A7DA-9775-4AD4-BB12-014E99F6CD0E}" srcId="{92B0F2DC-3FE2-4BB2-9099-1AF96E121CC4}" destId="{0C007E32-F8C9-4F56-95ED-57DA2BA9BF83}" srcOrd="1" destOrd="0" parTransId="{50C91078-7B1D-4D45-91BC-0BD4317BC1FF}" sibTransId="{08DAE34E-94C7-4B23-8534-21FCF506451F}"/>
    <dgm:cxn modelId="{3DD1F2ED-3923-4FBF-855C-F073EDF69444}" srcId="{92B0F2DC-3FE2-4BB2-9099-1AF96E121CC4}" destId="{E43CA162-C508-46FA-9CF7-D9B1D9CFA05B}" srcOrd="2" destOrd="0" parTransId="{BF4F327C-8559-4E03-96C9-97C10FCFDFEA}" sibTransId="{2D3BF0D7-39BE-46FB-977B-291A946F36F9}"/>
    <dgm:cxn modelId="{BE67EF15-EF70-4DB2-B883-B3D49ECAB8C0}" type="presParOf" srcId="{2278A6E6-1A62-4D43-BA54-19D84FE9E676}" destId="{57B32589-7363-47F6-8D58-32AFDD1D94E8}" srcOrd="0" destOrd="0" presId="urn:microsoft.com/office/officeart/2008/layout/VerticalAccentList"/>
    <dgm:cxn modelId="{8BE0F233-6E13-47F7-90DD-719B5360DBF4}" type="presParOf" srcId="{57B32589-7363-47F6-8D58-32AFDD1D94E8}" destId="{4D349CB4-DF26-4BB4-9B14-65451995A5BA}" srcOrd="0" destOrd="0" presId="urn:microsoft.com/office/officeart/2008/layout/VerticalAccentList"/>
    <dgm:cxn modelId="{516A7F6A-EEE6-46FE-B003-FC903EF26F8E}" type="presParOf" srcId="{2278A6E6-1A62-4D43-BA54-19D84FE9E676}" destId="{4C59EBB7-88BC-4B2B-A2FA-9A62C6BA0993}" srcOrd="1" destOrd="0" presId="urn:microsoft.com/office/officeart/2008/layout/VerticalAccentList"/>
    <dgm:cxn modelId="{2505EEA4-1327-4516-9AFA-3AB296519C2D}" type="presParOf" srcId="{4C59EBB7-88BC-4B2B-A2FA-9A62C6BA0993}" destId="{21934444-A9F9-4C04-8A6E-167240E4A2B2}" srcOrd="0" destOrd="0" presId="urn:microsoft.com/office/officeart/2008/layout/VerticalAccentList"/>
    <dgm:cxn modelId="{B67B8A10-8168-4B51-A445-C19E019093AE}" type="presParOf" srcId="{4C59EBB7-88BC-4B2B-A2FA-9A62C6BA0993}" destId="{A4F13292-3325-4CA9-8A31-AEACFF098244}" srcOrd="1" destOrd="0" presId="urn:microsoft.com/office/officeart/2008/layout/VerticalAccentList"/>
    <dgm:cxn modelId="{15018EA0-F420-4A8F-989A-64C124B2F1D3}" type="presParOf" srcId="{4C59EBB7-88BC-4B2B-A2FA-9A62C6BA0993}" destId="{442525A8-A7B2-44E4-8BB1-CA3FD733DB5A}" srcOrd="2" destOrd="0" presId="urn:microsoft.com/office/officeart/2008/layout/VerticalAccentList"/>
    <dgm:cxn modelId="{71154531-5391-4FD4-9032-2DDCF70AC2D0}" type="presParOf" srcId="{4C59EBB7-88BC-4B2B-A2FA-9A62C6BA0993}" destId="{29146E19-E09D-4193-91A9-AD0E164416CE}" srcOrd="3" destOrd="0" presId="urn:microsoft.com/office/officeart/2008/layout/VerticalAccentList"/>
    <dgm:cxn modelId="{4730D697-2916-4AD2-977D-CFAAC8F9F31D}" type="presParOf" srcId="{4C59EBB7-88BC-4B2B-A2FA-9A62C6BA0993}" destId="{0CD86607-A4D5-4A68-8299-09643D0FF2DF}" srcOrd="4" destOrd="0" presId="urn:microsoft.com/office/officeart/2008/layout/VerticalAccentList"/>
    <dgm:cxn modelId="{767A7C58-F8DE-47D5-B40D-AC61D287A704}" type="presParOf" srcId="{4C59EBB7-88BC-4B2B-A2FA-9A62C6BA0993}" destId="{A361673A-A876-455A-ABA7-71548C950878}" srcOrd="5" destOrd="0" presId="urn:microsoft.com/office/officeart/2008/layout/VerticalAccentList"/>
    <dgm:cxn modelId="{6F0D41EC-2ACF-4B1F-9E7C-13BACF7EF3CE}" type="presParOf" srcId="{4C59EBB7-88BC-4B2B-A2FA-9A62C6BA0993}" destId="{63986F42-032C-4591-B6DE-0E479DC2C507}" srcOrd="6" destOrd="0" presId="urn:microsoft.com/office/officeart/2008/layout/VerticalAccentList"/>
    <dgm:cxn modelId="{69777FCF-CA81-4D0F-97F4-CA38D2051E3D}" type="presParOf" srcId="{2278A6E6-1A62-4D43-BA54-19D84FE9E676}" destId="{AAAFF5FC-0228-4175-9669-E509C54121EB}" srcOrd="2" destOrd="0" presId="urn:microsoft.com/office/officeart/2008/layout/VerticalAccentList"/>
    <dgm:cxn modelId="{EEB61369-7802-4F05-9785-B60381ED68F7}" type="presParOf" srcId="{2278A6E6-1A62-4D43-BA54-19D84FE9E676}" destId="{83AE5A35-471C-4EB4-92F4-EAFF3A0A7C5A}" srcOrd="3" destOrd="0" presId="urn:microsoft.com/office/officeart/2008/layout/VerticalAccentList"/>
    <dgm:cxn modelId="{4E9453D2-4703-4270-8E9B-662AB9100145}" type="presParOf" srcId="{83AE5A35-471C-4EB4-92F4-EAFF3A0A7C5A}" destId="{E489A15F-9EA9-488F-B610-AF1387627BA2}" srcOrd="0" destOrd="0" presId="urn:microsoft.com/office/officeart/2008/layout/VerticalAccentList"/>
    <dgm:cxn modelId="{76E8D78B-134D-4228-8821-64EE165D7343}" type="presParOf" srcId="{2278A6E6-1A62-4D43-BA54-19D84FE9E676}" destId="{96BAD2A9-7887-4C9A-B0B8-E50545A43983}" srcOrd="4" destOrd="0" presId="urn:microsoft.com/office/officeart/2008/layout/VerticalAccentList"/>
    <dgm:cxn modelId="{463C4351-B01C-41DD-8CA7-091731A440EB}" type="presParOf" srcId="{96BAD2A9-7887-4C9A-B0B8-E50545A43983}" destId="{9DBFE174-EEA6-4FEC-9A10-066AEE9E8378}" srcOrd="0" destOrd="0" presId="urn:microsoft.com/office/officeart/2008/layout/VerticalAccentList"/>
    <dgm:cxn modelId="{71AB5791-B7CC-4398-98DE-A6F9E39478AF}" type="presParOf" srcId="{96BAD2A9-7887-4C9A-B0B8-E50545A43983}" destId="{6ADC0835-69BA-4177-87C2-1F4ADDEAB3A7}" srcOrd="1" destOrd="0" presId="urn:microsoft.com/office/officeart/2008/layout/VerticalAccentList"/>
    <dgm:cxn modelId="{B238C77F-76C9-4524-B29B-AEFB76AC9185}" type="presParOf" srcId="{96BAD2A9-7887-4C9A-B0B8-E50545A43983}" destId="{CDCF7344-025B-43AB-A291-427964F99A06}" srcOrd="2" destOrd="0" presId="urn:microsoft.com/office/officeart/2008/layout/VerticalAccentList"/>
    <dgm:cxn modelId="{333AE6D7-3261-4185-9CD0-7BA578AD2B6E}" type="presParOf" srcId="{96BAD2A9-7887-4C9A-B0B8-E50545A43983}" destId="{0F7D9D4C-17BE-4134-A2D1-514A0A72934B}" srcOrd="3" destOrd="0" presId="urn:microsoft.com/office/officeart/2008/layout/VerticalAccentList"/>
    <dgm:cxn modelId="{3F42E800-3E8F-4B3A-90AE-03E1DA200E16}" type="presParOf" srcId="{96BAD2A9-7887-4C9A-B0B8-E50545A43983}" destId="{F9E22EF7-757F-4AF3-843F-568FDD05EEEE}" srcOrd="4" destOrd="0" presId="urn:microsoft.com/office/officeart/2008/layout/VerticalAccentList"/>
    <dgm:cxn modelId="{A479AA62-C7AF-4D05-8221-C772B4F42D0C}" type="presParOf" srcId="{96BAD2A9-7887-4C9A-B0B8-E50545A43983}" destId="{7191FB2F-77A2-4BB7-A52E-BD7125ED1812}" srcOrd="5" destOrd="0" presId="urn:microsoft.com/office/officeart/2008/layout/VerticalAccentList"/>
    <dgm:cxn modelId="{BE94B21E-7542-48EF-915D-AF1859A3FB13}" type="presParOf" srcId="{96BAD2A9-7887-4C9A-B0B8-E50545A43983}" destId="{D95419B4-3E43-4B80-9FF1-3BF830DFF75F}" srcOrd="6" destOrd="0" presId="urn:microsoft.com/office/officeart/2008/layout/VerticalAccentList"/>
    <dgm:cxn modelId="{83E84303-3485-482F-9400-8855D030116C}" type="presParOf" srcId="{2278A6E6-1A62-4D43-BA54-19D84FE9E676}" destId="{1ADC0C86-2F91-4575-AB8E-BE62C95BF793}" srcOrd="5" destOrd="0" presId="urn:microsoft.com/office/officeart/2008/layout/VerticalAccentList"/>
    <dgm:cxn modelId="{DA38F805-5E56-4EE0-A549-2B4AA524FFEC}" type="presParOf" srcId="{2278A6E6-1A62-4D43-BA54-19D84FE9E676}" destId="{A6F69B3D-FD9B-40F4-B3AB-50750832A592}" srcOrd="6" destOrd="0" presId="urn:microsoft.com/office/officeart/2008/layout/VerticalAccentList"/>
    <dgm:cxn modelId="{DACD9C5C-52B8-4744-AB97-E138F8363C53}" type="presParOf" srcId="{A6F69B3D-FD9B-40F4-B3AB-50750832A592}" destId="{4ED6291A-8C53-4133-9766-1DE140528AD5}" srcOrd="0" destOrd="0" presId="urn:microsoft.com/office/officeart/2008/layout/VerticalAccentList"/>
    <dgm:cxn modelId="{4CBECB7B-3ABB-4BB8-8589-83072EE71C33}" type="presParOf" srcId="{2278A6E6-1A62-4D43-BA54-19D84FE9E676}" destId="{D23366A7-4C40-4781-A0E1-78B9AC6DF311}" srcOrd="7" destOrd="0" presId="urn:microsoft.com/office/officeart/2008/layout/VerticalAccentList"/>
    <dgm:cxn modelId="{C55B391D-23E3-4747-A0A1-9462AC9DFD7F}" type="presParOf" srcId="{D23366A7-4C40-4781-A0E1-78B9AC6DF311}" destId="{01DA5A69-B6B0-4379-82A2-4014D385BA48}" srcOrd="0" destOrd="0" presId="urn:microsoft.com/office/officeart/2008/layout/VerticalAccentList"/>
    <dgm:cxn modelId="{79C33DFC-9467-4960-87E0-294749B3D27A}" type="presParOf" srcId="{D23366A7-4C40-4781-A0E1-78B9AC6DF311}" destId="{D0C6A3F4-FEC2-495B-8BE2-B1788D969A60}" srcOrd="1" destOrd="0" presId="urn:microsoft.com/office/officeart/2008/layout/VerticalAccentList"/>
    <dgm:cxn modelId="{916ADCCE-2AB6-41E1-A62C-76958F903EEB}" type="presParOf" srcId="{D23366A7-4C40-4781-A0E1-78B9AC6DF311}" destId="{A016A93E-83BC-42B5-B06D-0259E067A488}" srcOrd="2" destOrd="0" presId="urn:microsoft.com/office/officeart/2008/layout/VerticalAccentList"/>
    <dgm:cxn modelId="{383AEE6D-B6A5-40F0-9E43-4A6D3CEFE257}" type="presParOf" srcId="{D23366A7-4C40-4781-A0E1-78B9AC6DF311}" destId="{35F5AF84-CB42-4B7D-B467-8099CA5F3ABF}" srcOrd="3" destOrd="0" presId="urn:microsoft.com/office/officeart/2008/layout/VerticalAccentList"/>
    <dgm:cxn modelId="{EDE3F047-B441-45CF-BE20-7A25AE35C8E4}" type="presParOf" srcId="{D23366A7-4C40-4781-A0E1-78B9AC6DF311}" destId="{6C4E8ED2-6F8D-4A4F-BA7A-3837520BC136}" srcOrd="4" destOrd="0" presId="urn:microsoft.com/office/officeart/2008/layout/VerticalAccentList"/>
    <dgm:cxn modelId="{FFE99E92-D9C1-47CE-810C-53923994AF6A}" type="presParOf" srcId="{D23366A7-4C40-4781-A0E1-78B9AC6DF311}" destId="{FFF95ACC-5132-45F4-924D-57DAD1941825}" srcOrd="5" destOrd="0" presId="urn:microsoft.com/office/officeart/2008/layout/VerticalAccentList"/>
    <dgm:cxn modelId="{FB68F08E-32B7-4509-BFEA-43FB93036CC9}" type="presParOf" srcId="{D23366A7-4C40-4781-A0E1-78B9AC6DF311}" destId="{F4E140C0-238D-4608-8647-87472011ADC2}" srcOrd="6" destOrd="0" presId="urn:microsoft.com/office/officeart/2008/layout/VerticalAccentList"/>
    <dgm:cxn modelId="{8C0FF4FE-BC7B-4F7C-9BDE-A86B112F89CE}" type="presParOf" srcId="{2278A6E6-1A62-4D43-BA54-19D84FE9E676}" destId="{CCA2D39F-277B-4A50-8078-FFA62A439003}" srcOrd="8" destOrd="0" presId="urn:microsoft.com/office/officeart/2008/layout/VerticalAccentList"/>
    <dgm:cxn modelId="{C360FEBE-2EE8-4938-8F70-3216F0B6FB4D}" type="presParOf" srcId="{2278A6E6-1A62-4D43-BA54-19D84FE9E676}" destId="{771BE9F0-00A8-46E7-87EC-67B0EA8C8D64}" srcOrd="9" destOrd="0" presId="urn:microsoft.com/office/officeart/2008/layout/VerticalAccentList"/>
    <dgm:cxn modelId="{6F7FB673-712F-45A3-9C5C-3AB32175CBC0}" type="presParOf" srcId="{771BE9F0-00A8-46E7-87EC-67B0EA8C8D64}" destId="{3D7473D0-E7CB-484A-807C-86C701435A2D}" srcOrd="0" destOrd="0" presId="urn:microsoft.com/office/officeart/2008/layout/VerticalAccentList"/>
    <dgm:cxn modelId="{2994DB2B-FD50-4123-B79D-D182191C1C01}" type="presParOf" srcId="{2278A6E6-1A62-4D43-BA54-19D84FE9E676}" destId="{2B57D89E-2699-4281-93A5-6563DE3CF33B}" srcOrd="10" destOrd="0" presId="urn:microsoft.com/office/officeart/2008/layout/VerticalAccentList"/>
    <dgm:cxn modelId="{6FC9EA32-F197-4F4E-B5A0-A4C761D6EFAF}" type="presParOf" srcId="{2B57D89E-2699-4281-93A5-6563DE3CF33B}" destId="{16D44279-97AE-48CE-95AA-63F0DBECB126}" srcOrd="0" destOrd="0" presId="urn:microsoft.com/office/officeart/2008/layout/VerticalAccentList"/>
    <dgm:cxn modelId="{30B9602E-AE3A-48A9-ADE1-E7509E424DF5}" type="presParOf" srcId="{2B57D89E-2699-4281-93A5-6563DE3CF33B}" destId="{168055EF-AF1F-491D-B299-446EFFDAA730}" srcOrd="1" destOrd="0" presId="urn:microsoft.com/office/officeart/2008/layout/VerticalAccentList"/>
    <dgm:cxn modelId="{3F68B525-D641-415D-AE2D-6491682F13F0}" type="presParOf" srcId="{2B57D89E-2699-4281-93A5-6563DE3CF33B}" destId="{516DADB0-A3F1-4AC4-8528-B1D04EBAC8B2}" srcOrd="2" destOrd="0" presId="urn:microsoft.com/office/officeart/2008/layout/VerticalAccentList"/>
    <dgm:cxn modelId="{E8FB26FA-470F-41E6-9226-4AF0133469CC}" type="presParOf" srcId="{2B57D89E-2699-4281-93A5-6563DE3CF33B}" destId="{02EA1D01-F97B-43BE-8273-FBEB552826A8}" srcOrd="3" destOrd="0" presId="urn:microsoft.com/office/officeart/2008/layout/VerticalAccentList"/>
    <dgm:cxn modelId="{AF9F22A8-1C4D-4444-961A-7856E49590DD}" type="presParOf" srcId="{2B57D89E-2699-4281-93A5-6563DE3CF33B}" destId="{7AD5B563-9642-46D8-AE9A-EA5425AB7E89}" srcOrd="4" destOrd="0" presId="urn:microsoft.com/office/officeart/2008/layout/VerticalAccentList"/>
    <dgm:cxn modelId="{651E66F0-9D46-4767-AF40-56A4AAB206F4}" type="presParOf" srcId="{2B57D89E-2699-4281-93A5-6563DE3CF33B}" destId="{44022854-060D-4799-BEE2-E199FA78C9DC}" srcOrd="5" destOrd="0" presId="urn:microsoft.com/office/officeart/2008/layout/VerticalAccentList"/>
    <dgm:cxn modelId="{0B747EBC-996F-4067-83FA-0F3F4540BE5C}" type="presParOf" srcId="{2B57D89E-2699-4281-93A5-6563DE3CF33B}" destId="{32261055-A35F-4B07-BEB4-EDEEEDC6196E}" srcOrd="6" destOrd="0" presId="urn:microsoft.com/office/officeart/2008/layout/VerticalAccentList"/>
    <dgm:cxn modelId="{8C055658-EBE3-4316-B009-665A47CBE4C0}" type="presParOf" srcId="{2278A6E6-1A62-4D43-BA54-19D84FE9E676}" destId="{D7B44EB1-0EEF-4555-AC20-C12C7A24EA4F}" srcOrd="11" destOrd="0" presId="urn:microsoft.com/office/officeart/2008/layout/VerticalAccentList"/>
    <dgm:cxn modelId="{84DFB5B3-B4FD-49A6-AF42-0FDA1F628C53}" type="presParOf" srcId="{2278A6E6-1A62-4D43-BA54-19D84FE9E676}" destId="{2B8D5BF9-11F0-4D75-8919-2059012129F9}" srcOrd="12" destOrd="0" presId="urn:microsoft.com/office/officeart/2008/layout/VerticalAccentList"/>
    <dgm:cxn modelId="{8801925D-0D6F-423F-8719-D94A9C1D2846}" type="presParOf" srcId="{2B8D5BF9-11F0-4D75-8919-2059012129F9}" destId="{44967D90-C3EC-4238-AE33-61F4BE69BA18}" srcOrd="0" destOrd="0" presId="urn:microsoft.com/office/officeart/2008/layout/VerticalAccentList"/>
    <dgm:cxn modelId="{6DE28EBA-8BF0-4C59-8C00-53A54E776ABC}" type="presParOf" srcId="{2278A6E6-1A62-4D43-BA54-19D84FE9E676}" destId="{B244A03F-1CD7-4A9C-89EF-DB5916AE8DAC}" srcOrd="13" destOrd="0" presId="urn:microsoft.com/office/officeart/2008/layout/VerticalAccentList"/>
    <dgm:cxn modelId="{7BDBB586-6520-4D2E-8ED6-FBA8DD2B8DD0}" type="presParOf" srcId="{B244A03F-1CD7-4A9C-89EF-DB5916AE8DAC}" destId="{C4C758E3-3F13-4BFD-A109-7918087A7A43}" srcOrd="0" destOrd="0" presId="urn:microsoft.com/office/officeart/2008/layout/VerticalAccentList"/>
    <dgm:cxn modelId="{E124D9D7-C2C1-466B-8BE2-23A6684C00E2}" type="presParOf" srcId="{B244A03F-1CD7-4A9C-89EF-DB5916AE8DAC}" destId="{F865A64C-EC60-46E5-87AF-D8CB26B9047A}" srcOrd="1" destOrd="0" presId="urn:microsoft.com/office/officeart/2008/layout/VerticalAccentList"/>
    <dgm:cxn modelId="{7E43798F-45CC-4CFC-8CD4-6D593AA67EE2}" type="presParOf" srcId="{B244A03F-1CD7-4A9C-89EF-DB5916AE8DAC}" destId="{3B30F11E-24FB-4CE9-A7FB-FE1339B4CE2A}" srcOrd="2" destOrd="0" presId="urn:microsoft.com/office/officeart/2008/layout/VerticalAccentList"/>
    <dgm:cxn modelId="{DF6865AB-5102-44A3-B555-7933489BD5E6}" type="presParOf" srcId="{B244A03F-1CD7-4A9C-89EF-DB5916AE8DAC}" destId="{3B2EBC77-F5A2-4A8F-95F4-C005244EBF8A}" srcOrd="3" destOrd="0" presId="urn:microsoft.com/office/officeart/2008/layout/VerticalAccentList"/>
    <dgm:cxn modelId="{F6D70744-6C0C-45CD-BBAB-B07C967CEDAC}" type="presParOf" srcId="{B244A03F-1CD7-4A9C-89EF-DB5916AE8DAC}" destId="{5C46FECD-9E20-407D-BB9A-EB76C5E0EC36}" srcOrd="4" destOrd="0" presId="urn:microsoft.com/office/officeart/2008/layout/VerticalAccentList"/>
    <dgm:cxn modelId="{519529ED-B472-4133-9A02-90BBBF73EB45}" type="presParOf" srcId="{B244A03F-1CD7-4A9C-89EF-DB5916AE8DAC}" destId="{E4A7E292-DC5A-4BA0-8156-67A34FFD9402}" srcOrd="5" destOrd="0" presId="urn:microsoft.com/office/officeart/2008/layout/VerticalAccentList"/>
    <dgm:cxn modelId="{AC3A6029-96EF-4A3E-B7CB-B1EC4B069D35}" type="presParOf" srcId="{B244A03F-1CD7-4A9C-89EF-DB5916AE8DAC}" destId="{44BA71D8-3BE7-431D-89C5-5AF63CF86AB9}" srcOrd="6" destOrd="0" presId="urn:microsoft.com/office/officeart/2008/layout/VerticalAccentList"/>
    <dgm:cxn modelId="{39A828A5-F308-4761-9C07-417525FD9EBE}" type="presParOf" srcId="{2278A6E6-1A62-4D43-BA54-19D84FE9E676}" destId="{AFC7285C-2875-42F8-80D7-AF7C88D7703F}" srcOrd="14" destOrd="0" presId="urn:microsoft.com/office/officeart/2008/layout/VerticalAccentList"/>
    <dgm:cxn modelId="{F27082E4-5A3F-4ED4-968C-DFE0C6BA1095}" type="presParOf" srcId="{2278A6E6-1A62-4D43-BA54-19D84FE9E676}" destId="{836E5E77-78FF-42F2-9AAE-34962CD88EAD}" srcOrd="15" destOrd="0" presId="urn:microsoft.com/office/officeart/2008/layout/VerticalAccentList"/>
    <dgm:cxn modelId="{78CC91DF-79B9-4E7A-B07A-4484E36B828B}" type="presParOf" srcId="{836E5E77-78FF-42F2-9AAE-34962CD88EAD}" destId="{82066BD8-2E45-4873-895C-938E5FF25D07}" srcOrd="0" destOrd="0" presId="urn:microsoft.com/office/officeart/2008/layout/VerticalAccentList"/>
    <dgm:cxn modelId="{E5F08523-6C5C-476F-8B58-F45A917BC308}" type="presParOf" srcId="{2278A6E6-1A62-4D43-BA54-19D84FE9E676}" destId="{D6842118-7D65-4508-A778-785C50F96C4C}" srcOrd="16" destOrd="0" presId="urn:microsoft.com/office/officeart/2008/layout/VerticalAccentList"/>
    <dgm:cxn modelId="{79470643-7F92-4518-8A9E-5FA99F96DDEE}" type="presParOf" srcId="{D6842118-7D65-4508-A778-785C50F96C4C}" destId="{7AAFD26D-6004-4F46-B4AF-5BC18CA8A913}" srcOrd="0" destOrd="0" presId="urn:microsoft.com/office/officeart/2008/layout/VerticalAccentList"/>
    <dgm:cxn modelId="{796FD66C-420D-4450-95B5-E259DA882023}" type="presParOf" srcId="{D6842118-7D65-4508-A778-785C50F96C4C}" destId="{AAC637EC-AC37-425B-A815-01851A678BE8}" srcOrd="1" destOrd="0" presId="urn:microsoft.com/office/officeart/2008/layout/VerticalAccentList"/>
    <dgm:cxn modelId="{D447883D-7203-45D9-995B-4110A60B2722}" type="presParOf" srcId="{D6842118-7D65-4508-A778-785C50F96C4C}" destId="{275683F1-79B6-4EE4-8775-3FAB2C3C5287}" srcOrd="2" destOrd="0" presId="urn:microsoft.com/office/officeart/2008/layout/VerticalAccentList"/>
    <dgm:cxn modelId="{D7C6CD2D-5730-4C6C-A5D7-86491B5E714F}" type="presParOf" srcId="{D6842118-7D65-4508-A778-785C50F96C4C}" destId="{25659202-BA87-44CD-AD3C-05245A654B2D}" srcOrd="3" destOrd="0" presId="urn:microsoft.com/office/officeart/2008/layout/VerticalAccentList"/>
    <dgm:cxn modelId="{033B6AB8-02EF-4605-94ED-DC72962A1150}" type="presParOf" srcId="{D6842118-7D65-4508-A778-785C50F96C4C}" destId="{42F3454A-4629-489B-9294-46E405F5BAF0}" srcOrd="4" destOrd="0" presId="urn:microsoft.com/office/officeart/2008/layout/VerticalAccentList"/>
    <dgm:cxn modelId="{294D5590-BEE9-43F2-BD2D-4E75E7468B5F}" type="presParOf" srcId="{D6842118-7D65-4508-A778-785C50F96C4C}" destId="{A7BE3EB4-E26C-4C20-BBB3-05180FF00D66}" srcOrd="5" destOrd="0" presId="urn:microsoft.com/office/officeart/2008/layout/VerticalAccentList"/>
    <dgm:cxn modelId="{5A3850F7-2DF9-4E8C-A864-FA54F1538BDA}" type="presParOf" srcId="{D6842118-7D65-4508-A778-785C50F96C4C}" destId="{7509D7F3-CDD8-4EFB-8477-495EA808701A}" srcOrd="6" destOrd="0" presId="urn:microsoft.com/office/officeart/2008/layout/VerticalAccentList"/>
    <dgm:cxn modelId="{9383E90E-ABD8-461B-8DB9-62DF6C3C7888}" type="presParOf" srcId="{2278A6E6-1A62-4D43-BA54-19D84FE9E676}" destId="{511347B6-F628-4DA0-B93E-842DDF1AC88C}" srcOrd="17" destOrd="0" presId="urn:microsoft.com/office/officeart/2008/layout/VerticalAccentList"/>
    <dgm:cxn modelId="{2705780F-7027-4BFE-8603-0A16A42EE2A9}" type="presParOf" srcId="{2278A6E6-1A62-4D43-BA54-19D84FE9E676}" destId="{2D3ACD8B-4FF4-4D9B-9D2D-B1FF51076897}" srcOrd="18" destOrd="0" presId="urn:microsoft.com/office/officeart/2008/layout/VerticalAccentList"/>
    <dgm:cxn modelId="{A6E4D5F0-1F60-4545-9FD2-1E879F30BC9B}" type="presParOf" srcId="{2D3ACD8B-4FF4-4D9B-9D2D-B1FF51076897}" destId="{DD99808A-B8B6-4030-90BD-1F371E08F75C}" srcOrd="0" destOrd="0" presId="urn:microsoft.com/office/officeart/2008/layout/VerticalAccentList"/>
    <dgm:cxn modelId="{DFBEB138-8FB3-459C-B12B-13E9095B0691}" type="presParOf" srcId="{2278A6E6-1A62-4D43-BA54-19D84FE9E676}" destId="{26752327-A131-4CB9-A314-B2D3B10A50AF}" srcOrd="19" destOrd="0" presId="urn:microsoft.com/office/officeart/2008/layout/VerticalAccentList"/>
    <dgm:cxn modelId="{115F1CE1-9EC1-4EE3-AE22-8B8ACC142FEF}" type="presParOf" srcId="{26752327-A131-4CB9-A314-B2D3B10A50AF}" destId="{E5DD64A0-B5E3-4BF3-AC29-68A935F996A7}" srcOrd="0" destOrd="0" presId="urn:microsoft.com/office/officeart/2008/layout/VerticalAccentList"/>
    <dgm:cxn modelId="{BB14E8BA-9E5B-4693-A4B3-7903870BFE10}" type="presParOf" srcId="{26752327-A131-4CB9-A314-B2D3B10A50AF}" destId="{CDB1642A-564C-4E71-B195-9C2BD8A7559D}" srcOrd="1" destOrd="0" presId="urn:microsoft.com/office/officeart/2008/layout/VerticalAccentList"/>
    <dgm:cxn modelId="{97FDE52E-DBAE-4083-8C43-EE2A3EE35BCF}" type="presParOf" srcId="{26752327-A131-4CB9-A314-B2D3B10A50AF}" destId="{32A91073-43E9-4E46-8515-D4E66034F10E}" srcOrd="2" destOrd="0" presId="urn:microsoft.com/office/officeart/2008/layout/VerticalAccentList"/>
    <dgm:cxn modelId="{BCD6E152-D14C-4A08-A56F-0D69BF2DD4AB}" type="presParOf" srcId="{26752327-A131-4CB9-A314-B2D3B10A50AF}" destId="{17067905-0558-4D78-BADD-F1B57FD55E1B}" srcOrd="3" destOrd="0" presId="urn:microsoft.com/office/officeart/2008/layout/VerticalAccentList"/>
    <dgm:cxn modelId="{2A3CE14A-226D-459B-95B3-69956D137934}" type="presParOf" srcId="{26752327-A131-4CB9-A314-B2D3B10A50AF}" destId="{95806095-A5EF-4011-82E2-19E567EBBE19}" srcOrd="4" destOrd="0" presId="urn:microsoft.com/office/officeart/2008/layout/VerticalAccentList"/>
    <dgm:cxn modelId="{2E22801B-111D-485E-B8C1-9ABFAC80E46B}" type="presParOf" srcId="{26752327-A131-4CB9-A314-B2D3B10A50AF}" destId="{51845850-ECB3-4520-8949-DEB35755AEC4}" srcOrd="5" destOrd="0" presId="urn:microsoft.com/office/officeart/2008/layout/VerticalAccentList"/>
    <dgm:cxn modelId="{51EEC556-00D6-4EFD-8504-7CF5DE982221}" type="presParOf" srcId="{26752327-A131-4CB9-A314-B2D3B10A50AF}" destId="{11C8BF81-1460-4351-BC26-C71A32669245}" srcOrd="6" destOrd="0" presId="urn:microsoft.com/office/officeart/2008/layout/VerticalAccentList"/>
  </dgm:cxnLst>
  <dgm:bg/>
  <dgm:whole/>
  <dgm:extLst>
    <a:ext uri="http://schemas.microsoft.com/office/drawing/2008/diagram">
      <dsp:dataModelExt xmlns:dsp="http://schemas.microsoft.com/office/drawing/2008/diagram" relId="rId10"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AF508CD5-173A-4C40-9099-D9FBAD6FF7D8}" type="doc">
      <dgm:prSet loTypeId="urn:microsoft.com/office/officeart/2008/layout/LinedList" loCatId="list" qsTypeId="urn:microsoft.com/office/officeart/2005/8/quickstyle/simple1" qsCatId="simple" csTypeId="urn:microsoft.com/office/officeart/2005/8/colors/colorful1" csCatId="colorful"/>
      <dgm:spPr/>
      <dgm:t>
        <a:bodyPr/>
        <a:lstStyle/>
        <a:p>
          <a:endParaRPr lang="en-US"/>
        </a:p>
      </dgm:t>
    </dgm:pt>
    <dgm:pt modelId="{7A0EA89C-D305-4A81-BA31-5895B2BF1169}">
      <dgm:prSet/>
      <dgm:spPr/>
      <dgm:t>
        <a:bodyPr/>
        <a:lstStyle/>
        <a:p>
          <a:r>
            <a:t>Ankara kenti, çeşitli ulaşım planlama önlemlerinin uygulanması yoluyla ulaşım sistemini iyileştirmede önemli adımlar atmıştır. Bu önlemler trafik sıkışıklığını azaltmayı, erişilebilirliği iyileştirmeyi, sürdürülebilir ulaşım biçimlerini teşvik etmeyi ve sakinlerin genel yaşam kalitesini artırmayı amaçlamıştır:</a:t>
          </a:r>
          <a:endParaRPr lang="en-US"/>
        </a:p>
      </dgm:t>
    </dgm:pt>
    <dgm:pt modelId="{AD65EF9A-6D89-4A39-BFE0-8AAF241AF3B8}" type="parTrans" cxnId="{28416FE9-F1B3-4EDE-8B83-9D7BA80095EC}">
      <dgm:prSet/>
      <dgm:spPr/>
      <dgm:t>
        <a:bodyPr/>
        <a:lstStyle/>
        <a:p>
          <a:endParaRPr lang="en-US"/>
        </a:p>
      </dgm:t>
    </dgm:pt>
    <dgm:pt modelId="{D0BA2BB0-BBB8-49F0-B0E4-EA92CB6AF00D}" type="sibTrans" cxnId="{28416FE9-F1B3-4EDE-8B83-9D7BA80095EC}">
      <dgm:prSet/>
      <dgm:spPr/>
      <dgm:t>
        <a:bodyPr/>
        <a:lstStyle/>
        <a:p>
          <a:endParaRPr lang="en-US"/>
        </a:p>
      </dgm:t>
    </dgm:pt>
    <dgm:pt modelId="{0BDD5B21-945B-4FE4-8262-55789D6C2D44}">
      <dgm:prSet/>
      <dgm:spPr/>
      <dgm:t>
        <a:bodyPr/>
        <a:lstStyle/>
        <a:p>
          <a:r>
            <a:rPr b="1"/>
            <a:t>Metrobüsün Tanıtımı: </a:t>
          </a:r>
          <a:r>
            <a:t>Bir otobüs hızlı ulaşım sistemi olan Metrobüs, 2013 yılında Ankara'da tanıtıldı. Sistem, kilit rotalardaki trafik sıkışıklığını azaltmaya ve taşıtlar için seyahat sürelerini iyileştirmeye yardımcı oldu.</a:t>
          </a:r>
        </a:p>
      </dgm:t>
    </dgm:pt>
    <dgm:pt modelId="{B4C2003E-9CA9-4EBB-9586-12C91A5FE7F0}" type="parTrans" cxnId="{9E081D84-3A58-4239-A6DD-A1EFD3FD766B}">
      <dgm:prSet/>
      <dgm:spPr/>
      <dgm:t>
        <a:bodyPr/>
        <a:lstStyle/>
        <a:p>
          <a:endParaRPr lang="en-US"/>
        </a:p>
      </dgm:t>
    </dgm:pt>
    <dgm:pt modelId="{4B5AEF8D-88FB-4010-B3F9-AC43E01701FC}" type="sibTrans" cxnId="{9E081D84-3A58-4239-A6DD-A1EFD3FD766B}">
      <dgm:prSet/>
      <dgm:spPr/>
      <dgm:t>
        <a:bodyPr/>
        <a:lstStyle/>
        <a:p>
          <a:endParaRPr lang="en-US"/>
        </a:p>
      </dgm:t>
    </dgm:pt>
    <dgm:pt modelId="{704325BD-0141-42A1-B4B5-66CB1D32C959}">
      <dgm:prSet/>
      <dgm:spPr/>
      <dgm:t>
        <a:bodyPr/>
        <a:lstStyle/>
        <a:p>
          <a:r>
            <a:rPr b="1"/>
            <a:t>Bir bisiklet ağı geliştirmek: </a:t>
          </a:r>
          <a:r>
            <a:t>Son yıllarda Ankara, özel bisiklet şeritleri ve bisiklet paylaşım sistemlerine sahip bir bisiklet ağı geliştirmiştir. Bu, daha fazla sakinleri bir ulaşım şekli olarak bisiklet sürmeye, trafik sıkışıklığını azaltmaya ve fiziksel aktiviteyi teşvik etmeye teşvik etmiştir.</a:t>
          </a:r>
        </a:p>
      </dgm:t>
    </dgm:pt>
    <dgm:pt modelId="{20C320F7-D712-4E97-809F-53C65BFEE9C6}" type="parTrans" cxnId="{F37AC1BE-F23E-4CED-87D3-FF561ACDB012}">
      <dgm:prSet/>
      <dgm:spPr/>
      <dgm:t>
        <a:bodyPr/>
        <a:lstStyle/>
        <a:p>
          <a:endParaRPr lang="en-US"/>
        </a:p>
      </dgm:t>
    </dgm:pt>
    <dgm:pt modelId="{CC6EF00D-05D8-4D97-880D-C70A885A6E95}" type="sibTrans" cxnId="{F37AC1BE-F23E-4CED-87D3-FF561ACDB012}">
      <dgm:prSet/>
      <dgm:spPr/>
      <dgm:t>
        <a:bodyPr/>
        <a:lstStyle/>
        <a:p>
          <a:endParaRPr lang="en-US"/>
        </a:p>
      </dgm:t>
    </dgm:pt>
    <dgm:pt modelId="{F1EA8572-357D-491B-9D4A-20DD0EDFA5AE}">
      <dgm:prSet/>
      <dgm:spPr/>
      <dgm:t>
        <a:bodyPr/>
        <a:lstStyle/>
        <a:p>
          <a:r>
            <a:rPr b="1"/>
            <a:t>Yayalaştırılmış alanların oluşturulması: </a:t>
          </a:r>
          <a:r>
            <a:t>Ankara'da Kızılay ve Tunalı Hilmi Caddesi gibi çeşitli alanlar son yıllarda yayalaştırılmıştır. Bu, şehrin estetiğini iyileştirdi, trafik sıkışıklığını azalttı ve sakinlere eğlence ve rekreasyon için daha fazla fırsat sağladı.</a:t>
          </a:r>
        </a:p>
      </dgm:t>
    </dgm:pt>
    <dgm:pt modelId="{47CB04C8-2872-4617-A88E-1CFC4C33C822}" type="parTrans" cxnId="{9F259308-9C41-4396-B8F6-2EA49438F2D3}">
      <dgm:prSet/>
      <dgm:spPr/>
      <dgm:t>
        <a:bodyPr/>
        <a:lstStyle/>
        <a:p>
          <a:endParaRPr lang="en-US"/>
        </a:p>
      </dgm:t>
    </dgm:pt>
    <dgm:pt modelId="{59DFB77B-1422-4E38-AEF9-E5ADEC37ECBA}" type="sibTrans" cxnId="{9F259308-9C41-4396-B8F6-2EA49438F2D3}">
      <dgm:prSet/>
      <dgm:spPr/>
      <dgm:t>
        <a:bodyPr/>
        <a:lstStyle/>
        <a:p>
          <a:endParaRPr lang="en-US"/>
        </a:p>
      </dgm:t>
    </dgm:pt>
    <dgm:pt modelId="{09D50BCF-CCFE-4602-BA4F-9D2D4548799E}">
      <dgm:prSet/>
      <dgm:spPr/>
      <dgm:t>
        <a:bodyPr/>
        <a:lstStyle/>
        <a:p>
          <a:r>
            <a:rPr b="1"/>
            <a:t>Akıllı trafik yönetim sistemi: </a:t>
          </a:r>
          <a:r>
            <a:t>Ankara'da trafik ışıklarını ve yol işaretlerini gerçek zamanlı olarak ayarlayarak trafik koşullarına cevap verebilecek akıllı bir trafik yönetim sistemi geliştirilmiştir. Bu, trafik akışını iyileştirdi ve taşıtlar için seyahat sürelerini azalttı.</a:t>
          </a:r>
        </a:p>
      </dgm:t>
    </dgm:pt>
    <dgm:pt modelId="{20EA3480-852F-4D10-954D-6D3CB216ABB8}" type="parTrans" cxnId="{3AD0E52A-99CB-44E8-9F08-E0B8C6669211}">
      <dgm:prSet/>
      <dgm:spPr/>
      <dgm:t>
        <a:bodyPr/>
        <a:lstStyle/>
        <a:p>
          <a:endParaRPr lang="en-US"/>
        </a:p>
      </dgm:t>
    </dgm:pt>
    <dgm:pt modelId="{92EB7CBB-B893-4179-BA4C-1320C178F2F1}" type="sibTrans" cxnId="{3AD0E52A-99CB-44E8-9F08-E0B8C6669211}">
      <dgm:prSet/>
      <dgm:spPr/>
      <dgm:t>
        <a:bodyPr/>
        <a:lstStyle/>
        <a:p>
          <a:endParaRPr lang="en-US"/>
        </a:p>
      </dgm:t>
    </dgm:pt>
    <dgm:pt modelId="{C9F595FE-C508-48E2-B542-65FDCDA2EEC9}">
      <dgm:prSet/>
      <dgm:spPr/>
      <dgm:t>
        <a:bodyPr/>
        <a:lstStyle/>
        <a:p>
          <a:r>
            <a:rPr b="1"/>
            <a:t>Geliştirilmiş toplu taşıma altyapısı: </a:t>
          </a:r>
          <a:r>
            <a:t>Ankara, yeni metro hatlarının geliştirilmesi ve toplu taşıma hizmetlerinin sıklığının artırılması da dahil olmak üzere toplu taşıma altyapısına yatırım yapmıştır. Bu, sakinler için erişilebilirliği artırdı ve arabalara olan bağımlılığı azalttı.</a:t>
          </a:r>
        </a:p>
      </dgm:t>
    </dgm:pt>
    <dgm:pt modelId="{25073E45-0C4A-40CA-9E6B-A2AF916DFAB5}" type="parTrans" cxnId="{892C1ADB-A775-4A54-80AC-C613AD19F9CF}">
      <dgm:prSet/>
      <dgm:spPr/>
      <dgm:t>
        <a:bodyPr/>
        <a:lstStyle/>
        <a:p>
          <a:endParaRPr lang="en-US"/>
        </a:p>
      </dgm:t>
    </dgm:pt>
    <dgm:pt modelId="{4C46ACA9-7DE4-4DBF-811A-EE975C06DE13}" type="sibTrans" cxnId="{892C1ADB-A775-4A54-80AC-C613AD19F9CF}">
      <dgm:prSet/>
      <dgm:spPr/>
      <dgm:t>
        <a:bodyPr/>
        <a:lstStyle/>
        <a:p>
          <a:endParaRPr lang="en-US"/>
        </a:p>
      </dgm:t>
    </dgm:pt>
    <dgm:pt modelId="{4AF2CE5B-66A6-4491-BF02-019ED4261620}" type="pres">
      <dgm:prSet presAssocID="{AF508CD5-173A-4C40-9099-D9FBAD6FF7D8}" presName="vert0" presStyleCnt="0">
        <dgm:presLayoutVars>
          <dgm:dir/>
          <dgm:animOne val="branch"/>
          <dgm:animLvl val="lvl"/>
        </dgm:presLayoutVars>
      </dgm:prSet>
      <dgm:spPr/>
    </dgm:pt>
    <dgm:pt modelId="{C832992D-5522-40FA-AF86-3BA6D69239A6}" type="pres">
      <dgm:prSet presAssocID="{7A0EA89C-D305-4A81-BA31-5895B2BF1169}" presName="thickLine" presStyleLbl="alignNode1" presStyleIdx="0" presStyleCnt="1"/>
      <dgm:spPr/>
    </dgm:pt>
    <dgm:pt modelId="{B0BEEE57-A9BC-4552-8520-9C375C310F05}" type="pres">
      <dgm:prSet presAssocID="{7A0EA89C-D305-4A81-BA31-5895B2BF1169}" presName="horz1" presStyleCnt="0"/>
      <dgm:spPr/>
    </dgm:pt>
    <dgm:pt modelId="{503F1A13-2F7F-49E3-98D4-04B60C48338D}" type="pres">
      <dgm:prSet presAssocID="{7A0EA89C-D305-4A81-BA31-5895B2BF1169}" presName="tx1" presStyleLbl="revTx" presStyleIdx="0" presStyleCnt="6"/>
      <dgm:spPr/>
    </dgm:pt>
    <dgm:pt modelId="{74870005-3D65-459E-91DB-715A081FEC62}" type="pres">
      <dgm:prSet presAssocID="{7A0EA89C-D305-4A81-BA31-5895B2BF1169}" presName="vert1" presStyleCnt="0"/>
      <dgm:spPr/>
    </dgm:pt>
    <dgm:pt modelId="{E734C30A-F8E1-4A09-A2D2-47382AB9193A}" type="pres">
      <dgm:prSet presAssocID="{0BDD5B21-945B-4FE4-8262-55789D6C2D44}" presName="vertSpace2a" presStyleCnt="0"/>
      <dgm:spPr/>
    </dgm:pt>
    <dgm:pt modelId="{C0DA9589-EECF-43C3-942D-1720493A8E50}" type="pres">
      <dgm:prSet presAssocID="{0BDD5B21-945B-4FE4-8262-55789D6C2D44}" presName="horz2" presStyleCnt="0"/>
      <dgm:spPr/>
    </dgm:pt>
    <dgm:pt modelId="{E4EC94D5-930A-493C-8CD6-8C50CD395764}" type="pres">
      <dgm:prSet presAssocID="{0BDD5B21-945B-4FE4-8262-55789D6C2D44}" presName="horzSpace2" presStyleCnt="0"/>
      <dgm:spPr/>
    </dgm:pt>
    <dgm:pt modelId="{3553BDFB-BFC0-4AFC-901F-9166B6217B72}" type="pres">
      <dgm:prSet presAssocID="{0BDD5B21-945B-4FE4-8262-55789D6C2D44}" presName="tx2" presStyleLbl="revTx" presStyleIdx="1" presStyleCnt="6"/>
      <dgm:spPr/>
    </dgm:pt>
    <dgm:pt modelId="{FF2D3846-76AB-418F-8220-597D6DC59591}" type="pres">
      <dgm:prSet presAssocID="{0BDD5B21-945B-4FE4-8262-55789D6C2D44}" presName="vert2" presStyleCnt="0"/>
      <dgm:spPr/>
    </dgm:pt>
    <dgm:pt modelId="{5A7AF590-F0D9-48AB-9A16-A9CB3B6711F1}" type="pres">
      <dgm:prSet presAssocID="{0BDD5B21-945B-4FE4-8262-55789D6C2D44}" presName="thinLine2b" presStyleLbl="callout" presStyleIdx="0" presStyleCnt="5"/>
      <dgm:spPr/>
    </dgm:pt>
    <dgm:pt modelId="{4DA8CB5B-9855-424F-87D9-77FFD18C350D}" type="pres">
      <dgm:prSet presAssocID="{0BDD5B21-945B-4FE4-8262-55789D6C2D44}" presName="vertSpace2b" presStyleCnt="0"/>
      <dgm:spPr/>
    </dgm:pt>
    <dgm:pt modelId="{7DB78AEF-4567-45E1-A384-891EA0CA9C24}" type="pres">
      <dgm:prSet presAssocID="{704325BD-0141-42A1-B4B5-66CB1D32C959}" presName="horz2" presStyleCnt="0"/>
      <dgm:spPr/>
    </dgm:pt>
    <dgm:pt modelId="{6D5E8A0B-6668-486A-882C-D5536E7E1DA9}" type="pres">
      <dgm:prSet presAssocID="{704325BD-0141-42A1-B4B5-66CB1D32C959}" presName="horzSpace2" presStyleCnt="0"/>
      <dgm:spPr/>
    </dgm:pt>
    <dgm:pt modelId="{6AC1F14A-DF25-435A-B368-FBC225BD0C1A}" type="pres">
      <dgm:prSet presAssocID="{704325BD-0141-42A1-B4B5-66CB1D32C959}" presName="tx2" presStyleLbl="revTx" presStyleIdx="2" presStyleCnt="6"/>
      <dgm:spPr/>
    </dgm:pt>
    <dgm:pt modelId="{A4C69FAF-ADA7-4D12-9BFE-FA49AAC5F1C3}" type="pres">
      <dgm:prSet presAssocID="{704325BD-0141-42A1-B4B5-66CB1D32C959}" presName="vert2" presStyleCnt="0"/>
      <dgm:spPr/>
    </dgm:pt>
    <dgm:pt modelId="{8D996AB4-0226-4BBE-BDF4-8B3A9CF62554}" type="pres">
      <dgm:prSet presAssocID="{704325BD-0141-42A1-B4B5-66CB1D32C959}" presName="thinLine2b" presStyleLbl="callout" presStyleIdx="1" presStyleCnt="5"/>
      <dgm:spPr/>
    </dgm:pt>
    <dgm:pt modelId="{C1F3EB08-A575-4A3F-A7AC-4B80DEC88985}" type="pres">
      <dgm:prSet presAssocID="{704325BD-0141-42A1-B4B5-66CB1D32C959}" presName="vertSpace2b" presStyleCnt="0"/>
      <dgm:spPr/>
    </dgm:pt>
    <dgm:pt modelId="{1BA8E29F-4AAA-4B6B-B78D-CC5E706744FC}" type="pres">
      <dgm:prSet presAssocID="{F1EA8572-357D-491B-9D4A-20DD0EDFA5AE}" presName="horz2" presStyleCnt="0"/>
      <dgm:spPr/>
    </dgm:pt>
    <dgm:pt modelId="{EA36038C-4D07-4EBD-99C5-6E48CD1C6825}" type="pres">
      <dgm:prSet presAssocID="{F1EA8572-357D-491B-9D4A-20DD0EDFA5AE}" presName="horzSpace2" presStyleCnt="0"/>
      <dgm:spPr/>
    </dgm:pt>
    <dgm:pt modelId="{CD9FC7FE-4B27-4AE8-A195-BD8E96888AEE}" type="pres">
      <dgm:prSet presAssocID="{F1EA8572-357D-491B-9D4A-20DD0EDFA5AE}" presName="tx2" presStyleLbl="revTx" presStyleIdx="3" presStyleCnt="6"/>
      <dgm:spPr/>
    </dgm:pt>
    <dgm:pt modelId="{66BC0014-43DE-45A1-852B-074DFB91726E}" type="pres">
      <dgm:prSet presAssocID="{F1EA8572-357D-491B-9D4A-20DD0EDFA5AE}" presName="vert2" presStyleCnt="0"/>
      <dgm:spPr/>
    </dgm:pt>
    <dgm:pt modelId="{FD63EB9E-FA8F-4721-AF4E-303B84A9E302}" type="pres">
      <dgm:prSet presAssocID="{F1EA8572-357D-491B-9D4A-20DD0EDFA5AE}" presName="thinLine2b" presStyleLbl="callout" presStyleIdx="2" presStyleCnt="5"/>
      <dgm:spPr/>
    </dgm:pt>
    <dgm:pt modelId="{9A9221E8-A7A9-4EE4-9989-DF08B4A34A7F}" type="pres">
      <dgm:prSet presAssocID="{F1EA8572-357D-491B-9D4A-20DD0EDFA5AE}" presName="vertSpace2b" presStyleCnt="0"/>
      <dgm:spPr/>
    </dgm:pt>
    <dgm:pt modelId="{F1F32A23-8855-4176-BEFC-4E3F2D93EE16}" type="pres">
      <dgm:prSet presAssocID="{09D50BCF-CCFE-4602-BA4F-9D2D4548799E}" presName="horz2" presStyleCnt="0"/>
      <dgm:spPr/>
    </dgm:pt>
    <dgm:pt modelId="{5428F6E9-9490-4D68-88A1-B455B27ABE19}" type="pres">
      <dgm:prSet presAssocID="{09D50BCF-CCFE-4602-BA4F-9D2D4548799E}" presName="horzSpace2" presStyleCnt="0"/>
      <dgm:spPr/>
    </dgm:pt>
    <dgm:pt modelId="{8FE1FCE5-7CA4-4FFF-B93D-AB339B293EFA}" type="pres">
      <dgm:prSet presAssocID="{09D50BCF-CCFE-4602-BA4F-9D2D4548799E}" presName="tx2" presStyleLbl="revTx" presStyleIdx="4" presStyleCnt="6"/>
      <dgm:spPr/>
    </dgm:pt>
    <dgm:pt modelId="{2549A352-7C36-424D-836A-B7C72E51B6CB}" type="pres">
      <dgm:prSet presAssocID="{09D50BCF-CCFE-4602-BA4F-9D2D4548799E}" presName="vert2" presStyleCnt="0"/>
      <dgm:spPr/>
    </dgm:pt>
    <dgm:pt modelId="{EA895CCC-5039-4FF1-87D6-81D9CF0C1698}" type="pres">
      <dgm:prSet presAssocID="{09D50BCF-CCFE-4602-BA4F-9D2D4548799E}" presName="thinLine2b" presStyleLbl="callout" presStyleIdx="3" presStyleCnt="5"/>
      <dgm:spPr/>
    </dgm:pt>
    <dgm:pt modelId="{6618C579-CE6A-493E-8E03-F51D70FDA610}" type="pres">
      <dgm:prSet presAssocID="{09D50BCF-CCFE-4602-BA4F-9D2D4548799E}" presName="vertSpace2b" presStyleCnt="0"/>
      <dgm:spPr/>
    </dgm:pt>
    <dgm:pt modelId="{BB123A0A-C2D5-4524-9409-615D6AF866FE}" type="pres">
      <dgm:prSet presAssocID="{C9F595FE-C508-48E2-B542-65FDCDA2EEC9}" presName="horz2" presStyleCnt="0"/>
      <dgm:spPr/>
    </dgm:pt>
    <dgm:pt modelId="{4B7E1255-3D1D-4B7E-8179-186FF3C89B27}" type="pres">
      <dgm:prSet presAssocID="{C9F595FE-C508-48E2-B542-65FDCDA2EEC9}" presName="horzSpace2" presStyleCnt="0"/>
      <dgm:spPr/>
    </dgm:pt>
    <dgm:pt modelId="{A4976C8E-1EE3-46B1-B4BC-8D91A58BB88E}" type="pres">
      <dgm:prSet presAssocID="{C9F595FE-C508-48E2-B542-65FDCDA2EEC9}" presName="tx2" presStyleLbl="revTx" presStyleIdx="5" presStyleCnt="6"/>
      <dgm:spPr/>
    </dgm:pt>
    <dgm:pt modelId="{4F9A370F-A9A5-44EB-AECD-5CEF800415AB}" type="pres">
      <dgm:prSet presAssocID="{C9F595FE-C508-48E2-B542-65FDCDA2EEC9}" presName="vert2" presStyleCnt="0"/>
      <dgm:spPr/>
    </dgm:pt>
    <dgm:pt modelId="{E502EFD7-B482-42A3-B1CA-D2B2602DAFF3}" type="pres">
      <dgm:prSet presAssocID="{C9F595FE-C508-48E2-B542-65FDCDA2EEC9}" presName="thinLine2b" presStyleLbl="callout" presStyleIdx="4" presStyleCnt="5"/>
      <dgm:spPr/>
    </dgm:pt>
    <dgm:pt modelId="{23A4C6BE-5FF2-4635-9D57-1C7114493936}" type="pres">
      <dgm:prSet presAssocID="{C9F595FE-C508-48E2-B542-65FDCDA2EEC9}" presName="vertSpace2b" presStyleCnt="0"/>
      <dgm:spPr/>
    </dgm:pt>
  </dgm:ptLst>
  <dgm:cxnLst>
    <dgm:cxn modelId="{9F259308-9C41-4396-B8F6-2EA49438F2D3}" srcId="{7A0EA89C-D305-4A81-BA31-5895B2BF1169}" destId="{F1EA8572-357D-491B-9D4A-20DD0EDFA5AE}" srcOrd="2" destOrd="0" parTransId="{47CB04C8-2872-4617-A88E-1CFC4C33C822}" sibTransId="{59DFB77B-1422-4E38-AEF9-E5ADEC37ECBA}"/>
    <dgm:cxn modelId="{18310724-8FB6-4D4B-A73B-51C5C0A30BCF}" type="presOf" srcId="{AF508CD5-173A-4C40-9099-D9FBAD6FF7D8}" destId="{4AF2CE5B-66A6-4491-BF02-019ED4261620}" srcOrd="0" destOrd="0" presId="urn:microsoft.com/office/officeart/2008/layout/LinedList"/>
    <dgm:cxn modelId="{F30BA42A-092E-4DD4-9EE1-17935E657C45}" type="presOf" srcId="{F1EA8572-357D-491B-9D4A-20DD0EDFA5AE}" destId="{CD9FC7FE-4B27-4AE8-A195-BD8E96888AEE}" srcOrd="0" destOrd="0" presId="urn:microsoft.com/office/officeart/2008/layout/LinedList"/>
    <dgm:cxn modelId="{3AD0E52A-99CB-44E8-9F08-E0B8C6669211}" srcId="{7A0EA89C-D305-4A81-BA31-5895B2BF1169}" destId="{09D50BCF-CCFE-4602-BA4F-9D2D4548799E}" srcOrd="3" destOrd="0" parTransId="{20EA3480-852F-4D10-954D-6D3CB216ABB8}" sibTransId="{92EB7CBB-B893-4179-BA4C-1320C178F2F1}"/>
    <dgm:cxn modelId="{0302406A-6FE6-418E-AF97-5DA0E0CEC77A}" type="presOf" srcId="{7A0EA89C-D305-4A81-BA31-5895B2BF1169}" destId="{503F1A13-2F7F-49E3-98D4-04B60C48338D}" srcOrd="0" destOrd="0" presId="urn:microsoft.com/office/officeart/2008/layout/LinedList"/>
    <dgm:cxn modelId="{8344CC4A-ACF8-4E4D-9031-6CDD47E652AD}" type="presOf" srcId="{09D50BCF-CCFE-4602-BA4F-9D2D4548799E}" destId="{8FE1FCE5-7CA4-4FFF-B93D-AB339B293EFA}" srcOrd="0" destOrd="0" presId="urn:microsoft.com/office/officeart/2008/layout/LinedList"/>
    <dgm:cxn modelId="{0A215752-E8A1-4A49-A0C4-70B0F2393B60}" type="presOf" srcId="{704325BD-0141-42A1-B4B5-66CB1D32C959}" destId="{6AC1F14A-DF25-435A-B368-FBC225BD0C1A}" srcOrd="0" destOrd="0" presId="urn:microsoft.com/office/officeart/2008/layout/LinedList"/>
    <dgm:cxn modelId="{60CC5257-D4F3-4325-98E3-15C72CE6F168}" type="presOf" srcId="{C9F595FE-C508-48E2-B542-65FDCDA2EEC9}" destId="{A4976C8E-1EE3-46B1-B4BC-8D91A58BB88E}" srcOrd="0" destOrd="0" presId="urn:microsoft.com/office/officeart/2008/layout/LinedList"/>
    <dgm:cxn modelId="{C3EC897E-4DDB-4622-9032-A44ED7EE1115}" type="presOf" srcId="{0BDD5B21-945B-4FE4-8262-55789D6C2D44}" destId="{3553BDFB-BFC0-4AFC-901F-9166B6217B72}" srcOrd="0" destOrd="0" presId="urn:microsoft.com/office/officeart/2008/layout/LinedList"/>
    <dgm:cxn modelId="{9E081D84-3A58-4239-A6DD-A1EFD3FD766B}" srcId="{7A0EA89C-D305-4A81-BA31-5895B2BF1169}" destId="{0BDD5B21-945B-4FE4-8262-55789D6C2D44}" srcOrd="0" destOrd="0" parTransId="{B4C2003E-9CA9-4EBB-9586-12C91A5FE7F0}" sibTransId="{4B5AEF8D-88FB-4010-B3F9-AC43E01701FC}"/>
    <dgm:cxn modelId="{F37AC1BE-F23E-4CED-87D3-FF561ACDB012}" srcId="{7A0EA89C-D305-4A81-BA31-5895B2BF1169}" destId="{704325BD-0141-42A1-B4B5-66CB1D32C959}" srcOrd="1" destOrd="0" parTransId="{20C320F7-D712-4E97-809F-53C65BFEE9C6}" sibTransId="{CC6EF00D-05D8-4D97-880D-C70A885A6E95}"/>
    <dgm:cxn modelId="{892C1ADB-A775-4A54-80AC-C613AD19F9CF}" srcId="{7A0EA89C-D305-4A81-BA31-5895B2BF1169}" destId="{C9F595FE-C508-48E2-B542-65FDCDA2EEC9}" srcOrd="4" destOrd="0" parTransId="{25073E45-0C4A-40CA-9E6B-A2AF916DFAB5}" sibTransId="{4C46ACA9-7DE4-4DBF-811A-EE975C06DE13}"/>
    <dgm:cxn modelId="{28416FE9-F1B3-4EDE-8B83-9D7BA80095EC}" srcId="{AF508CD5-173A-4C40-9099-D9FBAD6FF7D8}" destId="{7A0EA89C-D305-4A81-BA31-5895B2BF1169}" srcOrd="0" destOrd="0" parTransId="{AD65EF9A-6D89-4A39-BFE0-8AAF241AF3B8}" sibTransId="{D0BA2BB0-BBB8-49F0-B0E4-EA92CB6AF00D}"/>
    <dgm:cxn modelId="{2180A4BC-E829-4089-BC73-1F6174303B0B}" type="presParOf" srcId="{4AF2CE5B-66A6-4491-BF02-019ED4261620}" destId="{C832992D-5522-40FA-AF86-3BA6D69239A6}" srcOrd="0" destOrd="0" presId="urn:microsoft.com/office/officeart/2008/layout/LinedList"/>
    <dgm:cxn modelId="{F94695BB-3506-435C-A2FC-D6605FFF9700}" type="presParOf" srcId="{4AF2CE5B-66A6-4491-BF02-019ED4261620}" destId="{B0BEEE57-A9BC-4552-8520-9C375C310F05}" srcOrd="1" destOrd="0" presId="urn:microsoft.com/office/officeart/2008/layout/LinedList"/>
    <dgm:cxn modelId="{3A453E54-A288-4D93-96E8-0EA2E64A732B}" type="presParOf" srcId="{B0BEEE57-A9BC-4552-8520-9C375C310F05}" destId="{503F1A13-2F7F-49E3-98D4-04B60C48338D}" srcOrd="0" destOrd="0" presId="urn:microsoft.com/office/officeart/2008/layout/LinedList"/>
    <dgm:cxn modelId="{66937BAB-C312-4E90-B050-F1B6096A6AF4}" type="presParOf" srcId="{B0BEEE57-A9BC-4552-8520-9C375C310F05}" destId="{74870005-3D65-459E-91DB-715A081FEC62}" srcOrd="1" destOrd="0" presId="urn:microsoft.com/office/officeart/2008/layout/LinedList"/>
    <dgm:cxn modelId="{9054B322-FB0D-44C4-8DBD-B9A5B83F1166}" type="presParOf" srcId="{74870005-3D65-459E-91DB-715A081FEC62}" destId="{E734C30A-F8E1-4A09-A2D2-47382AB9193A}" srcOrd="0" destOrd="0" presId="urn:microsoft.com/office/officeart/2008/layout/LinedList"/>
    <dgm:cxn modelId="{04199C9A-8980-42EF-BB37-75B86D32904A}" type="presParOf" srcId="{74870005-3D65-459E-91DB-715A081FEC62}" destId="{C0DA9589-EECF-43C3-942D-1720493A8E50}" srcOrd="1" destOrd="0" presId="urn:microsoft.com/office/officeart/2008/layout/LinedList"/>
    <dgm:cxn modelId="{5D5A42C8-67AF-481A-9DF5-ACF23834CB77}" type="presParOf" srcId="{C0DA9589-EECF-43C3-942D-1720493A8E50}" destId="{E4EC94D5-930A-493C-8CD6-8C50CD395764}" srcOrd="0" destOrd="0" presId="urn:microsoft.com/office/officeart/2008/layout/LinedList"/>
    <dgm:cxn modelId="{6E2F770A-D02C-429A-B72E-11A2327F5554}" type="presParOf" srcId="{C0DA9589-EECF-43C3-942D-1720493A8E50}" destId="{3553BDFB-BFC0-4AFC-901F-9166B6217B72}" srcOrd="1" destOrd="0" presId="urn:microsoft.com/office/officeart/2008/layout/LinedList"/>
    <dgm:cxn modelId="{C6009F23-DD03-4584-9EF6-D94B535F7FD3}" type="presParOf" srcId="{C0DA9589-EECF-43C3-942D-1720493A8E50}" destId="{FF2D3846-76AB-418F-8220-597D6DC59591}" srcOrd="2" destOrd="0" presId="urn:microsoft.com/office/officeart/2008/layout/LinedList"/>
    <dgm:cxn modelId="{44FD0E64-AC29-4D32-B9B6-77707E0B177D}" type="presParOf" srcId="{74870005-3D65-459E-91DB-715A081FEC62}" destId="{5A7AF590-F0D9-48AB-9A16-A9CB3B6711F1}" srcOrd="2" destOrd="0" presId="urn:microsoft.com/office/officeart/2008/layout/LinedList"/>
    <dgm:cxn modelId="{E4AFF250-F4E7-4801-AD46-A5847AEC1590}" type="presParOf" srcId="{74870005-3D65-459E-91DB-715A081FEC62}" destId="{4DA8CB5B-9855-424F-87D9-77FFD18C350D}" srcOrd="3" destOrd="0" presId="urn:microsoft.com/office/officeart/2008/layout/LinedList"/>
    <dgm:cxn modelId="{1A057321-6881-44AA-93A2-98F0D9909C5D}" type="presParOf" srcId="{74870005-3D65-459E-91DB-715A081FEC62}" destId="{7DB78AEF-4567-45E1-A384-891EA0CA9C24}" srcOrd="4" destOrd="0" presId="urn:microsoft.com/office/officeart/2008/layout/LinedList"/>
    <dgm:cxn modelId="{605D1BBA-6501-43BB-B700-BF0BB831A55E}" type="presParOf" srcId="{7DB78AEF-4567-45E1-A384-891EA0CA9C24}" destId="{6D5E8A0B-6668-486A-882C-D5536E7E1DA9}" srcOrd="0" destOrd="0" presId="urn:microsoft.com/office/officeart/2008/layout/LinedList"/>
    <dgm:cxn modelId="{5AEC4468-5B84-4201-87E4-4B8D1F118A49}" type="presParOf" srcId="{7DB78AEF-4567-45E1-A384-891EA0CA9C24}" destId="{6AC1F14A-DF25-435A-B368-FBC225BD0C1A}" srcOrd="1" destOrd="0" presId="urn:microsoft.com/office/officeart/2008/layout/LinedList"/>
    <dgm:cxn modelId="{23465F1D-C671-4EA4-BA5C-14C7BC299072}" type="presParOf" srcId="{7DB78AEF-4567-45E1-A384-891EA0CA9C24}" destId="{A4C69FAF-ADA7-4D12-9BFE-FA49AAC5F1C3}" srcOrd="2" destOrd="0" presId="urn:microsoft.com/office/officeart/2008/layout/LinedList"/>
    <dgm:cxn modelId="{2155A48F-7A0A-4ECD-9017-E75A80BD94E0}" type="presParOf" srcId="{74870005-3D65-459E-91DB-715A081FEC62}" destId="{8D996AB4-0226-4BBE-BDF4-8B3A9CF62554}" srcOrd="5" destOrd="0" presId="urn:microsoft.com/office/officeart/2008/layout/LinedList"/>
    <dgm:cxn modelId="{473B2054-79C4-4E3A-AB2A-992DD05AA177}" type="presParOf" srcId="{74870005-3D65-459E-91DB-715A081FEC62}" destId="{C1F3EB08-A575-4A3F-A7AC-4B80DEC88985}" srcOrd="6" destOrd="0" presId="urn:microsoft.com/office/officeart/2008/layout/LinedList"/>
    <dgm:cxn modelId="{DE6F1D86-777C-4E0F-8973-BBA1B3C1EF89}" type="presParOf" srcId="{74870005-3D65-459E-91DB-715A081FEC62}" destId="{1BA8E29F-4AAA-4B6B-B78D-CC5E706744FC}" srcOrd="7" destOrd="0" presId="urn:microsoft.com/office/officeart/2008/layout/LinedList"/>
    <dgm:cxn modelId="{93116167-7376-4D4B-8C5D-6AF3350AD3F4}" type="presParOf" srcId="{1BA8E29F-4AAA-4B6B-B78D-CC5E706744FC}" destId="{EA36038C-4D07-4EBD-99C5-6E48CD1C6825}" srcOrd="0" destOrd="0" presId="urn:microsoft.com/office/officeart/2008/layout/LinedList"/>
    <dgm:cxn modelId="{23082996-15E8-4C0B-ADD9-C1B59AC83DD0}" type="presParOf" srcId="{1BA8E29F-4AAA-4B6B-B78D-CC5E706744FC}" destId="{CD9FC7FE-4B27-4AE8-A195-BD8E96888AEE}" srcOrd="1" destOrd="0" presId="urn:microsoft.com/office/officeart/2008/layout/LinedList"/>
    <dgm:cxn modelId="{E01D0BE6-4811-4565-920C-50D17C0991C7}" type="presParOf" srcId="{1BA8E29F-4AAA-4B6B-B78D-CC5E706744FC}" destId="{66BC0014-43DE-45A1-852B-074DFB91726E}" srcOrd="2" destOrd="0" presId="urn:microsoft.com/office/officeart/2008/layout/LinedList"/>
    <dgm:cxn modelId="{806B814A-2575-4196-80F1-74E30E027A24}" type="presParOf" srcId="{74870005-3D65-459E-91DB-715A081FEC62}" destId="{FD63EB9E-FA8F-4721-AF4E-303B84A9E302}" srcOrd="8" destOrd="0" presId="urn:microsoft.com/office/officeart/2008/layout/LinedList"/>
    <dgm:cxn modelId="{C16EC633-687D-41A4-BEE0-0C2C468C3BD0}" type="presParOf" srcId="{74870005-3D65-459E-91DB-715A081FEC62}" destId="{9A9221E8-A7A9-4EE4-9989-DF08B4A34A7F}" srcOrd="9" destOrd="0" presId="urn:microsoft.com/office/officeart/2008/layout/LinedList"/>
    <dgm:cxn modelId="{75AF2125-E2E2-4B3C-ADA1-4978E7FD6C9B}" type="presParOf" srcId="{74870005-3D65-459E-91DB-715A081FEC62}" destId="{F1F32A23-8855-4176-BEFC-4E3F2D93EE16}" srcOrd="10" destOrd="0" presId="urn:microsoft.com/office/officeart/2008/layout/LinedList"/>
    <dgm:cxn modelId="{37C3A822-9B23-418D-A481-F65A85BDD3C8}" type="presParOf" srcId="{F1F32A23-8855-4176-BEFC-4E3F2D93EE16}" destId="{5428F6E9-9490-4D68-88A1-B455B27ABE19}" srcOrd="0" destOrd="0" presId="urn:microsoft.com/office/officeart/2008/layout/LinedList"/>
    <dgm:cxn modelId="{C4478B48-1AE5-4A89-BE4C-498E3D261C97}" type="presParOf" srcId="{F1F32A23-8855-4176-BEFC-4E3F2D93EE16}" destId="{8FE1FCE5-7CA4-4FFF-B93D-AB339B293EFA}" srcOrd="1" destOrd="0" presId="urn:microsoft.com/office/officeart/2008/layout/LinedList"/>
    <dgm:cxn modelId="{4667F52E-52BB-42A3-B770-5477B635EF0A}" type="presParOf" srcId="{F1F32A23-8855-4176-BEFC-4E3F2D93EE16}" destId="{2549A352-7C36-424D-836A-B7C72E51B6CB}" srcOrd="2" destOrd="0" presId="urn:microsoft.com/office/officeart/2008/layout/LinedList"/>
    <dgm:cxn modelId="{940C0E5A-2B64-45B2-940F-837BE9263360}" type="presParOf" srcId="{74870005-3D65-459E-91DB-715A081FEC62}" destId="{EA895CCC-5039-4FF1-87D6-81D9CF0C1698}" srcOrd="11" destOrd="0" presId="urn:microsoft.com/office/officeart/2008/layout/LinedList"/>
    <dgm:cxn modelId="{9BC1D064-29DA-47CB-985B-B3BEC647EB24}" type="presParOf" srcId="{74870005-3D65-459E-91DB-715A081FEC62}" destId="{6618C579-CE6A-493E-8E03-F51D70FDA610}" srcOrd="12" destOrd="0" presId="urn:microsoft.com/office/officeart/2008/layout/LinedList"/>
    <dgm:cxn modelId="{60FF270B-8AD8-48DD-91EB-B147D80DB92A}" type="presParOf" srcId="{74870005-3D65-459E-91DB-715A081FEC62}" destId="{BB123A0A-C2D5-4524-9409-615D6AF866FE}" srcOrd="13" destOrd="0" presId="urn:microsoft.com/office/officeart/2008/layout/LinedList"/>
    <dgm:cxn modelId="{D2E6BE7B-329A-4DCC-A6CF-9428FD423046}" type="presParOf" srcId="{BB123A0A-C2D5-4524-9409-615D6AF866FE}" destId="{4B7E1255-3D1D-4B7E-8179-186FF3C89B27}" srcOrd="0" destOrd="0" presId="urn:microsoft.com/office/officeart/2008/layout/LinedList"/>
    <dgm:cxn modelId="{7BB64E2A-E2ED-4BFF-876E-6583B60DFEC2}" type="presParOf" srcId="{BB123A0A-C2D5-4524-9409-615D6AF866FE}" destId="{A4976C8E-1EE3-46B1-B4BC-8D91A58BB88E}" srcOrd="1" destOrd="0" presId="urn:microsoft.com/office/officeart/2008/layout/LinedList"/>
    <dgm:cxn modelId="{6E6F9085-5040-4034-8347-0F068ACB1B72}" type="presParOf" srcId="{BB123A0A-C2D5-4524-9409-615D6AF866FE}" destId="{4F9A370F-A9A5-44EB-AECD-5CEF800415AB}" srcOrd="2" destOrd="0" presId="urn:microsoft.com/office/officeart/2008/layout/LinedList"/>
    <dgm:cxn modelId="{134E1403-E40E-427A-8A16-FC5C63C42603}" type="presParOf" srcId="{74870005-3D65-459E-91DB-715A081FEC62}" destId="{E502EFD7-B482-42A3-B1CA-D2B2602DAFF3}" srcOrd="14" destOrd="0" presId="urn:microsoft.com/office/officeart/2008/layout/LinedList"/>
    <dgm:cxn modelId="{C69CED18-FDF4-4BA5-8D41-9BAE6DAB399A}" type="presParOf" srcId="{74870005-3D65-459E-91DB-715A081FEC62}" destId="{23A4C6BE-5FF2-4635-9D57-1C7114493936}" srcOrd="15"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8085DBF4-F68C-4673-8A97-962CFD293A98}" type="doc">
      <dgm:prSet loTypeId="urn:microsoft.com/office/officeart/2008/layout/AccentedPicture" loCatId="picture" qsTypeId="urn:microsoft.com/office/officeart/2005/8/quickstyle/simple1" qsCatId="simple" csTypeId="urn:microsoft.com/office/officeart/2005/8/colors/accent1_2" csCatId="accent1" phldr="1"/>
      <dgm:spPr/>
    </dgm:pt>
    <dgm:pt modelId="{AE5F843E-6FEB-45AB-BB84-356D766F3C8E}">
      <dgm:prSet phldrT="[Text]"/>
      <dgm:spPr/>
      <dgm:t>
        <a:bodyPr/>
        <a:lstStyle/>
        <a:p>
          <a:r>
            <a:t>.</a:t>
          </a:r>
          <a:endParaRPr lang="en-US" dirty="0"/>
        </a:p>
      </dgm:t>
    </dgm:pt>
    <dgm:pt modelId="{2FA93749-BD02-4D00-B41B-F95DDB1BEC29}" type="parTrans" cxnId="{D2C44675-2739-405A-936F-114C2D99D1B6}">
      <dgm:prSet/>
      <dgm:spPr/>
      <dgm:t>
        <a:bodyPr/>
        <a:lstStyle/>
        <a:p>
          <a:endParaRPr lang="en-US"/>
        </a:p>
      </dgm:t>
    </dgm:pt>
    <dgm:pt modelId="{EB072FE3-36FB-49F0-B0B7-842CBA033333}" type="sibTrans" cxnId="{D2C44675-2739-405A-936F-114C2D99D1B6}">
      <dgm:prSet/>
      <dgm:spPr>
        <a:blipFill>
          <a:blip xmlns:r="http://schemas.openxmlformats.org/officeDocument/2006/relationships" r:embed="rId1"/>
          <a:srcRect/>
          <a:stretch>
            <a:fillRect l="-46000" r="-46000"/>
          </a:stretch>
        </a:blipFill>
      </dgm:spPr>
      <dgm:t>
        <a:bodyPr/>
        <a:lstStyle/>
        <a:p>
          <a:endParaRPr lang="en-US"/>
        </a:p>
      </dgm:t>
      <dgm:extLst>
        <a:ext uri="{E40237B7-FDA0-4F09-8148-C483321AD2D9}">
          <dgm14:cNvPr xmlns:dgm14="http://schemas.microsoft.com/office/drawing/2010/diagram" id="0" name="" descr="Hands holding a tablet with a map on it  Description automatically generated with medium confidence">
            <a:extLst>
              <a:ext uri="{FF2B5EF4-FFF2-40B4-BE49-F238E27FC236}">
                <a16:creationId xmlns:a16="http://schemas.microsoft.com/office/drawing/2014/main" id="{DF6276E0-5A52-7219-A238-7D7365C8E0D0}"/>
              </a:ext>
            </a:extLst>
          </dgm14:cNvPr>
        </a:ext>
      </dgm:extLst>
    </dgm:pt>
    <dgm:pt modelId="{6DE1221D-8166-425E-88FD-EA4383ACEB4A}">
      <dgm:prSet phldrT="[Text]"/>
      <dgm:spPr/>
      <dgm:t>
        <a:bodyPr/>
        <a:lstStyle/>
        <a:p>
          <a:endParaRPr lang="en-US" dirty="0"/>
        </a:p>
      </dgm:t>
    </dgm:pt>
    <dgm:pt modelId="{78583B85-B880-4FBB-8DE9-3042F79E2E4A}" type="parTrans" cxnId="{69F2EAD2-0261-4771-B666-0791DEAC578D}">
      <dgm:prSet/>
      <dgm:spPr/>
      <dgm:t>
        <a:bodyPr/>
        <a:lstStyle/>
        <a:p>
          <a:endParaRPr lang="en-US"/>
        </a:p>
      </dgm:t>
    </dgm:pt>
    <dgm:pt modelId="{E4845A38-43DA-46C9-874D-38E0C989E461}" type="sibTrans" cxnId="{69F2EAD2-0261-4771-B666-0791DEAC578D}">
      <dgm:prSet/>
      <dgm:spPr/>
      <dgm:t>
        <a:bodyPr/>
        <a:lstStyle/>
        <a:p>
          <a:endParaRPr lang="en-US"/>
        </a:p>
      </dgm:t>
    </dgm:pt>
    <dgm:pt modelId="{B901FF9A-0E6B-4883-8BB9-0B0BF43690B1}" type="pres">
      <dgm:prSet presAssocID="{8085DBF4-F68C-4673-8A97-962CFD293A98}" presName="Name0" presStyleCnt="0">
        <dgm:presLayoutVars>
          <dgm:dir/>
        </dgm:presLayoutVars>
      </dgm:prSet>
      <dgm:spPr/>
    </dgm:pt>
    <dgm:pt modelId="{A865AB94-79CD-462C-9C0E-9E200128BFC7}" type="pres">
      <dgm:prSet presAssocID="{EB072FE3-36FB-49F0-B0B7-842CBA033333}" presName="picture_1" presStyleLbl="bgImgPlace1" presStyleIdx="0" presStyleCnt="1"/>
      <dgm:spPr/>
    </dgm:pt>
    <dgm:pt modelId="{9DC84F04-9D4A-4FDC-B5A9-CDFABC9DB9DF}" type="pres">
      <dgm:prSet presAssocID="{AE5F843E-6FEB-45AB-BB84-356D766F3C8E}" presName="text_1" presStyleLbl="node1" presStyleIdx="0" presStyleCnt="0" custLinFactX="-47856" custLinFactY="-43933" custLinFactNeighborX="-100000" custLinFactNeighborY="-100000">
        <dgm:presLayoutVars>
          <dgm:bulletEnabled val="1"/>
        </dgm:presLayoutVars>
      </dgm:prSet>
      <dgm:spPr/>
    </dgm:pt>
    <dgm:pt modelId="{2E0F42AD-9C84-4868-9061-C7E61F3BA413}" type="pres">
      <dgm:prSet presAssocID="{8085DBF4-F68C-4673-8A97-962CFD293A98}" presName="linV" presStyleCnt="0"/>
      <dgm:spPr/>
    </dgm:pt>
    <dgm:pt modelId="{DDF794A0-D70D-4449-95E9-5BF842B8C417}" type="pres">
      <dgm:prSet presAssocID="{6DE1221D-8166-425E-88FD-EA4383ACEB4A}" presName="pair" presStyleCnt="0"/>
      <dgm:spPr/>
    </dgm:pt>
    <dgm:pt modelId="{51C4D995-C9E1-42F3-9C04-5EAD026210BB}" type="pres">
      <dgm:prSet presAssocID="{6DE1221D-8166-425E-88FD-EA4383ACEB4A}" presName="spaceH" presStyleLbl="node1" presStyleIdx="0" presStyleCnt="0"/>
      <dgm:spPr/>
    </dgm:pt>
    <dgm:pt modelId="{A1DF2F55-7E56-40CC-9A9B-03F072EC6350}" type="pres">
      <dgm:prSet presAssocID="{6DE1221D-8166-425E-88FD-EA4383ACEB4A}" presName="desPictures" presStyleLbl="alignImgPlace1" presStyleIdx="0" presStyleCnt="1" custScaleX="139066" custScaleY="123426"/>
      <dgm:spPr>
        <a:blipFill>
          <a:blip xmlns:r="http://schemas.openxmlformats.org/officeDocument/2006/relationships" r:embed="rId2"/>
          <a:srcRect/>
          <a:stretch>
            <a:fillRect/>
          </a:stretch>
        </a:blipFill>
      </dgm:spPr>
      <dgm:extLst>
        <a:ext uri="{E40237B7-FDA0-4F09-8148-C483321AD2D9}">
          <dgm14:cNvPr xmlns:dgm14="http://schemas.microsoft.com/office/drawing/2010/diagram" id="0" name="" descr="A picture containing text, screenshot, diagram  Description automatically generated">
            <a:extLst>
              <a:ext uri="{FF2B5EF4-FFF2-40B4-BE49-F238E27FC236}">
                <a16:creationId xmlns:a16="http://schemas.microsoft.com/office/drawing/2014/main" id="{76CA5E0E-7437-2303-40A2-BB4611DC3EB5}"/>
              </a:ext>
            </a:extLst>
          </dgm14:cNvPr>
        </a:ext>
      </dgm:extLst>
    </dgm:pt>
    <dgm:pt modelId="{296D1EC8-270E-4758-BD47-6EEBB14E40ED}" type="pres">
      <dgm:prSet presAssocID="{6DE1221D-8166-425E-88FD-EA4383ACEB4A}" presName="desTextWrapper" presStyleCnt="0"/>
      <dgm:spPr/>
    </dgm:pt>
    <dgm:pt modelId="{7CB1C0CC-1256-4E9A-84AA-C0FA3F28B65D}" type="pres">
      <dgm:prSet presAssocID="{6DE1221D-8166-425E-88FD-EA4383ACEB4A}" presName="desText" presStyleLbl="revTx" presStyleIdx="0" presStyleCnt="1">
        <dgm:presLayoutVars>
          <dgm:bulletEnabled val="1"/>
        </dgm:presLayoutVars>
      </dgm:prSet>
      <dgm:spPr/>
    </dgm:pt>
    <dgm:pt modelId="{F942CE72-8963-4703-98E1-3BB0DAC7960C}" type="pres">
      <dgm:prSet presAssocID="{8085DBF4-F68C-4673-8A97-962CFD293A98}" presName="maxNode" presStyleCnt="0"/>
      <dgm:spPr/>
    </dgm:pt>
    <dgm:pt modelId="{9E692AD2-E486-44CF-981E-68B1B6500C87}" type="pres">
      <dgm:prSet presAssocID="{8085DBF4-F68C-4673-8A97-962CFD293A98}" presName="Name33" presStyleCnt="0"/>
      <dgm:spPr/>
    </dgm:pt>
  </dgm:ptLst>
  <dgm:cxnLst>
    <dgm:cxn modelId="{87E8BA38-2405-4412-AA55-32023426C9DB}" type="presOf" srcId="{8085DBF4-F68C-4673-8A97-962CFD293A98}" destId="{B901FF9A-0E6B-4883-8BB9-0B0BF43690B1}" srcOrd="0" destOrd="0" presId="urn:microsoft.com/office/officeart/2008/layout/AccentedPicture"/>
    <dgm:cxn modelId="{D2C44675-2739-405A-936F-114C2D99D1B6}" srcId="{8085DBF4-F68C-4673-8A97-962CFD293A98}" destId="{AE5F843E-6FEB-45AB-BB84-356D766F3C8E}" srcOrd="0" destOrd="0" parTransId="{2FA93749-BD02-4D00-B41B-F95DDB1BEC29}" sibTransId="{EB072FE3-36FB-49F0-B0B7-842CBA033333}"/>
    <dgm:cxn modelId="{93F99598-519E-4DBC-B3C1-E395A2FC1C53}" type="presOf" srcId="{EB072FE3-36FB-49F0-B0B7-842CBA033333}" destId="{A865AB94-79CD-462C-9C0E-9E200128BFC7}" srcOrd="0" destOrd="0" presId="urn:microsoft.com/office/officeart/2008/layout/AccentedPicture"/>
    <dgm:cxn modelId="{69F2EAD2-0261-4771-B666-0791DEAC578D}" srcId="{8085DBF4-F68C-4673-8A97-962CFD293A98}" destId="{6DE1221D-8166-425E-88FD-EA4383ACEB4A}" srcOrd="1" destOrd="0" parTransId="{78583B85-B880-4FBB-8DE9-3042F79E2E4A}" sibTransId="{E4845A38-43DA-46C9-874D-38E0C989E461}"/>
    <dgm:cxn modelId="{58B710D8-F8E5-4CDC-80A1-CEC8332E2BFB}" type="presOf" srcId="{6DE1221D-8166-425E-88FD-EA4383ACEB4A}" destId="{7CB1C0CC-1256-4E9A-84AA-C0FA3F28B65D}" srcOrd="0" destOrd="0" presId="urn:microsoft.com/office/officeart/2008/layout/AccentedPicture"/>
    <dgm:cxn modelId="{8F93BAE6-8918-42E6-9385-C5A884472C2B}" type="presOf" srcId="{AE5F843E-6FEB-45AB-BB84-356D766F3C8E}" destId="{9DC84F04-9D4A-4FDC-B5A9-CDFABC9DB9DF}" srcOrd="0" destOrd="0" presId="urn:microsoft.com/office/officeart/2008/layout/AccentedPicture"/>
    <dgm:cxn modelId="{61C20985-8A91-436D-8526-F010DC47A9DE}" type="presParOf" srcId="{B901FF9A-0E6B-4883-8BB9-0B0BF43690B1}" destId="{A865AB94-79CD-462C-9C0E-9E200128BFC7}" srcOrd="0" destOrd="0" presId="urn:microsoft.com/office/officeart/2008/layout/AccentedPicture"/>
    <dgm:cxn modelId="{1E82D8E7-D935-4682-B239-7549CAC8BE80}" type="presParOf" srcId="{B901FF9A-0E6B-4883-8BB9-0B0BF43690B1}" destId="{9DC84F04-9D4A-4FDC-B5A9-CDFABC9DB9DF}" srcOrd="1" destOrd="0" presId="urn:microsoft.com/office/officeart/2008/layout/AccentedPicture"/>
    <dgm:cxn modelId="{F31D9354-D2ED-4EC2-9DCB-9FD1A2FE7722}" type="presParOf" srcId="{B901FF9A-0E6B-4883-8BB9-0B0BF43690B1}" destId="{2E0F42AD-9C84-4868-9061-C7E61F3BA413}" srcOrd="2" destOrd="0" presId="urn:microsoft.com/office/officeart/2008/layout/AccentedPicture"/>
    <dgm:cxn modelId="{13C0E05D-1325-4523-BF41-18E85FE3BF03}" type="presParOf" srcId="{2E0F42AD-9C84-4868-9061-C7E61F3BA413}" destId="{DDF794A0-D70D-4449-95E9-5BF842B8C417}" srcOrd="0" destOrd="0" presId="urn:microsoft.com/office/officeart/2008/layout/AccentedPicture"/>
    <dgm:cxn modelId="{1CC83946-1817-41CE-81A9-4193D1F76694}" type="presParOf" srcId="{DDF794A0-D70D-4449-95E9-5BF842B8C417}" destId="{51C4D995-C9E1-42F3-9C04-5EAD026210BB}" srcOrd="0" destOrd="0" presId="urn:microsoft.com/office/officeart/2008/layout/AccentedPicture"/>
    <dgm:cxn modelId="{40F7FA80-78BE-48E3-83CC-A88A0C2D3E56}" type="presParOf" srcId="{DDF794A0-D70D-4449-95E9-5BF842B8C417}" destId="{A1DF2F55-7E56-40CC-9A9B-03F072EC6350}" srcOrd="1" destOrd="0" presId="urn:microsoft.com/office/officeart/2008/layout/AccentedPicture"/>
    <dgm:cxn modelId="{807F7388-0516-467A-BF36-E94C6DF55D98}" type="presParOf" srcId="{DDF794A0-D70D-4449-95E9-5BF842B8C417}" destId="{296D1EC8-270E-4758-BD47-6EEBB14E40ED}" srcOrd="2" destOrd="0" presId="urn:microsoft.com/office/officeart/2008/layout/AccentedPicture"/>
    <dgm:cxn modelId="{CD2539A7-C4EC-4CF3-B51C-05ECA952AC7F}" type="presParOf" srcId="{296D1EC8-270E-4758-BD47-6EEBB14E40ED}" destId="{7CB1C0CC-1256-4E9A-84AA-C0FA3F28B65D}" srcOrd="0" destOrd="0" presId="urn:microsoft.com/office/officeart/2008/layout/AccentedPicture"/>
    <dgm:cxn modelId="{B0A3019B-C886-4529-88C1-2E5E711F2A2D}" type="presParOf" srcId="{B901FF9A-0E6B-4883-8BB9-0B0BF43690B1}" destId="{F942CE72-8963-4703-98E1-3BB0DAC7960C}" srcOrd="3" destOrd="0" presId="urn:microsoft.com/office/officeart/2008/layout/AccentedPicture"/>
    <dgm:cxn modelId="{1CD9F2AD-A673-4091-8688-F25043DA20D3}" type="presParOf" srcId="{F942CE72-8963-4703-98E1-3BB0DAC7960C}" destId="{9E692AD2-E486-44CF-981E-68B1B6500C87}" srcOrd="0" destOrd="0" presId="urn:microsoft.com/office/officeart/2008/layout/AccentedPicture"/>
  </dgm:cxnLst>
  <dgm:bg/>
  <dgm:whole/>
  <dgm:extLst>
    <a:ext uri="http://schemas.microsoft.com/office/drawing/2008/diagram">
      <dsp:dataModelExt xmlns:dsp="http://schemas.microsoft.com/office/drawing/2008/diagram" relId="rId13"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87550EB3-C091-4BFA-9B33-A2835273053D}" type="doc">
      <dgm:prSet loTypeId="urn:microsoft.com/office/officeart/2005/8/layout/hList6" loCatId="list" qsTypeId="urn:microsoft.com/office/officeart/2005/8/quickstyle/simple1" qsCatId="simple" csTypeId="urn:microsoft.com/office/officeart/2005/8/colors/colorful4" csCatId="colorful"/>
      <dgm:spPr/>
      <dgm:t>
        <a:bodyPr/>
        <a:lstStyle/>
        <a:p>
          <a:endParaRPr lang="en-US"/>
        </a:p>
      </dgm:t>
    </dgm:pt>
    <dgm:pt modelId="{EB750694-2E15-4FDF-A4A7-ED88B43D445D}">
      <dgm:prSet custT="1"/>
      <dgm:spPr/>
      <dgm:t>
        <a:bodyPr/>
        <a:lstStyle/>
        <a:p>
          <a:pPr>
            <a:defRPr sz="2000"/>
          </a:pPr>
          <a:r>
            <a:t>Oslo, Norveç, otomobil kullanımını azaltma ve sürdürülebilir ulaşım modlarını teşvik etme çabalarıyla tanınıyor. İşte neler yapıldığına dair bazı örnekler:</a:t>
          </a:r>
        </a:p>
      </dgm:t>
    </dgm:pt>
    <dgm:pt modelId="{3A61023C-BDDE-4CE4-BED6-7DBCDB93C44B}" type="parTrans" cxnId="{82369A37-0E30-43F1-B5DA-365F67AEA8F2}">
      <dgm:prSet/>
      <dgm:spPr/>
      <dgm:t>
        <a:bodyPr/>
        <a:lstStyle/>
        <a:p>
          <a:endParaRPr lang="en-US" sz="1600"/>
        </a:p>
      </dgm:t>
    </dgm:pt>
    <dgm:pt modelId="{A885C1EE-3138-4097-9858-4999D9091391}" type="sibTrans" cxnId="{82369A37-0E30-43F1-B5DA-365F67AEA8F2}">
      <dgm:prSet/>
      <dgm:spPr/>
      <dgm:t>
        <a:bodyPr/>
        <a:lstStyle/>
        <a:p>
          <a:endParaRPr lang="en-US" sz="1600"/>
        </a:p>
      </dgm:t>
    </dgm:pt>
    <dgm:pt modelId="{415B8BBA-7832-4D69-9370-2D204AEB6A45}">
      <dgm:prSet custT="1"/>
      <dgm:spPr/>
      <dgm:t>
        <a:bodyPr/>
        <a:lstStyle/>
        <a:p>
          <a:pPr>
            <a:defRPr sz="1200"/>
          </a:pPr>
          <a:r>
            <a:rPr b="1"/>
            <a:t>Araçsız Şehir Merkezi: </a:t>
          </a:r>
          <a:r>
            <a:t>Oslo, 2019 yılına kadar araçsız bir şehir merkezi oluşturmayı planlıyor ve çoğu araba bölgeden yasaklandı ve yaya ve bisiklet altyapısı iyileştirildi.</a:t>
          </a:r>
        </a:p>
      </dgm:t>
    </dgm:pt>
    <dgm:pt modelId="{87BB4A73-8E3E-4ED0-8F19-E98E1A868CAA}" type="parTrans" cxnId="{5D618627-A30E-4371-8864-A3421D113725}">
      <dgm:prSet/>
      <dgm:spPr/>
      <dgm:t>
        <a:bodyPr/>
        <a:lstStyle/>
        <a:p>
          <a:endParaRPr lang="en-US" sz="1600"/>
        </a:p>
      </dgm:t>
    </dgm:pt>
    <dgm:pt modelId="{9B58DAE6-1322-4270-AB91-0FE6A3C5AD1B}" type="sibTrans" cxnId="{5D618627-A30E-4371-8864-A3421D113725}">
      <dgm:prSet/>
      <dgm:spPr/>
      <dgm:t>
        <a:bodyPr/>
        <a:lstStyle/>
        <a:p>
          <a:endParaRPr lang="en-US" sz="1600"/>
        </a:p>
      </dgm:t>
    </dgm:pt>
    <dgm:pt modelId="{7D6EC1FC-2B7E-4584-9023-B9B7D6986F89}">
      <dgm:prSet custT="1"/>
      <dgm:spPr/>
      <dgm:t>
        <a:bodyPr/>
        <a:lstStyle/>
        <a:p>
          <a:pPr>
            <a:defRPr sz="1200"/>
          </a:pPr>
          <a:r>
            <a:rPr b="1"/>
            <a:t>Kapsamlı Bisiklet Altyapısı: </a:t>
          </a:r>
          <a:r>
            <a:t>Oslo, korunan bisiklet şeritleri ve bisiklet dostu kavşaklardan oluşan bir ağ da dahil olmak üzere 60 kilometreden fazla özel bisiklet şeridi ile kapsamlı bir bisiklet altyapısı geliştirmiştir.</a:t>
          </a:r>
        </a:p>
      </dgm:t>
    </dgm:pt>
    <dgm:pt modelId="{D9FFD0D4-8C31-4326-99C2-FDF28C1D8302}" type="parTrans" cxnId="{2BE06670-4BA3-4382-80D9-D97FD1BF9043}">
      <dgm:prSet/>
      <dgm:spPr/>
      <dgm:t>
        <a:bodyPr/>
        <a:lstStyle/>
        <a:p>
          <a:endParaRPr lang="en-US" sz="1600"/>
        </a:p>
      </dgm:t>
    </dgm:pt>
    <dgm:pt modelId="{99A3E43F-86EC-4CFB-902B-6FE7B54FF05E}" type="sibTrans" cxnId="{2BE06670-4BA3-4382-80D9-D97FD1BF9043}">
      <dgm:prSet/>
      <dgm:spPr/>
      <dgm:t>
        <a:bodyPr/>
        <a:lstStyle/>
        <a:p>
          <a:endParaRPr lang="en-US" sz="1600"/>
        </a:p>
      </dgm:t>
    </dgm:pt>
    <dgm:pt modelId="{E801910F-EEB1-4E98-B2B3-67B32CFBE0C1}">
      <dgm:prSet custT="1"/>
      <dgm:spPr/>
      <dgm:t>
        <a:bodyPr/>
        <a:lstStyle/>
        <a:p>
          <a:pPr>
            <a:defRPr sz="1200"/>
          </a:pPr>
          <a:r>
            <a:rPr b="1"/>
            <a:t>Tıkanıklık Fiyatlandırması: </a:t>
          </a:r>
          <a:r>
            <a:t>Oslo, sürücülerin yoğun saatlerde şehir merkezine girmeleri, trafik sıkışıklığını azaltmaları ve hava kalitesini iyileştirmeleri için bir ücret talep ettikleri bir tıkanıklık fiyatlandırma planı uyguladı.</a:t>
          </a:r>
        </a:p>
      </dgm:t>
    </dgm:pt>
    <dgm:pt modelId="{EB30310C-9E9D-45DC-9BDC-053615B435C1}" type="parTrans" cxnId="{CD7B4F64-B185-4D83-ABE1-C310BC34B93E}">
      <dgm:prSet/>
      <dgm:spPr/>
      <dgm:t>
        <a:bodyPr/>
        <a:lstStyle/>
        <a:p>
          <a:endParaRPr lang="en-US" sz="1600"/>
        </a:p>
      </dgm:t>
    </dgm:pt>
    <dgm:pt modelId="{16872AF7-A87F-4B10-9E8E-72E64D941945}" type="sibTrans" cxnId="{CD7B4F64-B185-4D83-ABE1-C310BC34B93E}">
      <dgm:prSet/>
      <dgm:spPr/>
      <dgm:t>
        <a:bodyPr/>
        <a:lstStyle/>
        <a:p>
          <a:endParaRPr lang="en-US" sz="1600"/>
        </a:p>
      </dgm:t>
    </dgm:pt>
    <dgm:pt modelId="{914ECF55-2C23-46C4-9300-414E1A9E3052}" type="pres">
      <dgm:prSet presAssocID="{87550EB3-C091-4BFA-9B33-A2835273053D}" presName="Name0" presStyleCnt="0">
        <dgm:presLayoutVars>
          <dgm:dir/>
          <dgm:resizeHandles val="exact"/>
        </dgm:presLayoutVars>
      </dgm:prSet>
      <dgm:spPr/>
    </dgm:pt>
    <dgm:pt modelId="{26BDA541-DC70-4E8D-ABA8-220FD3AC2B98}" type="pres">
      <dgm:prSet presAssocID="{EB750694-2E15-4FDF-A4A7-ED88B43D445D}" presName="node" presStyleLbl="node1" presStyleIdx="0" presStyleCnt="1">
        <dgm:presLayoutVars>
          <dgm:bulletEnabled val="1"/>
        </dgm:presLayoutVars>
      </dgm:prSet>
      <dgm:spPr/>
    </dgm:pt>
  </dgm:ptLst>
  <dgm:cxnLst>
    <dgm:cxn modelId="{688A2A22-FB29-490F-87A2-F5654B39077B}" type="presOf" srcId="{87550EB3-C091-4BFA-9B33-A2835273053D}" destId="{914ECF55-2C23-46C4-9300-414E1A9E3052}" srcOrd="0" destOrd="0" presId="urn:microsoft.com/office/officeart/2005/8/layout/hList6"/>
    <dgm:cxn modelId="{5D618627-A30E-4371-8864-A3421D113725}" srcId="{EB750694-2E15-4FDF-A4A7-ED88B43D445D}" destId="{415B8BBA-7832-4D69-9370-2D204AEB6A45}" srcOrd="0" destOrd="0" parTransId="{87BB4A73-8E3E-4ED0-8F19-E98E1A868CAA}" sibTransId="{9B58DAE6-1322-4270-AB91-0FE6A3C5AD1B}"/>
    <dgm:cxn modelId="{82369A37-0E30-43F1-B5DA-365F67AEA8F2}" srcId="{87550EB3-C091-4BFA-9B33-A2835273053D}" destId="{EB750694-2E15-4FDF-A4A7-ED88B43D445D}" srcOrd="0" destOrd="0" parTransId="{3A61023C-BDDE-4CE4-BED6-7DBCDB93C44B}" sibTransId="{A885C1EE-3138-4097-9858-4999D9091391}"/>
    <dgm:cxn modelId="{CD7B4F64-B185-4D83-ABE1-C310BC34B93E}" srcId="{EB750694-2E15-4FDF-A4A7-ED88B43D445D}" destId="{E801910F-EEB1-4E98-B2B3-67B32CFBE0C1}" srcOrd="2" destOrd="0" parTransId="{EB30310C-9E9D-45DC-9BDC-053615B435C1}" sibTransId="{16872AF7-A87F-4B10-9E8E-72E64D941945}"/>
    <dgm:cxn modelId="{29CF236A-6A76-4D2E-8716-6D198216AA7A}" type="presOf" srcId="{E801910F-EEB1-4E98-B2B3-67B32CFBE0C1}" destId="{26BDA541-DC70-4E8D-ABA8-220FD3AC2B98}" srcOrd="0" destOrd="3" presId="urn:microsoft.com/office/officeart/2005/8/layout/hList6"/>
    <dgm:cxn modelId="{2BE06670-4BA3-4382-80D9-D97FD1BF9043}" srcId="{EB750694-2E15-4FDF-A4A7-ED88B43D445D}" destId="{7D6EC1FC-2B7E-4584-9023-B9B7D6986F89}" srcOrd="1" destOrd="0" parTransId="{D9FFD0D4-8C31-4326-99C2-FDF28C1D8302}" sibTransId="{99A3E43F-86EC-4CFB-902B-6FE7B54FF05E}"/>
    <dgm:cxn modelId="{4E7264B5-36DE-44C5-8E77-C2EB82E786C1}" type="presOf" srcId="{415B8BBA-7832-4D69-9370-2D204AEB6A45}" destId="{26BDA541-DC70-4E8D-ABA8-220FD3AC2B98}" srcOrd="0" destOrd="1" presId="urn:microsoft.com/office/officeart/2005/8/layout/hList6"/>
    <dgm:cxn modelId="{58712DC8-5926-46F0-8470-08929B6C8922}" type="presOf" srcId="{EB750694-2E15-4FDF-A4A7-ED88B43D445D}" destId="{26BDA541-DC70-4E8D-ABA8-220FD3AC2B98}" srcOrd="0" destOrd="0" presId="urn:microsoft.com/office/officeart/2005/8/layout/hList6"/>
    <dgm:cxn modelId="{084A4ADB-4426-465D-926E-1750CD8EA412}" type="presOf" srcId="{7D6EC1FC-2B7E-4584-9023-B9B7D6986F89}" destId="{26BDA541-DC70-4E8D-ABA8-220FD3AC2B98}" srcOrd="0" destOrd="2" presId="urn:microsoft.com/office/officeart/2005/8/layout/hList6"/>
    <dgm:cxn modelId="{B6F5025C-3926-41E2-9FCB-6CD965C21C6D}" type="presParOf" srcId="{914ECF55-2C23-46C4-9300-414E1A9E3052}" destId="{26BDA541-DC70-4E8D-ABA8-220FD3AC2B98}" srcOrd="0" destOrd="0" presId="urn:microsoft.com/office/officeart/2005/8/layout/hList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1B1D425E-C7E4-4339-825A-6FB5064455B0}" type="doc">
      <dgm:prSet loTypeId="urn:microsoft.com/office/officeart/2005/8/layout/vList6" loCatId="list" qsTypeId="urn:microsoft.com/office/officeart/2005/8/quickstyle/simple1" qsCatId="simple" csTypeId="urn:microsoft.com/office/officeart/2005/8/colors/colorful4" csCatId="colorful"/>
      <dgm:spPr/>
      <dgm:t>
        <a:bodyPr/>
        <a:lstStyle/>
        <a:p>
          <a:endParaRPr lang="en-US"/>
        </a:p>
      </dgm:t>
    </dgm:pt>
    <dgm:pt modelId="{336A87F0-5383-4BB5-BF71-451E60F8CAEE}">
      <dgm:prSet custT="1"/>
      <dgm:spPr/>
      <dgm:t>
        <a:bodyPr/>
        <a:lstStyle/>
        <a:p>
          <a:pPr>
            <a:defRPr sz="1000"/>
          </a:pPr>
          <a:r>
            <a:rPr dirty="0" err="1"/>
            <a:t>Curitiba'nın</a:t>
          </a:r>
          <a:r>
            <a:rPr dirty="0"/>
            <a:t> “Master Plan” </a:t>
          </a:r>
          <a:r>
            <a:rPr dirty="0" err="1"/>
            <a:t>olarak</a:t>
          </a:r>
          <a:r>
            <a:rPr dirty="0"/>
            <a:t> </a:t>
          </a:r>
          <a:r>
            <a:rPr dirty="0" err="1"/>
            <a:t>bilinen</a:t>
          </a:r>
          <a:r>
            <a:rPr dirty="0"/>
            <a:t> </a:t>
          </a:r>
          <a:r>
            <a:rPr dirty="0" err="1"/>
            <a:t>mobilite</a:t>
          </a:r>
          <a:r>
            <a:rPr dirty="0"/>
            <a:t> </a:t>
          </a:r>
          <a:r>
            <a:rPr dirty="0" err="1"/>
            <a:t>planı</a:t>
          </a:r>
          <a:r>
            <a:rPr dirty="0"/>
            <a:t> ilk </a:t>
          </a:r>
          <a:r>
            <a:rPr dirty="0" err="1"/>
            <a:t>olarak</a:t>
          </a:r>
          <a:r>
            <a:rPr dirty="0"/>
            <a:t> 1970 '</a:t>
          </a:r>
          <a:r>
            <a:rPr dirty="0" err="1"/>
            <a:t>lerde</a:t>
          </a:r>
          <a:r>
            <a:rPr dirty="0"/>
            <a:t> </a:t>
          </a:r>
          <a:r>
            <a:rPr dirty="0" err="1"/>
            <a:t>uygulandı</a:t>
          </a:r>
          <a:r>
            <a:rPr dirty="0"/>
            <a:t> </a:t>
          </a:r>
          <a:r>
            <a:rPr dirty="0" err="1"/>
            <a:t>ve</a:t>
          </a:r>
          <a:r>
            <a:rPr dirty="0"/>
            <a:t> o </a:t>
          </a:r>
          <a:r>
            <a:rPr dirty="0" err="1"/>
            <a:t>zamandan</a:t>
          </a:r>
          <a:r>
            <a:rPr dirty="0"/>
            <a:t> </a:t>
          </a:r>
          <a:r>
            <a:rPr dirty="0" err="1"/>
            <a:t>beri</a:t>
          </a:r>
          <a:r>
            <a:rPr dirty="0"/>
            <a:t> </a:t>
          </a:r>
          <a:r>
            <a:rPr dirty="0" err="1"/>
            <a:t>otobüs</a:t>
          </a:r>
          <a:r>
            <a:rPr dirty="0"/>
            <a:t> </a:t>
          </a:r>
          <a:r>
            <a:rPr dirty="0" err="1"/>
            <a:t>hızlı</a:t>
          </a:r>
          <a:r>
            <a:rPr dirty="0"/>
            <a:t> transit </a:t>
          </a:r>
          <a:r>
            <a:rPr dirty="0" err="1"/>
            <a:t>ve</a:t>
          </a:r>
          <a:r>
            <a:rPr dirty="0"/>
            <a:t> </a:t>
          </a:r>
          <a:r>
            <a:rPr dirty="0" err="1"/>
            <a:t>bisiklet</a:t>
          </a:r>
          <a:r>
            <a:rPr dirty="0"/>
            <a:t> </a:t>
          </a:r>
          <a:r>
            <a:rPr dirty="0" err="1"/>
            <a:t>paylaşım</a:t>
          </a:r>
          <a:r>
            <a:rPr dirty="0"/>
            <a:t> </a:t>
          </a:r>
          <a:r>
            <a:rPr dirty="0" err="1"/>
            <a:t>programları</a:t>
          </a:r>
          <a:r>
            <a:rPr dirty="0"/>
            <a:t> </a:t>
          </a:r>
          <a:r>
            <a:rPr dirty="0" err="1"/>
            <a:t>gibi</a:t>
          </a:r>
          <a:r>
            <a:rPr dirty="0"/>
            <a:t> </a:t>
          </a:r>
          <a:r>
            <a:rPr dirty="0" err="1"/>
            <a:t>girişimleri</a:t>
          </a:r>
          <a:r>
            <a:rPr dirty="0"/>
            <a:t> </a:t>
          </a:r>
          <a:r>
            <a:rPr dirty="0" err="1"/>
            <a:t>içerecek</a:t>
          </a:r>
          <a:r>
            <a:rPr dirty="0"/>
            <a:t> </a:t>
          </a:r>
          <a:r>
            <a:rPr dirty="0" err="1"/>
            <a:t>şekilde</a:t>
          </a:r>
          <a:r>
            <a:rPr dirty="0"/>
            <a:t> </a:t>
          </a:r>
          <a:r>
            <a:rPr dirty="0" err="1"/>
            <a:t>güncellendi</a:t>
          </a:r>
          <a:r>
            <a:rPr dirty="0"/>
            <a:t>. Plan </a:t>
          </a:r>
          <a:r>
            <a:rPr dirty="0" err="1"/>
            <a:t>tıkanıklığı</a:t>
          </a:r>
          <a:r>
            <a:rPr dirty="0"/>
            <a:t> </a:t>
          </a:r>
          <a:r>
            <a:rPr dirty="0" err="1"/>
            <a:t>azaltmaya</a:t>
          </a:r>
          <a:r>
            <a:rPr dirty="0"/>
            <a:t>, </a:t>
          </a:r>
          <a:r>
            <a:rPr dirty="0" err="1"/>
            <a:t>hava</a:t>
          </a:r>
          <a:r>
            <a:rPr dirty="0"/>
            <a:t> </a:t>
          </a:r>
          <a:r>
            <a:rPr dirty="0" err="1"/>
            <a:t>kalitesini</a:t>
          </a:r>
          <a:r>
            <a:rPr dirty="0"/>
            <a:t> </a:t>
          </a:r>
          <a:r>
            <a:rPr dirty="0" err="1"/>
            <a:t>iyileştirmeye</a:t>
          </a:r>
          <a:r>
            <a:rPr dirty="0"/>
            <a:t> </a:t>
          </a:r>
          <a:r>
            <a:rPr dirty="0" err="1"/>
            <a:t>ve</a:t>
          </a:r>
          <a:r>
            <a:rPr dirty="0"/>
            <a:t> </a:t>
          </a:r>
          <a:r>
            <a:rPr dirty="0" err="1"/>
            <a:t>sürdürülebilir</a:t>
          </a:r>
          <a:r>
            <a:rPr dirty="0"/>
            <a:t> </a:t>
          </a:r>
          <a:r>
            <a:rPr dirty="0" err="1"/>
            <a:t>ulaşım</a:t>
          </a:r>
          <a:r>
            <a:rPr dirty="0"/>
            <a:t> </a:t>
          </a:r>
          <a:r>
            <a:rPr dirty="0" err="1"/>
            <a:t>seçeneklerini</a:t>
          </a:r>
          <a:r>
            <a:rPr dirty="0"/>
            <a:t> </a:t>
          </a:r>
          <a:r>
            <a:rPr dirty="0" err="1"/>
            <a:t>teşvik</a:t>
          </a:r>
          <a:r>
            <a:rPr dirty="0"/>
            <a:t> </a:t>
          </a:r>
          <a:r>
            <a:rPr dirty="0" err="1"/>
            <a:t>etmeye</a:t>
          </a:r>
          <a:r>
            <a:rPr dirty="0"/>
            <a:t> </a:t>
          </a:r>
          <a:r>
            <a:rPr dirty="0" err="1"/>
            <a:t>yardımcı</a:t>
          </a:r>
          <a:r>
            <a:rPr dirty="0"/>
            <a:t> </a:t>
          </a:r>
          <a:r>
            <a:rPr dirty="0" err="1"/>
            <a:t>oldu</a:t>
          </a:r>
          <a:r>
            <a:rPr dirty="0"/>
            <a:t>. Ana </a:t>
          </a:r>
          <a:r>
            <a:rPr dirty="0" err="1"/>
            <a:t>Planın</a:t>
          </a:r>
          <a:r>
            <a:rPr dirty="0"/>
            <a:t> </a:t>
          </a:r>
          <a:r>
            <a:rPr dirty="0" err="1"/>
            <a:t>önemli</a:t>
          </a:r>
          <a:r>
            <a:rPr dirty="0"/>
            <a:t> </a:t>
          </a:r>
          <a:r>
            <a:rPr dirty="0" err="1"/>
            <a:t>girişimlerinden</a:t>
          </a:r>
          <a:r>
            <a:rPr dirty="0"/>
            <a:t> </a:t>
          </a:r>
          <a:r>
            <a:rPr dirty="0" err="1"/>
            <a:t>bazıları</a:t>
          </a:r>
          <a:r>
            <a:rPr dirty="0"/>
            <a:t> </a:t>
          </a:r>
          <a:r>
            <a:rPr dirty="0" err="1"/>
            <a:t>şunlardır</a:t>
          </a:r>
          <a:r>
            <a:rPr dirty="0"/>
            <a:t>:</a:t>
          </a:r>
        </a:p>
      </dgm:t>
    </dgm:pt>
    <dgm:pt modelId="{BB75E724-E89E-42B9-AFFF-4F3F0030DC36}" type="parTrans" cxnId="{12A21574-DB2C-434C-9695-45AC5CEF278D}">
      <dgm:prSet/>
      <dgm:spPr/>
      <dgm:t>
        <a:bodyPr/>
        <a:lstStyle/>
        <a:p>
          <a:endParaRPr lang="en-US"/>
        </a:p>
      </dgm:t>
    </dgm:pt>
    <dgm:pt modelId="{11F93C8D-1F6B-4D80-B3C5-A71AE3FA7204}" type="sibTrans" cxnId="{12A21574-DB2C-434C-9695-45AC5CEF278D}">
      <dgm:prSet/>
      <dgm:spPr/>
      <dgm:t>
        <a:bodyPr/>
        <a:lstStyle/>
        <a:p>
          <a:endParaRPr lang="en-US"/>
        </a:p>
      </dgm:t>
    </dgm:pt>
    <dgm:pt modelId="{1253AD6D-B3F2-4390-B5C7-703788B73B65}">
      <dgm:prSet custT="1"/>
      <dgm:spPr/>
      <dgm:t>
        <a:bodyPr/>
        <a:lstStyle/>
        <a:p>
          <a:pPr>
            <a:defRPr sz="800"/>
          </a:pPr>
          <a:r>
            <a:rPr b="1" dirty="0" err="1"/>
            <a:t>Entegre</a:t>
          </a:r>
          <a:r>
            <a:rPr b="1" dirty="0"/>
            <a:t> </a:t>
          </a:r>
          <a:r>
            <a:rPr b="1" dirty="0" err="1"/>
            <a:t>Otobüs</a:t>
          </a:r>
          <a:r>
            <a:rPr b="1" dirty="0"/>
            <a:t> </a:t>
          </a:r>
          <a:r>
            <a:rPr b="1" dirty="0" err="1"/>
            <a:t>Hızlı</a:t>
          </a:r>
          <a:r>
            <a:rPr b="1" dirty="0"/>
            <a:t> </a:t>
          </a:r>
          <a:r>
            <a:rPr b="1" dirty="0" err="1"/>
            <a:t>Geçiş</a:t>
          </a:r>
          <a:r>
            <a:rPr b="1" dirty="0"/>
            <a:t> (BRT) </a:t>
          </a:r>
          <a:r>
            <a:rPr b="1" dirty="0" err="1"/>
            <a:t>Sistemi</a:t>
          </a:r>
          <a:r>
            <a:rPr dirty="0"/>
            <a:t>: </a:t>
          </a:r>
          <a:r>
            <a:rPr dirty="0" err="1"/>
            <a:t>Curitiba'nın</a:t>
          </a:r>
          <a:r>
            <a:rPr dirty="0"/>
            <a:t> Rede </a:t>
          </a:r>
          <a:r>
            <a:rPr dirty="0" err="1"/>
            <a:t>Integrada</a:t>
          </a:r>
          <a:r>
            <a:rPr dirty="0"/>
            <a:t> de </a:t>
          </a:r>
          <a:r>
            <a:rPr dirty="0" err="1"/>
            <a:t>Transporte</a:t>
          </a:r>
          <a:r>
            <a:rPr dirty="0"/>
            <a:t> (RIT) </a:t>
          </a:r>
          <a:r>
            <a:rPr dirty="0" err="1"/>
            <a:t>olarak</a:t>
          </a:r>
          <a:r>
            <a:rPr dirty="0"/>
            <a:t> </a:t>
          </a:r>
          <a:r>
            <a:rPr dirty="0" err="1"/>
            <a:t>bilinen</a:t>
          </a:r>
          <a:r>
            <a:rPr dirty="0"/>
            <a:t> BRT </a:t>
          </a:r>
          <a:r>
            <a:rPr dirty="0" err="1"/>
            <a:t>sistemi</a:t>
          </a:r>
          <a:r>
            <a:rPr dirty="0"/>
            <a:t>, </a:t>
          </a:r>
          <a:r>
            <a:rPr dirty="0" err="1"/>
            <a:t>dünyanın</a:t>
          </a:r>
          <a:r>
            <a:rPr dirty="0"/>
            <a:t> </a:t>
          </a:r>
          <a:r>
            <a:rPr dirty="0" err="1"/>
            <a:t>en</a:t>
          </a:r>
          <a:r>
            <a:rPr dirty="0"/>
            <a:t> </a:t>
          </a:r>
          <a:r>
            <a:rPr dirty="0" err="1"/>
            <a:t>büyük</a:t>
          </a:r>
          <a:r>
            <a:rPr dirty="0"/>
            <a:t> </a:t>
          </a:r>
          <a:r>
            <a:rPr dirty="0" err="1"/>
            <a:t>ve</a:t>
          </a:r>
          <a:r>
            <a:rPr dirty="0"/>
            <a:t> </a:t>
          </a:r>
          <a:r>
            <a:rPr dirty="0" err="1"/>
            <a:t>en</a:t>
          </a:r>
          <a:r>
            <a:rPr dirty="0"/>
            <a:t> </a:t>
          </a:r>
          <a:r>
            <a:rPr dirty="0" err="1"/>
            <a:t>verimli</a:t>
          </a:r>
          <a:r>
            <a:rPr dirty="0"/>
            <a:t> </a:t>
          </a:r>
          <a:r>
            <a:rPr dirty="0" err="1"/>
            <a:t>sistemlerinden</a:t>
          </a:r>
          <a:r>
            <a:rPr dirty="0"/>
            <a:t> </a:t>
          </a:r>
          <a:r>
            <a:rPr dirty="0" err="1"/>
            <a:t>biridir</a:t>
          </a:r>
          <a:r>
            <a:rPr dirty="0"/>
            <a:t>. Özel </a:t>
          </a:r>
          <a:r>
            <a:rPr dirty="0" err="1"/>
            <a:t>otobüs</a:t>
          </a:r>
          <a:r>
            <a:rPr dirty="0"/>
            <a:t> </a:t>
          </a:r>
          <a:r>
            <a:rPr dirty="0" err="1"/>
            <a:t>şeritleri</a:t>
          </a:r>
          <a:r>
            <a:rPr dirty="0"/>
            <a:t>, </a:t>
          </a:r>
          <a:r>
            <a:rPr dirty="0" err="1"/>
            <a:t>ön</a:t>
          </a:r>
          <a:r>
            <a:rPr dirty="0"/>
            <a:t> </a:t>
          </a:r>
          <a:r>
            <a:rPr dirty="0" err="1"/>
            <a:t>ödemeli</a:t>
          </a:r>
          <a:r>
            <a:rPr dirty="0"/>
            <a:t> </a:t>
          </a:r>
          <a:r>
            <a:rPr dirty="0" err="1"/>
            <a:t>biniş</a:t>
          </a:r>
          <a:r>
            <a:rPr dirty="0"/>
            <a:t> </a:t>
          </a:r>
          <a:r>
            <a:rPr dirty="0" err="1"/>
            <a:t>ve</a:t>
          </a:r>
          <a:r>
            <a:rPr dirty="0"/>
            <a:t> </a:t>
          </a:r>
          <a:r>
            <a:rPr dirty="0" err="1"/>
            <a:t>otobüs</a:t>
          </a:r>
          <a:r>
            <a:rPr dirty="0"/>
            <a:t> </a:t>
          </a:r>
          <a:r>
            <a:rPr dirty="0" err="1"/>
            <a:t>katlarıyla</a:t>
          </a:r>
          <a:r>
            <a:rPr dirty="0"/>
            <a:t> </a:t>
          </a:r>
          <a:r>
            <a:rPr dirty="0" err="1"/>
            <a:t>aynı</a:t>
          </a:r>
          <a:r>
            <a:rPr dirty="0"/>
            <a:t> </a:t>
          </a:r>
          <a:r>
            <a:rPr dirty="0" err="1"/>
            <a:t>seviyede</a:t>
          </a:r>
          <a:r>
            <a:rPr dirty="0"/>
            <a:t> </a:t>
          </a:r>
          <a:r>
            <a:rPr dirty="0" err="1"/>
            <a:t>olan</a:t>
          </a:r>
          <a:r>
            <a:rPr dirty="0"/>
            <a:t> </a:t>
          </a:r>
          <a:r>
            <a:rPr dirty="0" err="1"/>
            <a:t>ve</a:t>
          </a:r>
          <a:r>
            <a:rPr dirty="0"/>
            <a:t> </a:t>
          </a:r>
          <a:r>
            <a:rPr dirty="0" err="1"/>
            <a:t>hızlı</a:t>
          </a:r>
          <a:r>
            <a:rPr dirty="0"/>
            <a:t> </a:t>
          </a:r>
          <a:r>
            <a:rPr dirty="0" err="1"/>
            <a:t>ve</a:t>
          </a:r>
          <a:r>
            <a:rPr dirty="0"/>
            <a:t> </a:t>
          </a:r>
          <a:r>
            <a:rPr dirty="0" err="1"/>
            <a:t>kolay</a:t>
          </a:r>
          <a:r>
            <a:rPr dirty="0"/>
            <a:t> </a:t>
          </a:r>
          <a:r>
            <a:rPr dirty="0" err="1"/>
            <a:t>biniş</a:t>
          </a:r>
          <a:r>
            <a:rPr dirty="0"/>
            <a:t> </a:t>
          </a:r>
          <a:r>
            <a:rPr dirty="0" err="1"/>
            <a:t>sağlayan</a:t>
          </a:r>
          <a:r>
            <a:rPr dirty="0"/>
            <a:t> </a:t>
          </a:r>
          <a:r>
            <a:rPr dirty="0" err="1"/>
            <a:t>istasyon</a:t>
          </a:r>
          <a:r>
            <a:rPr dirty="0"/>
            <a:t> </a:t>
          </a:r>
          <a:r>
            <a:rPr dirty="0" err="1"/>
            <a:t>platformlarına</a:t>
          </a:r>
          <a:r>
            <a:rPr dirty="0"/>
            <a:t> </a:t>
          </a:r>
          <a:r>
            <a:rPr dirty="0" err="1"/>
            <a:t>sahiptir</a:t>
          </a:r>
          <a:r>
            <a:rPr dirty="0"/>
            <a:t>.</a:t>
          </a:r>
        </a:p>
      </dgm:t>
    </dgm:pt>
    <dgm:pt modelId="{EE809E6A-D479-40D7-B50D-C48EA06325D4}" type="parTrans" cxnId="{50D2F665-B213-4AF0-BE5F-07FA8E3D9FF5}">
      <dgm:prSet/>
      <dgm:spPr/>
      <dgm:t>
        <a:bodyPr/>
        <a:lstStyle/>
        <a:p>
          <a:endParaRPr lang="en-US"/>
        </a:p>
      </dgm:t>
    </dgm:pt>
    <dgm:pt modelId="{2DF5881F-7F51-4850-9A4B-A9CF205CD45A}" type="sibTrans" cxnId="{50D2F665-B213-4AF0-BE5F-07FA8E3D9FF5}">
      <dgm:prSet/>
      <dgm:spPr/>
      <dgm:t>
        <a:bodyPr/>
        <a:lstStyle/>
        <a:p>
          <a:endParaRPr lang="en-US"/>
        </a:p>
      </dgm:t>
    </dgm:pt>
    <dgm:pt modelId="{77DC1F83-3A28-4792-998F-9CA04AA152F4}">
      <dgm:prSet custT="1"/>
      <dgm:spPr/>
      <dgm:t>
        <a:bodyPr/>
        <a:lstStyle/>
        <a:p>
          <a:pPr>
            <a:defRPr sz="800"/>
          </a:pPr>
          <a:r>
            <a:t>Şehir merkezinde sadece yaya bölgelerinin oluşturulması ve bir ulaşım şekli olarak yürümenin teşvik edilmesi</a:t>
          </a:r>
        </a:p>
      </dgm:t>
    </dgm:pt>
    <dgm:pt modelId="{00BBB1AA-E105-47C1-A97F-6C3B76F2FD74}" type="parTrans" cxnId="{948E4568-091B-4E99-8893-C2B62386B0CE}">
      <dgm:prSet/>
      <dgm:spPr/>
      <dgm:t>
        <a:bodyPr/>
        <a:lstStyle/>
        <a:p>
          <a:endParaRPr lang="en-US"/>
        </a:p>
      </dgm:t>
    </dgm:pt>
    <dgm:pt modelId="{0E0CCB2D-645A-4F8F-BC72-1044F5ED14FE}" type="sibTrans" cxnId="{948E4568-091B-4E99-8893-C2B62386B0CE}">
      <dgm:prSet/>
      <dgm:spPr/>
      <dgm:t>
        <a:bodyPr/>
        <a:lstStyle/>
        <a:p>
          <a:endParaRPr lang="en-US"/>
        </a:p>
      </dgm:t>
    </dgm:pt>
    <dgm:pt modelId="{0CB1D699-65E8-4FA6-ADE0-964A298D3F74}">
      <dgm:prSet custT="1"/>
      <dgm:spPr/>
      <dgm:t>
        <a:bodyPr/>
        <a:lstStyle/>
        <a:p>
          <a:pPr>
            <a:defRPr sz="800"/>
          </a:pPr>
          <a:r>
            <a:t>Bisiklet paylaşım programları ve bisiklet şeritlerinin oluşturulması yoluyla bisiklet kullanımını teşvik etmek</a:t>
          </a:r>
        </a:p>
      </dgm:t>
    </dgm:pt>
    <dgm:pt modelId="{8F53F7E8-4CF4-4D51-9A4D-1B33CD806C77}" type="parTrans" cxnId="{A87E449F-1F5A-4321-8746-5300830487DE}">
      <dgm:prSet/>
      <dgm:spPr/>
      <dgm:t>
        <a:bodyPr/>
        <a:lstStyle/>
        <a:p>
          <a:endParaRPr lang="en-US"/>
        </a:p>
      </dgm:t>
    </dgm:pt>
    <dgm:pt modelId="{AB0AFC2E-6B82-4CFF-832A-4B14470B9305}" type="sibTrans" cxnId="{A87E449F-1F5A-4321-8746-5300830487DE}">
      <dgm:prSet/>
      <dgm:spPr/>
      <dgm:t>
        <a:bodyPr/>
        <a:lstStyle/>
        <a:p>
          <a:endParaRPr lang="en-US"/>
        </a:p>
      </dgm:t>
    </dgm:pt>
    <dgm:pt modelId="{062C5982-9DEE-4A82-8C70-B5C5FFEBBC50}">
      <dgm:prSet custT="1"/>
      <dgm:spPr/>
      <dgm:t>
        <a:bodyPr/>
        <a:lstStyle/>
        <a:p>
          <a:pPr>
            <a:defRPr sz="800"/>
          </a:pPr>
          <a:r>
            <a:t>Geliştiricilerin toplu taşıma istasyonlarının yakınında inşa etmeleri için teşvikler sağlamak</a:t>
          </a:r>
        </a:p>
      </dgm:t>
    </dgm:pt>
    <dgm:pt modelId="{04B72EC8-1577-4F9F-9523-FF87E54E4F3A}" type="parTrans" cxnId="{18D443D4-DA3C-4AA7-8A57-99945FA5A2FD}">
      <dgm:prSet/>
      <dgm:spPr/>
      <dgm:t>
        <a:bodyPr/>
        <a:lstStyle/>
        <a:p>
          <a:endParaRPr lang="en-US"/>
        </a:p>
      </dgm:t>
    </dgm:pt>
    <dgm:pt modelId="{9ED0959E-20DC-4FE7-8717-3365924B2DC5}" type="sibTrans" cxnId="{18D443D4-DA3C-4AA7-8A57-99945FA5A2FD}">
      <dgm:prSet/>
      <dgm:spPr/>
      <dgm:t>
        <a:bodyPr/>
        <a:lstStyle/>
        <a:p>
          <a:endParaRPr lang="en-US"/>
        </a:p>
      </dgm:t>
    </dgm:pt>
    <dgm:pt modelId="{E5A8780D-2D37-40AC-A359-6A409CD956CF}">
      <dgm:prSet custT="1"/>
      <dgm:spPr/>
      <dgm:t>
        <a:bodyPr/>
        <a:lstStyle/>
        <a:p>
          <a:pPr>
            <a:defRPr sz="800"/>
          </a:pPr>
          <a:r>
            <a:t>Doğal gaz gibi araçlar için alternatif yakıtların kullanımını teşvik etmek</a:t>
          </a:r>
        </a:p>
      </dgm:t>
    </dgm:pt>
    <dgm:pt modelId="{FAC9DA37-33E6-4DAC-B6A5-11F1BAB2EF76}" type="parTrans" cxnId="{514DA8D5-46D1-4D9D-A129-098BB67F5E1B}">
      <dgm:prSet/>
      <dgm:spPr/>
      <dgm:t>
        <a:bodyPr/>
        <a:lstStyle/>
        <a:p>
          <a:endParaRPr lang="en-US"/>
        </a:p>
      </dgm:t>
    </dgm:pt>
    <dgm:pt modelId="{C64DE75D-4057-4C17-8B95-54005E2E1145}" type="sibTrans" cxnId="{514DA8D5-46D1-4D9D-A129-098BB67F5E1B}">
      <dgm:prSet/>
      <dgm:spPr/>
      <dgm:t>
        <a:bodyPr/>
        <a:lstStyle/>
        <a:p>
          <a:endParaRPr lang="en-US"/>
        </a:p>
      </dgm:t>
    </dgm:pt>
    <dgm:pt modelId="{905FDEBC-10B0-489F-9233-D3B96F1ED8EC}">
      <dgm:prSet custT="1"/>
      <dgm:spPr/>
      <dgm:t>
        <a:bodyPr/>
        <a:lstStyle/>
        <a:p>
          <a:pPr>
            <a:defRPr sz="1800"/>
          </a:pPr>
          <a:r>
            <a:rPr dirty="0"/>
            <a:t>Bu </a:t>
          </a:r>
          <a:r>
            <a:rPr dirty="0" err="1"/>
            <a:t>önlemler</a:t>
          </a:r>
          <a:r>
            <a:rPr dirty="0"/>
            <a:t> </a:t>
          </a:r>
          <a:r>
            <a:rPr dirty="0" err="1"/>
            <a:t>Curitiba'yı</a:t>
          </a:r>
          <a:r>
            <a:rPr dirty="0"/>
            <a:t> </a:t>
          </a:r>
          <a:r>
            <a:rPr dirty="0" err="1"/>
            <a:t>sürdürülebilir</a:t>
          </a:r>
          <a:r>
            <a:rPr dirty="0"/>
            <a:t> </a:t>
          </a:r>
          <a:r>
            <a:rPr dirty="0" err="1"/>
            <a:t>kentsel</a:t>
          </a:r>
          <a:r>
            <a:rPr dirty="0"/>
            <a:t> </a:t>
          </a:r>
          <a:r>
            <a:rPr dirty="0" err="1"/>
            <a:t>planlama</a:t>
          </a:r>
          <a:r>
            <a:rPr dirty="0"/>
            <a:t> </a:t>
          </a:r>
          <a:r>
            <a:rPr dirty="0" err="1"/>
            <a:t>ve</a:t>
          </a:r>
          <a:r>
            <a:rPr dirty="0"/>
            <a:t> </a:t>
          </a:r>
          <a:r>
            <a:rPr dirty="0" err="1"/>
            <a:t>ulaşım</a:t>
          </a:r>
          <a:r>
            <a:rPr dirty="0"/>
            <a:t> </a:t>
          </a:r>
          <a:r>
            <a:rPr dirty="0" err="1"/>
            <a:t>için</a:t>
          </a:r>
          <a:r>
            <a:rPr dirty="0"/>
            <a:t> </a:t>
          </a:r>
          <a:r>
            <a:rPr dirty="0" err="1"/>
            <a:t>bir</a:t>
          </a:r>
          <a:r>
            <a:rPr dirty="0"/>
            <a:t> model </a:t>
          </a:r>
          <a:r>
            <a:rPr dirty="0" err="1"/>
            <a:t>haline</a:t>
          </a:r>
          <a:r>
            <a:rPr dirty="0"/>
            <a:t> </a:t>
          </a:r>
          <a:r>
            <a:rPr dirty="0" err="1"/>
            <a:t>getirmiştir</a:t>
          </a:r>
          <a:r>
            <a:rPr dirty="0"/>
            <a:t>.</a:t>
          </a:r>
        </a:p>
      </dgm:t>
    </dgm:pt>
    <dgm:pt modelId="{7C5C3767-7AD4-4FEF-9AE5-E1B81814014E}" type="parTrans" cxnId="{C59F451F-7E95-4AB1-AFBC-C04C729A47E7}">
      <dgm:prSet/>
      <dgm:spPr/>
      <dgm:t>
        <a:bodyPr/>
        <a:lstStyle/>
        <a:p>
          <a:endParaRPr lang="en-US"/>
        </a:p>
      </dgm:t>
    </dgm:pt>
    <dgm:pt modelId="{505706A4-8C44-462B-868E-FF0789B54EFD}" type="sibTrans" cxnId="{C59F451F-7E95-4AB1-AFBC-C04C729A47E7}">
      <dgm:prSet/>
      <dgm:spPr/>
      <dgm:t>
        <a:bodyPr/>
        <a:lstStyle/>
        <a:p>
          <a:endParaRPr lang="en-US"/>
        </a:p>
      </dgm:t>
    </dgm:pt>
    <dgm:pt modelId="{F64109F1-F905-4063-BDF1-121F2EE97923}" type="pres">
      <dgm:prSet presAssocID="{1B1D425E-C7E4-4339-825A-6FB5064455B0}" presName="Name0" presStyleCnt="0">
        <dgm:presLayoutVars>
          <dgm:dir/>
          <dgm:animLvl val="lvl"/>
          <dgm:resizeHandles/>
        </dgm:presLayoutVars>
      </dgm:prSet>
      <dgm:spPr/>
    </dgm:pt>
    <dgm:pt modelId="{ACD95F31-B173-49D7-85CA-8E8FFE1E26D2}" type="pres">
      <dgm:prSet presAssocID="{336A87F0-5383-4BB5-BF71-451E60F8CAEE}" presName="linNode" presStyleCnt="0"/>
      <dgm:spPr/>
    </dgm:pt>
    <dgm:pt modelId="{25D95E1D-7C74-41F8-832A-5D446C8DB04E}" type="pres">
      <dgm:prSet presAssocID="{336A87F0-5383-4BB5-BF71-451E60F8CAEE}" presName="parentShp" presStyleLbl="node1" presStyleIdx="0" presStyleCnt="2">
        <dgm:presLayoutVars>
          <dgm:bulletEnabled val="1"/>
        </dgm:presLayoutVars>
      </dgm:prSet>
      <dgm:spPr/>
    </dgm:pt>
    <dgm:pt modelId="{EFA5A429-2673-43DB-A52C-79E0623C6AAB}" type="pres">
      <dgm:prSet presAssocID="{336A87F0-5383-4BB5-BF71-451E60F8CAEE}" presName="childShp" presStyleLbl="bgAccFollowNode1" presStyleIdx="0" presStyleCnt="2">
        <dgm:presLayoutVars>
          <dgm:bulletEnabled val="1"/>
        </dgm:presLayoutVars>
      </dgm:prSet>
      <dgm:spPr/>
    </dgm:pt>
    <dgm:pt modelId="{BDABD6D9-D7B7-4267-BEB9-A42F23F87076}" type="pres">
      <dgm:prSet presAssocID="{11F93C8D-1F6B-4D80-B3C5-A71AE3FA7204}" presName="spacing" presStyleCnt="0"/>
      <dgm:spPr/>
    </dgm:pt>
    <dgm:pt modelId="{D9668780-E050-4676-8B95-BD418CDE0BAF}" type="pres">
      <dgm:prSet presAssocID="{905FDEBC-10B0-489F-9233-D3B96F1ED8EC}" presName="linNode" presStyleCnt="0"/>
      <dgm:spPr/>
    </dgm:pt>
    <dgm:pt modelId="{1CF4261D-786F-40CC-B2F2-0ED7FC4FDE98}" type="pres">
      <dgm:prSet presAssocID="{905FDEBC-10B0-489F-9233-D3B96F1ED8EC}" presName="parentShp" presStyleLbl="node1" presStyleIdx="1" presStyleCnt="2" custLinFactNeighborX="51058" custLinFactNeighborY="26">
        <dgm:presLayoutVars>
          <dgm:bulletEnabled val="1"/>
        </dgm:presLayoutVars>
      </dgm:prSet>
      <dgm:spPr/>
    </dgm:pt>
    <dgm:pt modelId="{DBEAEF16-C486-4B37-8B73-D1C2B13BAC57}" type="pres">
      <dgm:prSet presAssocID="{905FDEBC-10B0-489F-9233-D3B96F1ED8EC}" presName="childShp" presStyleLbl="bgAccFollowNode1" presStyleIdx="1" presStyleCnt="2" custLinFactNeighborX="-29541" custLinFactNeighborY="26">
        <dgm:presLayoutVars>
          <dgm:bulletEnabled val="1"/>
        </dgm:presLayoutVars>
      </dgm:prSet>
      <dgm:spPr/>
    </dgm:pt>
  </dgm:ptLst>
  <dgm:cxnLst>
    <dgm:cxn modelId="{2D63821A-E05F-454E-8C4C-4134AA0F2DAE}" type="presOf" srcId="{1B1D425E-C7E4-4339-825A-6FB5064455B0}" destId="{F64109F1-F905-4063-BDF1-121F2EE97923}" srcOrd="0" destOrd="0" presId="urn:microsoft.com/office/officeart/2005/8/layout/vList6"/>
    <dgm:cxn modelId="{C59F451F-7E95-4AB1-AFBC-C04C729A47E7}" srcId="{1B1D425E-C7E4-4339-825A-6FB5064455B0}" destId="{905FDEBC-10B0-489F-9233-D3B96F1ED8EC}" srcOrd="1" destOrd="0" parTransId="{7C5C3767-7AD4-4FEF-9AE5-E1B81814014E}" sibTransId="{505706A4-8C44-462B-868E-FF0789B54EFD}"/>
    <dgm:cxn modelId="{50D2F665-B213-4AF0-BE5F-07FA8E3D9FF5}" srcId="{336A87F0-5383-4BB5-BF71-451E60F8CAEE}" destId="{1253AD6D-B3F2-4390-B5C7-703788B73B65}" srcOrd="0" destOrd="0" parTransId="{EE809E6A-D479-40D7-B50D-C48EA06325D4}" sibTransId="{2DF5881F-7F51-4850-9A4B-A9CF205CD45A}"/>
    <dgm:cxn modelId="{948E4568-091B-4E99-8893-C2B62386B0CE}" srcId="{336A87F0-5383-4BB5-BF71-451E60F8CAEE}" destId="{77DC1F83-3A28-4792-998F-9CA04AA152F4}" srcOrd="1" destOrd="0" parTransId="{00BBB1AA-E105-47C1-A97F-6C3B76F2FD74}" sibTransId="{0E0CCB2D-645A-4F8F-BC72-1044F5ED14FE}"/>
    <dgm:cxn modelId="{BBC8EE6E-8427-41DE-8EB4-FE9934B2262C}" type="presOf" srcId="{0CB1D699-65E8-4FA6-ADE0-964A298D3F74}" destId="{EFA5A429-2673-43DB-A52C-79E0623C6AAB}" srcOrd="0" destOrd="2" presId="urn:microsoft.com/office/officeart/2005/8/layout/vList6"/>
    <dgm:cxn modelId="{6748FC53-9C2E-4D85-9CAC-153672A31ACC}" type="presOf" srcId="{E5A8780D-2D37-40AC-A359-6A409CD956CF}" destId="{EFA5A429-2673-43DB-A52C-79E0623C6AAB}" srcOrd="0" destOrd="4" presId="urn:microsoft.com/office/officeart/2005/8/layout/vList6"/>
    <dgm:cxn modelId="{12A21574-DB2C-434C-9695-45AC5CEF278D}" srcId="{1B1D425E-C7E4-4339-825A-6FB5064455B0}" destId="{336A87F0-5383-4BB5-BF71-451E60F8CAEE}" srcOrd="0" destOrd="0" parTransId="{BB75E724-E89E-42B9-AFFF-4F3F0030DC36}" sibTransId="{11F93C8D-1F6B-4D80-B3C5-A71AE3FA7204}"/>
    <dgm:cxn modelId="{C5C3C756-4B0D-47DA-BE12-46D1D556D426}" type="presOf" srcId="{905FDEBC-10B0-489F-9233-D3B96F1ED8EC}" destId="{1CF4261D-786F-40CC-B2F2-0ED7FC4FDE98}" srcOrd="0" destOrd="0" presId="urn:microsoft.com/office/officeart/2005/8/layout/vList6"/>
    <dgm:cxn modelId="{9E9CCA81-B9A7-41EC-BBAC-10FBB153D121}" type="presOf" srcId="{062C5982-9DEE-4A82-8C70-B5C5FFEBBC50}" destId="{EFA5A429-2673-43DB-A52C-79E0623C6AAB}" srcOrd="0" destOrd="3" presId="urn:microsoft.com/office/officeart/2005/8/layout/vList6"/>
    <dgm:cxn modelId="{55F88F8E-1B72-4956-9B73-FF161103184E}" type="presOf" srcId="{1253AD6D-B3F2-4390-B5C7-703788B73B65}" destId="{EFA5A429-2673-43DB-A52C-79E0623C6AAB}" srcOrd="0" destOrd="0" presId="urn:microsoft.com/office/officeart/2005/8/layout/vList6"/>
    <dgm:cxn modelId="{A87E449F-1F5A-4321-8746-5300830487DE}" srcId="{336A87F0-5383-4BB5-BF71-451E60F8CAEE}" destId="{0CB1D699-65E8-4FA6-ADE0-964A298D3F74}" srcOrd="2" destOrd="0" parTransId="{8F53F7E8-4CF4-4D51-9A4D-1B33CD806C77}" sibTransId="{AB0AFC2E-6B82-4CFF-832A-4B14470B9305}"/>
    <dgm:cxn modelId="{FD77C7B0-B5E3-49C5-B60C-13C440AFF671}" type="presOf" srcId="{77DC1F83-3A28-4792-998F-9CA04AA152F4}" destId="{EFA5A429-2673-43DB-A52C-79E0623C6AAB}" srcOrd="0" destOrd="1" presId="urn:microsoft.com/office/officeart/2005/8/layout/vList6"/>
    <dgm:cxn modelId="{18D443D4-DA3C-4AA7-8A57-99945FA5A2FD}" srcId="{336A87F0-5383-4BB5-BF71-451E60F8CAEE}" destId="{062C5982-9DEE-4A82-8C70-B5C5FFEBBC50}" srcOrd="3" destOrd="0" parTransId="{04B72EC8-1577-4F9F-9523-FF87E54E4F3A}" sibTransId="{9ED0959E-20DC-4FE7-8717-3365924B2DC5}"/>
    <dgm:cxn modelId="{514DA8D5-46D1-4D9D-A129-098BB67F5E1B}" srcId="{336A87F0-5383-4BB5-BF71-451E60F8CAEE}" destId="{E5A8780D-2D37-40AC-A359-6A409CD956CF}" srcOrd="4" destOrd="0" parTransId="{FAC9DA37-33E6-4DAC-B6A5-11F1BAB2EF76}" sibTransId="{C64DE75D-4057-4C17-8B95-54005E2E1145}"/>
    <dgm:cxn modelId="{047E13E4-9E6B-4881-8CE6-98D89871842A}" type="presOf" srcId="{336A87F0-5383-4BB5-BF71-451E60F8CAEE}" destId="{25D95E1D-7C74-41F8-832A-5D446C8DB04E}" srcOrd="0" destOrd="0" presId="urn:microsoft.com/office/officeart/2005/8/layout/vList6"/>
    <dgm:cxn modelId="{3D149370-D7C9-4E8D-B9C9-4289450D363E}" type="presParOf" srcId="{F64109F1-F905-4063-BDF1-121F2EE97923}" destId="{ACD95F31-B173-49D7-85CA-8E8FFE1E26D2}" srcOrd="0" destOrd="0" presId="urn:microsoft.com/office/officeart/2005/8/layout/vList6"/>
    <dgm:cxn modelId="{F358D83F-ED63-4709-B6A3-7BB11F53F205}" type="presParOf" srcId="{ACD95F31-B173-49D7-85CA-8E8FFE1E26D2}" destId="{25D95E1D-7C74-41F8-832A-5D446C8DB04E}" srcOrd="0" destOrd="0" presId="urn:microsoft.com/office/officeart/2005/8/layout/vList6"/>
    <dgm:cxn modelId="{99AAD80F-ED80-49FD-BD24-67270D0DD363}" type="presParOf" srcId="{ACD95F31-B173-49D7-85CA-8E8FFE1E26D2}" destId="{EFA5A429-2673-43DB-A52C-79E0623C6AAB}" srcOrd="1" destOrd="0" presId="urn:microsoft.com/office/officeart/2005/8/layout/vList6"/>
    <dgm:cxn modelId="{C5F76540-E821-4C92-AE62-0D61703158B5}" type="presParOf" srcId="{F64109F1-F905-4063-BDF1-121F2EE97923}" destId="{BDABD6D9-D7B7-4267-BEB9-A42F23F87076}" srcOrd="1" destOrd="0" presId="urn:microsoft.com/office/officeart/2005/8/layout/vList6"/>
    <dgm:cxn modelId="{F4B6A7D6-C174-4334-B191-6CF1DE38783B}" type="presParOf" srcId="{F64109F1-F905-4063-BDF1-121F2EE97923}" destId="{D9668780-E050-4676-8B95-BD418CDE0BAF}" srcOrd="2" destOrd="0" presId="urn:microsoft.com/office/officeart/2005/8/layout/vList6"/>
    <dgm:cxn modelId="{11F35A11-2F7E-4506-B590-7616E876DA7B}" type="presParOf" srcId="{D9668780-E050-4676-8B95-BD418CDE0BAF}" destId="{1CF4261D-786F-40CC-B2F2-0ED7FC4FDE98}" srcOrd="0" destOrd="0" presId="urn:microsoft.com/office/officeart/2005/8/layout/vList6"/>
    <dgm:cxn modelId="{4F602EE4-6AA7-48B9-90CE-823A3575D459}" type="presParOf" srcId="{D9668780-E050-4676-8B95-BD418CDE0BAF}" destId="{DBEAEF16-C486-4B37-8B73-D1C2B13BAC57}" srcOrd="1" destOrd="0" presId="urn:microsoft.com/office/officeart/2005/8/layout/vList6"/>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C61C2922-B87A-4E5A-9FE2-2243F329FAF1}" type="doc">
      <dgm:prSet loTypeId="urn:microsoft.com/office/officeart/2008/layout/VerticalAccentList" loCatId="list" qsTypeId="urn:microsoft.com/office/officeart/2005/8/quickstyle/simple1" qsCatId="simple" csTypeId="urn:microsoft.com/office/officeart/2005/8/colors/accent1_2" csCatId="accent1"/>
      <dgm:spPr/>
      <dgm:t>
        <a:bodyPr/>
        <a:lstStyle/>
        <a:p>
          <a:endParaRPr lang="en-US"/>
        </a:p>
      </dgm:t>
    </dgm:pt>
    <dgm:pt modelId="{15CBB33C-5CB9-4907-A63F-34867CB3FA45}">
      <dgm:prSet custT="1"/>
      <dgm:spPr/>
      <dgm:t>
        <a:bodyPr/>
        <a:lstStyle/>
        <a:p>
          <a:r>
            <a:rPr sz="1200" dirty="0"/>
            <a:t>Problem 3: </a:t>
          </a:r>
          <a:r>
            <a:rPr sz="1200" dirty="0" err="1"/>
            <a:t>Aktif</a:t>
          </a:r>
          <a:r>
            <a:rPr sz="1200" dirty="0"/>
            <a:t> Ulaşım </a:t>
          </a:r>
          <a:r>
            <a:rPr sz="1200" dirty="0" err="1"/>
            <a:t>Altyapısının</a:t>
          </a:r>
          <a:r>
            <a:rPr sz="1200" dirty="0"/>
            <a:t> </a:t>
          </a:r>
          <a:r>
            <a:rPr sz="1200" dirty="0" err="1"/>
            <a:t>Olmaması</a:t>
          </a:r>
          <a:endParaRPr sz="1200" dirty="0"/>
        </a:p>
      </dgm:t>
    </dgm:pt>
    <dgm:pt modelId="{569A4A04-EDE2-4234-BDDD-4730619E4B35}" type="parTrans" cxnId="{AF632957-85F4-4BDD-B3F0-D06E3D9E6978}">
      <dgm:prSet/>
      <dgm:spPr/>
      <dgm:t>
        <a:bodyPr/>
        <a:lstStyle/>
        <a:p>
          <a:endParaRPr lang="en-US"/>
        </a:p>
      </dgm:t>
    </dgm:pt>
    <dgm:pt modelId="{C6624B65-2FE5-43B4-8791-59048628642C}" type="sibTrans" cxnId="{AF632957-85F4-4BDD-B3F0-D06E3D9E6978}">
      <dgm:prSet/>
      <dgm:spPr/>
      <dgm:t>
        <a:bodyPr/>
        <a:lstStyle/>
        <a:p>
          <a:endParaRPr lang="en-US"/>
        </a:p>
      </dgm:t>
    </dgm:pt>
    <dgm:pt modelId="{BD2155E6-21D8-43CF-B088-CDE92D1CF841}">
      <dgm:prSet custT="1"/>
      <dgm:spPr/>
      <dgm:t>
        <a:bodyPr/>
        <a:lstStyle/>
        <a:p>
          <a:pPr algn="just"/>
          <a:r>
            <a:rPr sz="1000" dirty="0" err="1"/>
            <a:t>Çözüm</a:t>
          </a:r>
          <a:r>
            <a:rPr sz="1000" dirty="0"/>
            <a:t>: Özel </a:t>
          </a:r>
          <a:r>
            <a:rPr sz="1000" dirty="0" err="1"/>
            <a:t>şeritler</a:t>
          </a:r>
          <a:r>
            <a:rPr sz="1000" dirty="0"/>
            <a:t>, </a:t>
          </a:r>
          <a:r>
            <a:rPr sz="1000" dirty="0" err="1"/>
            <a:t>kaldırımlar</a:t>
          </a:r>
          <a:r>
            <a:rPr sz="1000" dirty="0"/>
            <a:t> </a:t>
          </a:r>
          <a:r>
            <a:rPr sz="1000" dirty="0" err="1"/>
            <a:t>ve</a:t>
          </a:r>
          <a:r>
            <a:rPr sz="1000" dirty="0"/>
            <a:t> </a:t>
          </a:r>
          <a:r>
            <a:rPr sz="1000" dirty="0" err="1"/>
            <a:t>güvenli</a:t>
          </a:r>
          <a:r>
            <a:rPr sz="1000" dirty="0"/>
            <a:t> </a:t>
          </a:r>
          <a:r>
            <a:rPr sz="1000" dirty="0" err="1"/>
            <a:t>geçişler</a:t>
          </a:r>
          <a:r>
            <a:rPr sz="1000" dirty="0"/>
            <a:t> </a:t>
          </a:r>
          <a:r>
            <a:rPr sz="1000" dirty="0" err="1"/>
            <a:t>dahil</a:t>
          </a:r>
          <a:r>
            <a:rPr sz="1000" dirty="0"/>
            <a:t> </a:t>
          </a:r>
          <a:r>
            <a:rPr sz="1000" dirty="0" err="1"/>
            <a:t>olmak</a:t>
          </a:r>
          <a:r>
            <a:rPr sz="1000" dirty="0"/>
            <a:t> </a:t>
          </a:r>
          <a:r>
            <a:rPr sz="1000" dirty="0" err="1"/>
            <a:t>üzere</a:t>
          </a:r>
          <a:r>
            <a:rPr sz="1000" dirty="0"/>
            <a:t> </a:t>
          </a:r>
          <a:r>
            <a:rPr sz="1000" dirty="0" err="1"/>
            <a:t>kapsamlı</a:t>
          </a:r>
          <a:r>
            <a:rPr sz="1000" dirty="0"/>
            <a:t> </a:t>
          </a:r>
          <a:r>
            <a:rPr sz="1000" dirty="0" err="1"/>
            <a:t>bisiklet</a:t>
          </a:r>
          <a:r>
            <a:rPr sz="1000" dirty="0"/>
            <a:t> </a:t>
          </a:r>
          <a:r>
            <a:rPr sz="1000" dirty="0" err="1"/>
            <a:t>ve</a:t>
          </a:r>
          <a:r>
            <a:rPr sz="1000" dirty="0"/>
            <a:t> yaya </a:t>
          </a:r>
          <a:r>
            <a:rPr sz="1000" dirty="0" err="1"/>
            <a:t>altyapısı</a:t>
          </a:r>
          <a:r>
            <a:rPr sz="1000" dirty="0"/>
            <a:t> </a:t>
          </a:r>
          <a:r>
            <a:rPr sz="1000" dirty="0" err="1"/>
            <a:t>geliştirin</a:t>
          </a:r>
          <a:r>
            <a:rPr sz="1000" dirty="0"/>
            <a:t>.</a:t>
          </a:r>
        </a:p>
      </dgm:t>
    </dgm:pt>
    <dgm:pt modelId="{E627C3DF-6D47-4BB1-A187-AC04E620D3F6}" type="parTrans" cxnId="{B8587A6B-C975-432C-8356-DC48136DCFB6}">
      <dgm:prSet/>
      <dgm:spPr/>
      <dgm:t>
        <a:bodyPr/>
        <a:lstStyle/>
        <a:p>
          <a:endParaRPr lang="en-US"/>
        </a:p>
      </dgm:t>
    </dgm:pt>
    <dgm:pt modelId="{5F1515AD-7938-4EBE-9D7F-5398C5C4C5DE}" type="sibTrans" cxnId="{B8587A6B-C975-432C-8356-DC48136DCFB6}">
      <dgm:prSet/>
      <dgm:spPr/>
      <dgm:t>
        <a:bodyPr/>
        <a:lstStyle/>
        <a:p>
          <a:endParaRPr lang="en-US"/>
        </a:p>
      </dgm:t>
    </dgm:pt>
    <dgm:pt modelId="{CABADA8B-CEFD-4054-B8C3-0432FBE087DF}" type="pres">
      <dgm:prSet presAssocID="{C61C2922-B87A-4E5A-9FE2-2243F329FAF1}" presName="Name0" presStyleCnt="0">
        <dgm:presLayoutVars>
          <dgm:chMax/>
          <dgm:chPref/>
          <dgm:dir/>
        </dgm:presLayoutVars>
      </dgm:prSet>
      <dgm:spPr/>
    </dgm:pt>
    <dgm:pt modelId="{F0C6840E-4862-42D5-90FB-8903AA071096}" type="pres">
      <dgm:prSet presAssocID="{15CBB33C-5CB9-4907-A63F-34867CB3FA45}" presName="parenttextcomposite" presStyleCnt="0"/>
      <dgm:spPr/>
    </dgm:pt>
    <dgm:pt modelId="{AB0C12A0-6056-44DE-A5C1-D10741B796B7}" type="pres">
      <dgm:prSet presAssocID="{15CBB33C-5CB9-4907-A63F-34867CB3FA45}" presName="parenttext" presStyleLbl="revTx" presStyleIdx="0" presStyleCnt="1">
        <dgm:presLayoutVars>
          <dgm:chMax/>
          <dgm:chPref val="2"/>
          <dgm:bulletEnabled val="1"/>
        </dgm:presLayoutVars>
      </dgm:prSet>
      <dgm:spPr/>
    </dgm:pt>
    <dgm:pt modelId="{0DA0272D-A4B5-404A-B181-F233486A61F4}" type="pres">
      <dgm:prSet presAssocID="{15CBB33C-5CB9-4907-A63F-34867CB3FA45}" presName="composite" presStyleCnt="0"/>
      <dgm:spPr/>
    </dgm:pt>
    <dgm:pt modelId="{9A1EF0CC-48CD-4BE1-9EFB-C62F539A9EDC}" type="pres">
      <dgm:prSet presAssocID="{15CBB33C-5CB9-4907-A63F-34867CB3FA45}" presName="chevron1" presStyleLbl="alignNode1" presStyleIdx="0" presStyleCnt="7"/>
      <dgm:spPr/>
    </dgm:pt>
    <dgm:pt modelId="{8DEEBDF8-F881-47EE-89BE-4F2819799EC7}" type="pres">
      <dgm:prSet presAssocID="{15CBB33C-5CB9-4907-A63F-34867CB3FA45}" presName="chevron2" presStyleLbl="alignNode1" presStyleIdx="1" presStyleCnt="7"/>
      <dgm:spPr/>
    </dgm:pt>
    <dgm:pt modelId="{4C34C8F3-E9C6-4CF4-AF72-F3B07E0726CA}" type="pres">
      <dgm:prSet presAssocID="{15CBB33C-5CB9-4907-A63F-34867CB3FA45}" presName="chevron3" presStyleLbl="alignNode1" presStyleIdx="2" presStyleCnt="7"/>
      <dgm:spPr/>
    </dgm:pt>
    <dgm:pt modelId="{D7772D78-0301-4051-9EFF-79E21656A3E4}" type="pres">
      <dgm:prSet presAssocID="{15CBB33C-5CB9-4907-A63F-34867CB3FA45}" presName="chevron4" presStyleLbl="alignNode1" presStyleIdx="3" presStyleCnt="7"/>
      <dgm:spPr/>
    </dgm:pt>
    <dgm:pt modelId="{A1A99D1D-E06B-460D-A1C6-4C6DFECC982C}" type="pres">
      <dgm:prSet presAssocID="{15CBB33C-5CB9-4907-A63F-34867CB3FA45}" presName="chevron5" presStyleLbl="alignNode1" presStyleIdx="4" presStyleCnt="7"/>
      <dgm:spPr/>
    </dgm:pt>
    <dgm:pt modelId="{F1FC83DC-81B8-458B-8464-D10243D01EE7}" type="pres">
      <dgm:prSet presAssocID="{15CBB33C-5CB9-4907-A63F-34867CB3FA45}" presName="chevron6" presStyleLbl="alignNode1" presStyleIdx="5" presStyleCnt="7"/>
      <dgm:spPr/>
    </dgm:pt>
    <dgm:pt modelId="{6633BBCE-C361-4776-8C61-A44CC2BFC88B}" type="pres">
      <dgm:prSet presAssocID="{15CBB33C-5CB9-4907-A63F-34867CB3FA45}" presName="chevron7" presStyleLbl="alignNode1" presStyleIdx="6" presStyleCnt="7"/>
      <dgm:spPr/>
    </dgm:pt>
    <dgm:pt modelId="{C62CE297-C851-461A-8C09-791D991EF3EB}" type="pres">
      <dgm:prSet presAssocID="{15CBB33C-5CB9-4907-A63F-34867CB3FA45}" presName="childtext" presStyleLbl="solidFgAcc1" presStyleIdx="0" presStyleCnt="1">
        <dgm:presLayoutVars>
          <dgm:chMax/>
          <dgm:chPref val="0"/>
          <dgm:bulletEnabled val="1"/>
        </dgm:presLayoutVars>
      </dgm:prSet>
      <dgm:spPr/>
    </dgm:pt>
  </dgm:ptLst>
  <dgm:cxnLst>
    <dgm:cxn modelId="{71B2CC2E-AAE5-474D-98DF-6B13C4DF24E8}" type="presOf" srcId="{15CBB33C-5CB9-4907-A63F-34867CB3FA45}" destId="{AB0C12A0-6056-44DE-A5C1-D10741B796B7}" srcOrd="0" destOrd="0" presId="urn:microsoft.com/office/officeart/2008/layout/VerticalAccentList"/>
    <dgm:cxn modelId="{B8587A6B-C975-432C-8356-DC48136DCFB6}" srcId="{15CBB33C-5CB9-4907-A63F-34867CB3FA45}" destId="{BD2155E6-21D8-43CF-B088-CDE92D1CF841}" srcOrd="0" destOrd="0" parTransId="{E627C3DF-6D47-4BB1-A187-AC04E620D3F6}" sibTransId="{5F1515AD-7938-4EBE-9D7F-5398C5C4C5DE}"/>
    <dgm:cxn modelId="{AF632957-85F4-4BDD-B3F0-D06E3D9E6978}" srcId="{C61C2922-B87A-4E5A-9FE2-2243F329FAF1}" destId="{15CBB33C-5CB9-4907-A63F-34867CB3FA45}" srcOrd="0" destOrd="0" parTransId="{569A4A04-EDE2-4234-BDDD-4730619E4B35}" sibTransId="{C6624B65-2FE5-43B4-8791-59048628642C}"/>
    <dgm:cxn modelId="{77EFAE96-DE79-43B0-A448-7014BAFFD187}" type="presOf" srcId="{C61C2922-B87A-4E5A-9FE2-2243F329FAF1}" destId="{CABADA8B-CEFD-4054-B8C3-0432FBE087DF}" srcOrd="0" destOrd="0" presId="urn:microsoft.com/office/officeart/2008/layout/VerticalAccentList"/>
    <dgm:cxn modelId="{920B6ED8-1D13-42DC-B49F-B696A249DE42}" type="presOf" srcId="{BD2155E6-21D8-43CF-B088-CDE92D1CF841}" destId="{C62CE297-C851-461A-8C09-791D991EF3EB}" srcOrd="0" destOrd="0" presId="urn:microsoft.com/office/officeart/2008/layout/VerticalAccentList"/>
    <dgm:cxn modelId="{AA15D1C2-A735-4493-90E8-06E3BF5793F1}" type="presParOf" srcId="{CABADA8B-CEFD-4054-B8C3-0432FBE087DF}" destId="{F0C6840E-4862-42D5-90FB-8903AA071096}" srcOrd="0" destOrd="0" presId="urn:microsoft.com/office/officeart/2008/layout/VerticalAccentList"/>
    <dgm:cxn modelId="{607C26DD-36B5-4937-9576-EF27D6435532}" type="presParOf" srcId="{F0C6840E-4862-42D5-90FB-8903AA071096}" destId="{AB0C12A0-6056-44DE-A5C1-D10741B796B7}" srcOrd="0" destOrd="0" presId="urn:microsoft.com/office/officeart/2008/layout/VerticalAccentList"/>
    <dgm:cxn modelId="{B680A71C-5479-4F70-A2B4-23A8CD985EE4}" type="presParOf" srcId="{CABADA8B-CEFD-4054-B8C3-0432FBE087DF}" destId="{0DA0272D-A4B5-404A-B181-F233486A61F4}" srcOrd="1" destOrd="0" presId="urn:microsoft.com/office/officeart/2008/layout/VerticalAccentList"/>
    <dgm:cxn modelId="{E0A3924D-ACFE-47EC-8AD6-B1487C37CFC7}" type="presParOf" srcId="{0DA0272D-A4B5-404A-B181-F233486A61F4}" destId="{9A1EF0CC-48CD-4BE1-9EFB-C62F539A9EDC}" srcOrd="0" destOrd="0" presId="urn:microsoft.com/office/officeart/2008/layout/VerticalAccentList"/>
    <dgm:cxn modelId="{F2C2A80D-32EA-4FCE-B420-213DFBFD0370}" type="presParOf" srcId="{0DA0272D-A4B5-404A-B181-F233486A61F4}" destId="{8DEEBDF8-F881-47EE-89BE-4F2819799EC7}" srcOrd="1" destOrd="0" presId="urn:microsoft.com/office/officeart/2008/layout/VerticalAccentList"/>
    <dgm:cxn modelId="{7E5BB116-7545-4DF5-B2DE-9A708B049081}" type="presParOf" srcId="{0DA0272D-A4B5-404A-B181-F233486A61F4}" destId="{4C34C8F3-E9C6-4CF4-AF72-F3B07E0726CA}" srcOrd="2" destOrd="0" presId="urn:microsoft.com/office/officeart/2008/layout/VerticalAccentList"/>
    <dgm:cxn modelId="{B7F4967A-D71B-44F2-ABF3-7136C91F474B}" type="presParOf" srcId="{0DA0272D-A4B5-404A-B181-F233486A61F4}" destId="{D7772D78-0301-4051-9EFF-79E21656A3E4}" srcOrd="3" destOrd="0" presId="urn:microsoft.com/office/officeart/2008/layout/VerticalAccentList"/>
    <dgm:cxn modelId="{BBA9EF70-F1CA-4A94-801F-2DBB26BE9A61}" type="presParOf" srcId="{0DA0272D-A4B5-404A-B181-F233486A61F4}" destId="{A1A99D1D-E06B-460D-A1C6-4C6DFECC982C}" srcOrd="4" destOrd="0" presId="urn:microsoft.com/office/officeart/2008/layout/VerticalAccentList"/>
    <dgm:cxn modelId="{9ED963A4-029C-4CDF-B838-FC74EF1A4B87}" type="presParOf" srcId="{0DA0272D-A4B5-404A-B181-F233486A61F4}" destId="{F1FC83DC-81B8-458B-8464-D10243D01EE7}" srcOrd="5" destOrd="0" presId="urn:microsoft.com/office/officeart/2008/layout/VerticalAccentList"/>
    <dgm:cxn modelId="{14073B37-0552-4D9B-A194-5835070E20D6}" type="presParOf" srcId="{0DA0272D-A4B5-404A-B181-F233486A61F4}" destId="{6633BBCE-C361-4776-8C61-A44CC2BFC88B}" srcOrd="6" destOrd="0" presId="urn:microsoft.com/office/officeart/2008/layout/VerticalAccentList"/>
    <dgm:cxn modelId="{F9975ACC-D3C0-42C0-BFC6-99BB43183487}" type="presParOf" srcId="{0DA0272D-A4B5-404A-B181-F233486A61F4}" destId="{C62CE297-C851-461A-8C09-791D991EF3EB}" srcOrd="7" destOrd="0" presId="urn:microsoft.com/office/officeart/2008/layout/VerticalAccentList"/>
  </dgm:cxnLst>
  <dgm:bg/>
  <dgm:whole/>
  <dgm:extLst>
    <a:ext uri="http://schemas.microsoft.com/office/drawing/2008/diagram">
      <dsp:dataModelExt xmlns:dsp="http://schemas.microsoft.com/office/drawing/2008/diagram" relId="rId23"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65A1229B-2D53-4769-B8E5-CAA44380F3E7}" type="doc">
      <dgm:prSet loTypeId="urn:microsoft.com/office/officeart/2008/layout/VerticalAccentList" loCatId="list" qsTypeId="urn:microsoft.com/office/officeart/2005/8/quickstyle/simple1" qsCatId="simple" csTypeId="urn:microsoft.com/office/officeart/2005/8/colors/accent1_2" csCatId="accent1"/>
      <dgm:spPr/>
      <dgm:t>
        <a:bodyPr/>
        <a:lstStyle/>
        <a:p>
          <a:endParaRPr lang="en-US"/>
        </a:p>
      </dgm:t>
    </dgm:pt>
    <dgm:pt modelId="{D8817B35-92E5-4490-A26D-AA77224924B3}">
      <dgm:prSet custT="1"/>
      <dgm:spPr/>
      <dgm:t>
        <a:bodyPr/>
        <a:lstStyle/>
        <a:p>
          <a:pPr>
            <a:defRPr sz="1100"/>
          </a:pPr>
          <a:r>
            <a:rPr sz="1200" dirty="0" err="1"/>
            <a:t>Sorun</a:t>
          </a:r>
          <a:r>
            <a:rPr sz="1200" dirty="0"/>
            <a:t> 4: </a:t>
          </a:r>
          <a:r>
            <a:rPr sz="1200" dirty="0" err="1"/>
            <a:t>Sınırlı</a:t>
          </a:r>
          <a:r>
            <a:rPr sz="1200" dirty="0"/>
            <a:t> </a:t>
          </a:r>
          <a:r>
            <a:rPr sz="1200" dirty="0" err="1"/>
            <a:t>Finansman</a:t>
          </a:r>
          <a:r>
            <a:rPr sz="1200" dirty="0"/>
            <a:t> </a:t>
          </a:r>
          <a:r>
            <a:rPr sz="1200" dirty="0" err="1"/>
            <a:t>ve</a:t>
          </a:r>
          <a:r>
            <a:rPr sz="1200" dirty="0"/>
            <a:t> </a:t>
          </a:r>
          <a:r>
            <a:rPr sz="1200" dirty="0" err="1"/>
            <a:t>Kaynaklar</a:t>
          </a:r>
          <a:endParaRPr sz="1200" dirty="0"/>
        </a:p>
      </dgm:t>
    </dgm:pt>
    <dgm:pt modelId="{CE8AC8AC-23AC-4C51-BDC4-D09080D02F6C}" type="parTrans" cxnId="{FA30ED2F-BBFE-40FE-AA21-E9A4CE58329D}">
      <dgm:prSet/>
      <dgm:spPr/>
      <dgm:t>
        <a:bodyPr/>
        <a:lstStyle/>
        <a:p>
          <a:endParaRPr lang="en-US"/>
        </a:p>
      </dgm:t>
    </dgm:pt>
    <dgm:pt modelId="{361FBE0D-DC64-4A78-9B8E-F36AA5C46D32}" type="sibTrans" cxnId="{FA30ED2F-BBFE-40FE-AA21-E9A4CE58329D}">
      <dgm:prSet/>
      <dgm:spPr/>
      <dgm:t>
        <a:bodyPr/>
        <a:lstStyle/>
        <a:p>
          <a:endParaRPr lang="en-US"/>
        </a:p>
      </dgm:t>
    </dgm:pt>
    <dgm:pt modelId="{7321DE34-FCEE-4E6C-8551-7374D26EFADA}">
      <dgm:prSet custT="1"/>
      <dgm:spPr/>
      <dgm:t>
        <a:bodyPr/>
        <a:lstStyle/>
        <a:p>
          <a:pPr algn="just">
            <a:defRPr sz="1000"/>
          </a:pPr>
          <a:r>
            <a:rPr sz="1000" dirty="0" err="1"/>
            <a:t>Çözüm</a:t>
          </a:r>
          <a:r>
            <a:rPr sz="1000" dirty="0"/>
            <a:t>: Ulaşım </a:t>
          </a:r>
          <a:r>
            <a:rPr sz="1000" dirty="0" err="1"/>
            <a:t>projelerini</a:t>
          </a:r>
          <a:r>
            <a:rPr sz="1000" dirty="0"/>
            <a:t> </a:t>
          </a:r>
          <a:r>
            <a:rPr sz="1000" dirty="0" err="1"/>
            <a:t>desteklemek</a:t>
          </a:r>
          <a:r>
            <a:rPr sz="1000" dirty="0"/>
            <a:t> </a:t>
          </a:r>
          <a:r>
            <a:rPr sz="1000" dirty="0" err="1"/>
            <a:t>için</a:t>
          </a:r>
          <a:r>
            <a:rPr sz="1000" dirty="0"/>
            <a:t> </a:t>
          </a:r>
          <a:r>
            <a:rPr sz="1000" dirty="0" err="1"/>
            <a:t>ortaklıklar</a:t>
          </a:r>
          <a:r>
            <a:rPr sz="1000" dirty="0"/>
            <a:t>, </a:t>
          </a:r>
          <a:r>
            <a:rPr sz="1000" dirty="0" err="1"/>
            <a:t>hibeler</a:t>
          </a:r>
          <a:r>
            <a:rPr sz="1000" dirty="0"/>
            <a:t> </a:t>
          </a:r>
          <a:r>
            <a:rPr sz="1000" dirty="0" err="1"/>
            <a:t>ve</a:t>
          </a:r>
          <a:r>
            <a:rPr sz="1000" dirty="0"/>
            <a:t> </a:t>
          </a:r>
          <a:r>
            <a:rPr sz="1000" dirty="0" err="1"/>
            <a:t>yenilikçi</a:t>
          </a:r>
          <a:r>
            <a:rPr sz="1000" dirty="0"/>
            <a:t> </a:t>
          </a:r>
          <a:r>
            <a:rPr sz="1000" dirty="0" err="1"/>
            <a:t>finansman</a:t>
          </a:r>
          <a:r>
            <a:rPr sz="1000" dirty="0"/>
            <a:t> </a:t>
          </a:r>
          <a:r>
            <a:rPr sz="1000" dirty="0" err="1"/>
            <a:t>mekanizmaları</a:t>
          </a:r>
          <a:r>
            <a:rPr sz="1000" dirty="0"/>
            <a:t> </a:t>
          </a:r>
          <a:r>
            <a:rPr sz="1000" dirty="0" err="1"/>
            <a:t>aramak</a:t>
          </a:r>
          <a:r>
            <a:rPr sz="1000" dirty="0"/>
            <a:t>.</a:t>
          </a:r>
        </a:p>
      </dgm:t>
    </dgm:pt>
    <dgm:pt modelId="{D89A1351-AB0F-4896-9176-E9423E570001}" type="parTrans" cxnId="{40954C0D-7D6E-4B41-9213-11A2BAAA9234}">
      <dgm:prSet/>
      <dgm:spPr/>
      <dgm:t>
        <a:bodyPr/>
        <a:lstStyle/>
        <a:p>
          <a:endParaRPr lang="en-US"/>
        </a:p>
      </dgm:t>
    </dgm:pt>
    <dgm:pt modelId="{F6374031-FBFB-4545-9611-F23ADEF48DDF}" type="sibTrans" cxnId="{40954C0D-7D6E-4B41-9213-11A2BAAA9234}">
      <dgm:prSet/>
      <dgm:spPr/>
      <dgm:t>
        <a:bodyPr/>
        <a:lstStyle/>
        <a:p>
          <a:endParaRPr lang="en-US"/>
        </a:p>
      </dgm:t>
    </dgm:pt>
    <dgm:pt modelId="{DEA5AB7A-6492-4DE7-998C-D9BE403E1497}" type="pres">
      <dgm:prSet presAssocID="{65A1229B-2D53-4769-B8E5-CAA44380F3E7}" presName="Name0" presStyleCnt="0">
        <dgm:presLayoutVars>
          <dgm:chMax/>
          <dgm:chPref/>
          <dgm:dir/>
        </dgm:presLayoutVars>
      </dgm:prSet>
      <dgm:spPr/>
    </dgm:pt>
    <dgm:pt modelId="{B08B6332-0939-4ED8-BEB6-EBF225BC78F1}" type="pres">
      <dgm:prSet presAssocID="{D8817B35-92E5-4490-A26D-AA77224924B3}" presName="parenttextcomposite" presStyleCnt="0"/>
      <dgm:spPr/>
    </dgm:pt>
    <dgm:pt modelId="{25A82E90-C8A1-4F59-88A0-7FE69219C89F}" type="pres">
      <dgm:prSet presAssocID="{D8817B35-92E5-4490-A26D-AA77224924B3}" presName="parenttext" presStyleLbl="revTx" presStyleIdx="0" presStyleCnt="1">
        <dgm:presLayoutVars>
          <dgm:chMax/>
          <dgm:chPref val="2"/>
          <dgm:bulletEnabled val="1"/>
        </dgm:presLayoutVars>
      </dgm:prSet>
      <dgm:spPr/>
    </dgm:pt>
    <dgm:pt modelId="{A5DF326C-42FD-41B0-A060-5B689E649E34}" type="pres">
      <dgm:prSet presAssocID="{D8817B35-92E5-4490-A26D-AA77224924B3}" presName="composite" presStyleCnt="0"/>
      <dgm:spPr/>
    </dgm:pt>
    <dgm:pt modelId="{3DE8DFA0-6B79-4065-9D31-88C1C8A1C129}" type="pres">
      <dgm:prSet presAssocID="{D8817B35-92E5-4490-A26D-AA77224924B3}" presName="chevron1" presStyleLbl="alignNode1" presStyleIdx="0" presStyleCnt="7"/>
      <dgm:spPr/>
    </dgm:pt>
    <dgm:pt modelId="{AE5C7D61-4CD0-4F1D-A79E-CD64582B7695}" type="pres">
      <dgm:prSet presAssocID="{D8817B35-92E5-4490-A26D-AA77224924B3}" presName="chevron2" presStyleLbl="alignNode1" presStyleIdx="1" presStyleCnt="7"/>
      <dgm:spPr/>
    </dgm:pt>
    <dgm:pt modelId="{28EF9CA0-1634-428B-B7BC-2DF8BA0A1071}" type="pres">
      <dgm:prSet presAssocID="{D8817B35-92E5-4490-A26D-AA77224924B3}" presName="chevron3" presStyleLbl="alignNode1" presStyleIdx="2" presStyleCnt="7"/>
      <dgm:spPr/>
    </dgm:pt>
    <dgm:pt modelId="{7D831B5E-3F1A-4D80-A26E-B87DF8CC7B3D}" type="pres">
      <dgm:prSet presAssocID="{D8817B35-92E5-4490-A26D-AA77224924B3}" presName="chevron4" presStyleLbl="alignNode1" presStyleIdx="3" presStyleCnt="7"/>
      <dgm:spPr/>
    </dgm:pt>
    <dgm:pt modelId="{04D123F0-7665-45ED-A6E4-678EC901E8D5}" type="pres">
      <dgm:prSet presAssocID="{D8817B35-92E5-4490-A26D-AA77224924B3}" presName="chevron5" presStyleLbl="alignNode1" presStyleIdx="4" presStyleCnt="7"/>
      <dgm:spPr/>
    </dgm:pt>
    <dgm:pt modelId="{A192A2F7-882F-45AB-BDAC-57D5BB99129D}" type="pres">
      <dgm:prSet presAssocID="{D8817B35-92E5-4490-A26D-AA77224924B3}" presName="chevron6" presStyleLbl="alignNode1" presStyleIdx="5" presStyleCnt="7"/>
      <dgm:spPr/>
    </dgm:pt>
    <dgm:pt modelId="{48B8D231-514C-4FAC-A0ED-1EF2908FD30F}" type="pres">
      <dgm:prSet presAssocID="{D8817B35-92E5-4490-A26D-AA77224924B3}" presName="chevron7" presStyleLbl="alignNode1" presStyleIdx="6" presStyleCnt="7"/>
      <dgm:spPr/>
    </dgm:pt>
    <dgm:pt modelId="{F8AED197-5083-4CF0-8C33-2623F9E79B56}" type="pres">
      <dgm:prSet presAssocID="{D8817B35-92E5-4490-A26D-AA77224924B3}" presName="childtext" presStyleLbl="solidFgAcc1" presStyleIdx="0" presStyleCnt="1">
        <dgm:presLayoutVars>
          <dgm:chMax/>
          <dgm:chPref val="0"/>
          <dgm:bulletEnabled val="1"/>
        </dgm:presLayoutVars>
      </dgm:prSet>
      <dgm:spPr/>
    </dgm:pt>
  </dgm:ptLst>
  <dgm:cxnLst>
    <dgm:cxn modelId="{40954C0D-7D6E-4B41-9213-11A2BAAA9234}" srcId="{D8817B35-92E5-4490-A26D-AA77224924B3}" destId="{7321DE34-FCEE-4E6C-8551-7374D26EFADA}" srcOrd="0" destOrd="0" parTransId="{D89A1351-AB0F-4896-9176-E9423E570001}" sibTransId="{F6374031-FBFB-4545-9611-F23ADEF48DDF}"/>
    <dgm:cxn modelId="{62F0412B-751D-4F03-96D8-C69076A63BCF}" type="presOf" srcId="{65A1229B-2D53-4769-B8E5-CAA44380F3E7}" destId="{DEA5AB7A-6492-4DE7-998C-D9BE403E1497}" srcOrd="0" destOrd="0" presId="urn:microsoft.com/office/officeart/2008/layout/VerticalAccentList"/>
    <dgm:cxn modelId="{FA30ED2F-BBFE-40FE-AA21-E9A4CE58329D}" srcId="{65A1229B-2D53-4769-B8E5-CAA44380F3E7}" destId="{D8817B35-92E5-4490-A26D-AA77224924B3}" srcOrd="0" destOrd="0" parTransId="{CE8AC8AC-23AC-4C51-BDC4-D09080D02F6C}" sibTransId="{361FBE0D-DC64-4A78-9B8E-F36AA5C46D32}"/>
    <dgm:cxn modelId="{37E0E595-8D0E-4567-ACB6-E4D757BD74D9}" type="presOf" srcId="{D8817B35-92E5-4490-A26D-AA77224924B3}" destId="{25A82E90-C8A1-4F59-88A0-7FE69219C89F}" srcOrd="0" destOrd="0" presId="urn:microsoft.com/office/officeart/2008/layout/VerticalAccentList"/>
    <dgm:cxn modelId="{9CDDC0E6-903F-4A52-95D5-D05743E9B847}" type="presOf" srcId="{7321DE34-FCEE-4E6C-8551-7374D26EFADA}" destId="{F8AED197-5083-4CF0-8C33-2623F9E79B56}" srcOrd="0" destOrd="0" presId="urn:microsoft.com/office/officeart/2008/layout/VerticalAccentList"/>
    <dgm:cxn modelId="{0D41CBF5-8BD2-42A5-B067-E71A53EBE4A7}" type="presParOf" srcId="{DEA5AB7A-6492-4DE7-998C-D9BE403E1497}" destId="{B08B6332-0939-4ED8-BEB6-EBF225BC78F1}" srcOrd="0" destOrd="0" presId="urn:microsoft.com/office/officeart/2008/layout/VerticalAccentList"/>
    <dgm:cxn modelId="{B1AE6E30-6794-48F7-A5E2-92FF34206934}" type="presParOf" srcId="{B08B6332-0939-4ED8-BEB6-EBF225BC78F1}" destId="{25A82E90-C8A1-4F59-88A0-7FE69219C89F}" srcOrd="0" destOrd="0" presId="urn:microsoft.com/office/officeart/2008/layout/VerticalAccentList"/>
    <dgm:cxn modelId="{72E70AE7-8423-4E9F-8121-CF3B1C4CAC18}" type="presParOf" srcId="{DEA5AB7A-6492-4DE7-998C-D9BE403E1497}" destId="{A5DF326C-42FD-41B0-A060-5B689E649E34}" srcOrd="1" destOrd="0" presId="urn:microsoft.com/office/officeart/2008/layout/VerticalAccentList"/>
    <dgm:cxn modelId="{A851BEA7-9BBA-46E3-8233-910F970A5209}" type="presParOf" srcId="{A5DF326C-42FD-41B0-A060-5B689E649E34}" destId="{3DE8DFA0-6B79-4065-9D31-88C1C8A1C129}" srcOrd="0" destOrd="0" presId="urn:microsoft.com/office/officeart/2008/layout/VerticalAccentList"/>
    <dgm:cxn modelId="{83E75F8C-FD22-4546-8AF3-8B958D87747E}" type="presParOf" srcId="{A5DF326C-42FD-41B0-A060-5B689E649E34}" destId="{AE5C7D61-4CD0-4F1D-A79E-CD64582B7695}" srcOrd="1" destOrd="0" presId="urn:microsoft.com/office/officeart/2008/layout/VerticalAccentList"/>
    <dgm:cxn modelId="{20D71B05-1483-4F1F-9E21-DFFD6F7BA047}" type="presParOf" srcId="{A5DF326C-42FD-41B0-A060-5B689E649E34}" destId="{28EF9CA0-1634-428B-B7BC-2DF8BA0A1071}" srcOrd="2" destOrd="0" presId="urn:microsoft.com/office/officeart/2008/layout/VerticalAccentList"/>
    <dgm:cxn modelId="{0EEB347C-C732-49FB-A15C-DBB0C90EBE67}" type="presParOf" srcId="{A5DF326C-42FD-41B0-A060-5B689E649E34}" destId="{7D831B5E-3F1A-4D80-A26E-B87DF8CC7B3D}" srcOrd="3" destOrd="0" presId="urn:microsoft.com/office/officeart/2008/layout/VerticalAccentList"/>
    <dgm:cxn modelId="{D65F59A0-B7D9-4E13-AC58-2B53B952A442}" type="presParOf" srcId="{A5DF326C-42FD-41B0-A060-5B689E649E34}" destId="{04D123F0-7665-45ED-A6E4-678EC901E8D5}" srcOrd="4" destOrd="0" presId="urn:microsoft.com/office/officeart/2008/layout/VerticalAccentList"/>
    <dgm:cxn modelId="{E6C8606D-D1D1-441B-B226-2B595BF5BF57}" type="presParOf" srcId="{A5DF326C-42FD-41B0-A060-5B689E649E34}" destId="{A192A2F7-882F-45AB-BDAC-57D5BB99129D}" srcOrd="5" destOrd="0" presId="urn:microsoft.com/office/officeart/2008/layout/VerticalAccentList"/>
    <dgm:cxn modelId="{680F2B3C-5774-4C17-8CA8-00C912465E5B}" type="presParOf" srcId="{A5DF326C-42FD-41B0-A060-5B689E649E34}" destId="{48B8D231-514C-4FAC-A0ED-1EF2908FD30F}" srcOrd="6" destOrd="0" presId="urn:microsoft.com/office/officeart/2008/layout/VerticalAccentList"/>
    <dgm:cxn modelId="{5C739796-EFB9-40E2-BE4B-D850BE9D8F87}" type="presParOf" srcId="{A5DF326C-42FD-41B0-A060-5B689E649E34}" destId="{F8AED197-5083-4CF0-8C33-2623F9E79B56}" srcOrd="7" destOrd="0" presId="urn:microsoft.com/office/officeart/2008/layout/VerticalAccentList"/>
  </dgm:cxnLst>
  <dgm:bg/>
  <dgm:whole/>
  <dgm:extLst>
    <a:ext uri="http://schemas.microsoft.com/office/drawing/2008/diagram">
      <dsp:dataModelExt xmlns:dsp="http://schemas.microsoft.com/office/drawing/2008/diagram" relId="rId2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4194C621-6923-4828-89B1-2A8F95EFCA5D}" type="doc">
      <dgm:prSet loTypeId="urn:microsoft.com/office/officeart/2005/8/layout/architecture" loCatId="hierarchy" qsTypeId="urn:microsoft.com/office/officeart/2005/8/quickstyle/simple1" qsCatId="simple" csTypeId="urn:microsoft.com/office/officeart/2005/8/colors/accent1_2" csCatId="accent1" phldr="1"/>
      <dgm:spPr/>
      <dgm:t>
        <a:bodyPr/>
        <a:lstStyle/>
        <a:p>
          <a:endParaRPr lang="en-US"/>
        </a:p>
      </dgm:t>
    </dgm:pt>
    <dgm:pt modelId="{859C300D-1C9B-4FA2-8883-BA20DD56780F}">
      <dgm:prSet/>
      <dgm:spPr>
        <a:solidFill>
          <a:schemeClr val="accent2">
            <a:lumMod val="60000"/>
            <a:lumOff val="40000"/>
          </a:schemeClr>
        </a:solidFill>
        <a:ln>
          <a:solidFill>
            <a:schemeClr val="accent2">
              <a:lumMod val="60000"/>
              <a:lumOff val="40000"/>
            </a:schemeClr>
          </a:solidFill>
        </a:ln>
      </dgm:spPr>
      <dgm:t>
        <a:bodyPr/>
        <a:lstStyle/>
        <a:p>
          <a:r>
            <a:rPr b="1" dirty="0" err="1"/>
            <a:t>Verimli</a:t>
          </a:r>
          <a:r>
            <a:rPr b="1" dirty="0"/>
            <a:t> </a:t>
          </a:r>
          <a:r>
            <a:rPr b="1" dirty="0" err="1"/>
            <a:t>ve</a:t>
          </a:r>
          <a:r>
            <a:rPr b="1" dirty="0"/>
            <a:t> </a:t>
          </a:r>
          <a:r>
            <a:rPr b="1" dirty="0" err="1"/>
            <a:t>erişilebilir</a:t>
          </a:r>
          <a:r>
            <a:rPr b="1" dirty="0"/>
            <a:t> </a:t>
          </a:r>
          <a:r>
            <a:rPr b="1" dirty="0" err="1"/>
            <a:t>toplu</a:t>
          </a:r>
          <a:r>
            <a:rPr b="1" dirty="0"/>
            <a:t> </a:t>
          </a:r>
          <a:r>
            <a:rPr b="1" dirty="0" err="1"/>
            <a:t>taşıma</a:t>
          </a:r>
          <a:r>
            <a:rPr b="1" dirty="0"/>
            <a:t>:</a:t>
          </a:r>
          <a:r>
            <a:rPr dirty="0"/>
            <a:t> </a:t>
          </a:r>
          <a:endParaRPr lang="hr-HR" dirty="0"/>
        </a:p>
        <a:p>
          <a:r>
            <a:rPr dirty="0"/>
            <a:t>Sürdürülebilir </a:t>
          </a:r>
          <a:r>
            <a:rPr dirty="0" err="1"/>
            <a:t>ulaşım</a:t>
          </a:r>
          <a:r>
            <a:rPr dirty="0"/>
            <a:t> </a:t>
          </a:r>
          <a:r>
            <a:rPr dirty="0" err="1"/>
            <a:t>planlaması</a:t>
          </a:r>
          <a:r>
            <a:rPr dirty="0"/>
            <a:t> </a:t>
          </a:r>
          <a:r>
            <a:rPr dirty="0" err="1"/>
            <a:t>için</a:t>
          </a:r>
          <a:r>
            <a:rPr dirty="0"/>
            <a:t> </a:t>
          </a:r>
          <a:r>
            <a:rPr dirty="0" err="1"/>
            <a:t>çok</a:t>
          </a:r>
          <a:r>
            <a:rPr dirty="0"/>
            <a:t> </a:t>
          </a:r>
          <a:r>
            <a:rPr dirty="0" err="1"/>
            <a:t>önemli</a:t>
          </a:r>
          <a:r>
            <a:rPr dirty="0"/>
            <a:t> </a:t>
          </a:r>
          <a:r>
            <a:rPr dirty="0" err="1"/>
            <a:t>olan</a:t>
          </a:r>
          <a:r>
            <a:rPr dirty="0"/>
            <a:t> </a:t>
          </a:r>
          <a:r>
            <a:rPr dirty="0" err="1"/>
            <a:t>toplu</a:t>
          </a:r>
          <a:r>
            <a:rPr dirty="0"/>
            <a:t> </a:t>
          </a:r>
          <a:r>
            <a:rPr dirty="0" err="1"/>
            <a:t>taşıma</a:t>
          </a:r>
          <a:r>
            <a:rPr dirty="0"/>
            <a:t> </a:t>
          </a:r>
          <a:r>
            <a:rPr dirty="0" err="1"/>
            <a:t>sistemleri</a:t>
          </a:r>
          <a:r>
            <a:rPr dirty="0"/>
            <a:t>, </a:t>
          </a:r>
          <a:r>
            <a:rPr dirty="0" err="1"/>
            <a:t>trafik</a:t>
          </a:r>
          <a:r>
            <a:rPr dirty="0"/>
            <a:t> </a:t>
          </a:r>
          <a:r>
            <a:rPr dirty="0" err="1"/>
            <a:t>sıkışıklığını</a:t>
          </a:r>
          <a:r>
            <a:rPr dirty="0"/>
            <a:t> </a:t>
          </a:r>
          <a:r>
            <a:rPr dirty="0" err="1"/>
            <a:t>azaltır</a:t>
          </a:r>
          <a:r>
            <a:rPr dirty="0"/>
            <a:t>, </a:t>
          </a:r>
          <a:r>
            <a:rPr dirty="0" err="1"/>
            <a:t>sosyal</a:t>
          </a:r>
          <a:r>
            <a:rPr dirty="0"/>
            <a:t> </a:t>
          </a:r>
          <a:r>
            <a:rPr dirty="0" err="1"/>
            <a:t>eşitliği</a:t>
          </a:r>
          <a:r>
            <a:rPr dirty="0"/>
            <a:t> </a:t>
          </a:r>
          <a:r>
            <a:rPr dirty="0" err="1"/>
            <a:t>teşvik</a:t>
          </a:r>
          <a:r>
            <a:rPr dirty="0"/>
            <a:t> </a:t>
          </a:r>
          <a:r>
            <a:rPr dirty="0" err="1"/>
            <a:t>eder</a:t>
          </a:r>
          <a:r>
            <a:rPr dirty="0"/>
            <a:t> </a:t>
          </a:r>
          <a:r>
            <a:rPr dirty="0" err="1"/>
            <a:t>ve</a:t>
          </a:r>
          <a:r>
            <a:rPr dirty="0"/>
            <a:t> </a:t>
          </a:r>
          <a:r>
            <a:rPr dirty="0" err="1"/>
            <a:t>özel</a:t>
          </a:r>
          <a:r>
            <a:rPr dirty="0"/>
            <a:t> </a:t>
          </a:r>
          <a:r>
            <a:rPr dirty="0" err="1"/>
            <a:t>araçlara</a:t>
          </a:r>
          <a:r>
            <a:rPr dirty="0"/>
            <a:t> </a:t>
          </a:r>
          <a:r>
            <a:rPr dirty="0" err="1"/>
            <a:t>bir</a:t>
          </a:r>
          <a:r>
            <a:rPr dirty="0"/>
            <a:t> </a:t>
          </a:r>
          <a:r>
            <a:rPr dirty="0" err="1"/>
            <a:t>alternatif</a:t>
          </a:r>
          <a:r>
            <a:rPr dirty="0"/>
            <a:t> </a:t>
          </a:r>
          <a:r>
            <a:rPr dirty="0" err="1"/>
            <a:t>sunar</a:t>
          </a:r>
          <a:r>
            <a:rPr dirty="0"/>
            <a:t>.</a:t>
          </a:r>
        </a:p>
      </dgm:t>
    </dgm:pt>
    <dgm:pt modelId="{6A266DA4-B1DE-44B0-B2E5-3B132B8B2B40}" type="parTrans" cxnId="{ACA18A35-6B17-4AC3-8F82-2A5BF8EF1D74}">
      <dgm:prSet/>
      <dgm:spPr/>
      <dgm:t>
        <a:bodyPr/>
        <a:lstStyle/>
        <a:p>
          <a:endParaRPr lang="en-US"/>
        </a:p>
      </dgm:t>
    </dgm:pt>
    <dgm:pt modelId="{C83D32B4-BCE9-4E3E-8E53-52B58FF3C132}" type="sibTrans" cxnId="{ACA18A35-6B17-4AC3-8F82-2A5BF8EF1D74}">
      <dgm:prSet/>
      <dgm:spPr/>
      <dgm:t>
        <a:bodyPr/>
        <a:lstStyle/>
        <a:p>
          <a:endParaRPr lang="en-US"/>
        </a:p>
      </dgm:t>
    </dgm:pt>
    <dgm:pt modelId="{5C86C0CC-D81F-437F-A097-086B7ED7EA3A}">
      <dgm:prSet/>
      <dgm:spPr>
        <a:solidFill>
          <a:schemeClr val="accent2">
            <a:lumMod val="60000"/>
            <a:lumOff val="40000"/>
          </a:schemeClr>
        </a:solidFill>
        <a:ln>
          <a:solidFill>
            <a:schemeClr val="accent2">
              <a:lumMod val="60000"/>
              <a:lumOff val="40000"/>
            </a:schemeClr>
          </a:solidFill>
        </a:ln>
      </dgm:spPr>
      <dgm:t>
        <a:bodyPr/>
        <a:lstStyle/>
        <a:p>
          <a:pPr>
            <a:defRPr b="1"/>
          </a:pPr>
          <a:r>
            <a:rPr dirty="0" err="1"/>
            <a:t>Maksimum</a:t>
          </a:r>
          <a:r>
            <a:rPr dirty="0"/>
            <a:t> </a:t>
          </a:r>
          <a:r>
            <a:rPr dirty="0" err="1"/>
            <a:t>kapsama</a:t>
          </a:r>
          <a:r>
            <a:rPr dirty="0"/>
            <a:t> </a:t>
          </a:r>
          <a:r>
            <a:rPr dirty="0" err="1"/>
            <a:t>alanı</a:t>
          </a:r>
          <a:r>
            <a:rPr dirty="0"/>
            <a:t> </a:t>
          </a:r>
          <a:r>
            <a:rPr dirty="0" err="1"/>
            <a:t>ve</a:t>
          </a:r>
          <a:r>
            <a:rPr dirty="0"/>
            <a:t> </a:t>
          </a:r>
          <a:r>
            <a:rPr dirty="0" err="1"/>
            <a:t>yolcu</a:t>
          </a:r>
          <a:r>
            <a:rPr dirty="0"/>
            <a:t> </a:t>
          </a:r>
          <a:r>
            <a:rPr dirty="0" err="1"/>
            <a:t>sayısı</a:t>
          </a:r>
          <a:r>
            <a:rPr dirty="0"/>
            <a:t>: </a:t>
          </a:r>
          <a:endParaRPr lang="hr-HR" b="1" dirty="0"/>
        </a:p>
        <a:p>
          <a:r>
            <a:rPr dirty="0"/>
            <a:t>Transit </a:t>
          </a:r>
          <a:r>
            <a:rPr dirty="0" err="1"/>
            <a:t>ağlar</a:t>
          </a:r>
          <a:r>
            <a:rPr dirty="0"/>
            <a:t>, </a:t>
          </a:r>
          <a:r>
            <a:rPr dirty="0" err="1"/>
            <a:t>yoğun</a:t>
          </a:r>
          <a:r>
            <a:rPr dirty="0"/>
            <a:t> </a:t>
          </a:r>
          <a:r>
            <a:rPr dirty="0" err="1"/>
            <a:t>nüfuslu</a:t>
          </a:r>
          <a:r>
            <a:rPr dirty="0"/>
            <a:t> </a:t>
          </a:r>
          <a:r>
            <a:rPr dirty="0" err="1"/>
            <a:t>bölgelere</a:t>
          </a:r>
          <a:r>
            <a:rPr dirty="0"/>
            <a:t>, </a:t>
          </a:r>
          <a:r>
            <a:rPr dirty="0" err="1"/>
            <a:t>istihdam</a:t>
          </a:r>
          <a:r>
            <a:rPr dirty="0"/>
            <a:t> </a:t>
          </a:r>
          <a:r>
            <a:rPr dirty="0" err="1"/>
            <a:t>merkezlerine</a:t>
          </a:r>
          <a:r>
            <a:rPr dirty="0"/>
            <a:t>, </a:t>
          </a:r>
          <a:r>
            <a:rPr dirty="0" err="1"/>
            <a:t>eğitim</a:t>
          </a:r>
          <a:r>
            <a:rPr dirty="0"/>
            <a:t> </a:t>
          </a:r>
          <a:r>
            <a:rPr dirty="0" err="1"/>
            <a:t>kurumlarına</a:t>
          </a:r>
          <a:r>
            <a:rPr dirty="0"/>
            <a:t> </a:t>
          </a:r>
          <a:r>
            <a:rPr dirty="0" err="1"/>
            <a:t>ve</a:t>
          </a:r>
          <a:r>
            <a:rPr dirty="0"/>
            <a:t> </a:t>
          </a:r>
          <a:r>
            <a:rPr dirty="0" err="1"/>
            <a:t>kilit</a:t>
          </a:r>
          <a:r>
            <a:rPr dirty="0"/>
            <a:t> </a:t>
          </a:r>
          <a:r>
            <a:rPr dirty="0" err="1"/>
            <a:t>destinasyonlara</a:t>
          </a:r>
          <a:r>
            <a:rPr dirty="0"/>
            <a:t> </a:t>
          </a:r>
          <a:r>
            <a:rPr dirty="0" err="1"/>
            <a:t>hizmet</a:t>
          </a:r>
          <a:r>
            <a:rPr dirty="0"/>
            <a:t> </a:t>
          </a:r>
          <a:r>
            <a:rPr dirty="0" err="1"/>
            <a:t>etmeli</a:t>
          </a:r>
          <a:r>
            <a:rPr dirty="0"/>
            <a:t> </a:t>
          </a:r>
          <a:r>
            <a:rPr dirty="0" err="1"/>
            <a:t>ve</a:t>
          </a:r>
          <a:r>
            <a:rPr dirty="0"/>
            <a:t> </a:t>
          </a:r>
          <a:r>
            <a:rPr dirty="0" err="1"/>
            <a:t>çok</a:t>
          </a:r>
          <a:r>
            <a:rPr dirty="0"/>
            <a:t> </a:t>
          </a:r>
          <a:r>
            <a:rPr dirty="0" err="1"/>
            <a:t>çeşitli</a:t>
          </a:r>
          <a:r>
            <a:rPr dirty="0"/>
            <a:t> </a:t>
          </a:r>
          <a:r>
            <a:rPr dirty="0" err="1"/>
            <a:t>sakinler</a:t>
          </a:r>
          <a:r>
            <a:rPr dirty="0"/>
            <a:t> </a:t>
          </a:r>
          <a:r>
            <a:rPr dirty="0" err="1"/>
            <a:t>için</a:t>
          </a:r>
          <a:r>
            <a:rPr dirty="0"/>
            <a:t> </a:t>
          </a:r>
          <a:r>
            <a:rPr dirty="0" err="1"/>
            <a:t>uygun</a:t>
          </a:r>
          <a:r>
            <a:rPr dirty="0"/>
            <a:t> </a:t>
          </a:r>
          <a:r>
            <a:rPr dirty="0" err="1"/>
            <a:t>erişim</a:t>
          </a:r>
          <a:r>
            <a:rPr dirty="0"/>
            <a:t> </a:t>
          </a:r>
          <a:r>
            <a:rPr dirty="0" err="1"/>
            <a:t>sağlamalıdır</a:t>
          </a:r>
          <a:r>
            <a:rPr dirty="0"/>
            <a:t>.</a:t>
          </a:r>
        </a:p>
      </dgm:t>
    </dgm:pt>
    <dgm:pt modelId="{D76AF286-A4BA-4C93-B019-BF9EEF9CBD87}" type="parTrans" cxnId="{A42A543E-5E62-4430-B20F-6ED005F9FEBD}">
      <dgm:prSet/>
      <dgm:spPr/>
      <dgm:t>
        <a:bodyPr/>
        <a:lstStyle/>
        <a:p>
          <a:endParaRPr lang="en-US"/>
        </a:p>
      </dgm:t>
    </dgm:pt>
    <dgm:pt modelId="{D2E5D5A9-F583-4EC2-997B-08B61A06BC4C}" type="sibTrans" cxnId="{A42A543E-5E62-4430-B20F-6ED005F9FEBD}">
      <dgm:prSet/>
      <dgm:spPr/>
      <dgm:t>
        <a:bodyPr/>
        <a:lstStyle/>
        <a:p>
          <a:endParaRPr lang="en-US"/>
        </a:p>
      </dgm:t>
    </dgm:pt>
    <dgm:pt modelId="{2E43A2DF-8D24-45F4-8EB0-7F3DBB18C2F4}">
      <dgm:prSet/>
      <dgm:spPr>
        <a:solidFill>
          <a:schemeClr val="accent2">
            <a:lumMod val="60000"/>
            <a:lumOff val="40000"/>
          </a:schemeClr>
        </a:solidFill>
        <a:ln>
          <a:solidFill>
            <a:schemeClr val="accent2">
              <a:lumMod val="60000"/>
              <a:lumOff val="40000"/>
            </a:schemeClr>
          </a:solidFill>
        </a:ln>
      </dgm:spPr>
      <dgm:t>
        <a:bodyPr/>
        <a:lstStyle/>
        <a:p>
          <a:pPr>
            <a:defRPr b="1"/>
          </a:pPr>
          <a:r>
            <a:rPr dirty="0" err="1"/>
            <a:t>Çevresel</a:t>
          </a:r>
          <a:r>
            <a:rPr dirty="0"/>
            <a:t> </a:t>
          </a:r>
          <a:r>
            <a:rPr dirty="0" err="1"/>
            <a:t>Sürdürülebilirlik</a:t>
          </a:r>
          <a:endParaRPr lang="hr-HR" b="1" dirty="0"/>
        </a:p>
        <a:p>
          <a:r>
            <a:rPr dirty="0" err="1"/>
            <a:t>Toplu</a:t>
          </a:r>
          <a:r>
            <a:rPr dirty="0"/>
            <a:t> </a:t>
          </a:r>
          <a:r>
            <a:rPr dirty="0" err="1"/>
            <a:t>taşıma</a:t>
          </a:r>
          <a:r>
            <a:rPr dirty="0"/>
            <a:t> </a:t>
          </a:r>
          <a:r>
            <a:rPr dirty="0" err="1"/>
            <a:t>planlamasında</a:t>
          </a:r>
          <a:r>
            <a:rPr dirty="0"/>
            <a:t> </a:t>
          </a:r>
          <a:r>
            <a:rPr dirty="0" err="1"/>
            <a:t>sürdürülebilir</a:t>
          </a:r>
          <a:r>
            <a:rPr dirty="0"/>
            <a:t> </a:t>
          </a:r>
          <a:r>
            <a:rPr dirty="0" err="1"/>
            <a:t>uygulamaları</a:t>
          </a:r>
          <a:r>
            <a:rPr b="1" dirty="0"/>
            <a:t> </a:t>
          </a:r>
          <a:r>
            <a:rPr dirty="0" err="1"/>
            <a:t>önceliklendirmek</a:t>
          </a:r>
          <a:r>
            <a:rPr dirty="0"/>
            <a:t>, </a:t>
          </a:r>
          <a:r>
            <a:rPr dirty="0" err="1"/>
            <a:t>karbon</a:t>
          </a:r>
          <a:r>
            <a:rPr dirty="0"/>
            <a:t> </a:t>
          </a:r>
          <a:r>
            <a:rPr dirty="0" err="1"/>
            <a:t>emisyonlarını</a:t>
          </a:r>
          <a:r>
            <a:rPr dirty="0"/>
            <a:t> </a:t>
          </a:r>
          <a:r>
            <a:rPr dirty="0" err="1"/>
            <a:t>azaltmak</a:t>
          </a:r>
          <a:r>
            <a:rPr dirty="0"/>
            <a:t> </a:t>
          </a:r>
          <a:r>
            <a:rPr dirty="0" err="1"/>
            <a:t>ve</a:t>
          </a:r>
          <a:r>
            <a:rPr dirty="0"/>
            <a:t> </a:t>
          </a:r>
          <a:r>
            <a:rPr dirty="0" err="1"/>
            <a:t>çevresel</a:t>
          </a:r>
          <a:r>
            <a:rPr dirty="0"/>
            <a:t> </a:t>
          </a:r>
          <a:r>
            <a:rPr dirty="0" err="1"/>
            <a:t>etkiyi</a:t>
          </a:r>
          <a:r>
            <a:rPr dirty="0"/>
            <a:t> </a:t>
          </a:r>
          <a:r>
            <a:rPr dirty="0" err="1"/>
            <a:t>en</a:t>
          </a:r>
          <a:r>
            <a:rPr dirty="0"/>
            <a:t> </a:t>
          </a:r>
          <a:r>
            <a:rPr dirty="0" err="1"/>
            <a:t>aza</a:t>
          </a:r>
          <a:r>
            <a:rPr dirty="0"/>
            <a:t> </a:t>
          </a:r>
          <a:r>
            <a:rPr dirty="0" err="1"/>
            <a:t>indirmek</a:t>
          </a:r>
          <a:r>
            <a:rPr dirty="0"/>
            <a:t> </a:t>
          </a:r>
          <a:r>
            <a:rPr dirty="0" err="1"/>
            <a:t>için</a:t>
          </a:r>
          <a:r>
            <a:rPr dirty="0"/>
            <a:t> </a:t>
          </a:r>
          <a:r>
            <a:rPr dirty="0" err="1"/>
            <a:t>elektrikli</a:t>
          </a:r>
          <a:r>
            <a:rPr dirty="0"/>
            <a:t> </a:t>
          </a:r>
          <a:r>
            <a:rPr dirty="0" err="1"/>
            <a:t>otobüsleri</a:t>
          </a:r>
          <a:r>
            <a:rPr dirty="0"/>
            <a:t>, </a:t>
          </a:r>
          <a:r>
            <a:rPr dirty="0" err="1"/>
            <a:t>rejeneratif</a:t>
          </a:r>
          <a:r>
            <a:rPr dirty="0"/>
            <a:t> </a:t>
          </a:r>
          <a:r>
            <a:rPr dirty="0" err="1"/>
            <a:t>fren</a:t>
          </a:r>
          <a:r>
            <a:rPr dirty="0"/>
            <a:t> </a:t>
          </a:r>
          <a:r>
            <a:rPr dirty="0" err="1"/>
            <a:t>sistemlerini</a:t>
          </a:r>
          <a:r>
            <a:rPr dirty="0"/>
            <a:t> </a:t>
          </a:r>
          <a:r>
            <a:rPr dirty="0" err="1"/>
            <a:t>ve</a:t>
          </a:r>
          <a:r>
            <a:rPr dirty="0"/>
            <a:t> </a:t>
          </a:r>
          <a:r>
            <a:rPr dirty="0" err="1"/>
            <a:t>enerji</a:t>
          </a:r>
          <a:r>
            <a:rPr dirty="0"/>
            <a:t> </a:t>
          </a:r>
          <a:r>
            <a:rPr dirty="0" err="1"/>
            <a:t>tasarruflu</a:t>
          </a:r>
          <a:r>
            <a:rPr dirty="0"/>
            <a:t> transit </a:t>
          </a:r>
          <a:r>
            <a:rPr dirty="0" err="1"/>
            <a:t>istasyonlarını</a:t>
          </a:r>
          <a:r>
            <a:rPr dirty="0"/>
            <a:t> </a:t>
          </a:r>
          <a:r>
            <a:rPr dirty="0" err="1"/>
            <a:t>kullanmayı</a:t>
          </a:r>
          <a:r>
            <a:rPr dirty="0"/>
            <a:t> </a:t>
          </a:r>
          <a:r>
            <a:rPr dirty="0" err="1"/>
            <a:t>içerir</a:t>
          </a:r>
          <a:r>
            <a:rPr dirty="0"/>
            <a:t>.</a:t>
          </a:r>
        </a:p>
      </dgm:t>
    </dgm:pt>
    <dgm:pt modelId="{0783CC68-0C51-4808-BF22-AB86C128E85E}" type="parTrans" cxnId="{79563556-5A7C-49FD-A0ED-7E867FBEE0F6}">
      <dgm:prSet/>
      <dgm:spPr/>
      <dgm:t>
        <a:bodyPr/>
        <a:lstStyle/>
        <a:p>
          <a:endParaRPr lang="en-US"/>
        </a:p>
      </dgm:t>
    </dgm:pt>
    <dgm:pt modelId="{B63EB77C-405E-4F9C-B88C-3C47BC133A6C}" type="sibTrans" cxnId="{79563556-5A7C-49FD-A0ED-7E867FBEE0F6}">
      <dgm:prSet/>
      <dgm:spPr/>
      <dgm:t>
        <a:bodyPr/>
        <a:lstStyle/>
        <a:p>
          <a:endParaRPr lang="en-US"/>
        </a:p>
      </dgm:t>
    </dgm:pt>
    <dgm:pt modelId="{6E02E253-D3A9-4FF1-8001-D665C24EE83A}">
      <dgm:prSet/>
      <dgm:spPr>
        <a:solidFill>
          <a:schemeClr val="accent2">
            <a:lumMod val="60000"/>
            <a:lumOff val="40000"/>
          </a:schemeClr>
        </a:solidFill>
        <a:ln>
          <a:solidFill>
            <a:schemeClr val="accent2">
              <a:lumMod val="60000"/>
              <a:lumOff val="40000"/>
            </a:schemeClr>
          </a:solidFill>
        </a:ln>
      </dgm:spPr>
      <dgm:t>
        <a:bodyPr/>
        <a:lstStyle/>
        <a:p>
          <a:pPr>
            <a:defRPr b="1"/>
          </a:pPr>
          <a:r>
            <a:rPr dirty="0"/>
            <a:t>Uygun </a:t>
          </a:r>
          <a:r>
            <a:rPr dirty="0" err="1"/>
            <a:t>fiyatlı</a:t>
          </a:r>
          <a:r>
            <a:rPr dirty="0"/>
            <a:t> </a:t>
          </a:r>
          <a:r>
            <a:rPr dirty="0" err="1"/>
            <a:t>ve</a:t>
          </a:r>
          <a:r>
            <a:rPr dirty="0"/>
            <a:t> </a:t>
          </a:r>
          <a:r>
            <a:rPr dirty="0" err="1"/>
            <a:t>kapsayıcı</a:t>
          </a:r>
          <a:r>
            <a:rPr dirty="0"/>
            <a:t> </a:t>
          </a:r>
          <a:r>
            <a:rPr dirty="0" err="1"/>
            <a:t>mobilite</a:t>
          </a:r>
          <a:r>
            <a:rPr dirty="0"/>
            <a:t>:</a:t>
          </a:r>
          <a:endParaRPr lang="hr-HR" b="1" dirty="0"/>
        </a:p>
        <a:p>
          <a:r>
            <a:rPr b="1" dirty="0"/>
            <a:t> </a:t>
          </a:r>
          <a:r>
            <a:rPr dirty="0" err="1"/>
            <a:t>Toplu</a:t>
          </a:r>
          <a:r>
            <a:rPr dirty="0"/>
            <a:t> </a:t>
          </a:r>
          <a:r>
            <a:rPr dirty="0" err="1"/>
            <a:t>taşıma</a:t>
          </a:r>
          <a:r>
            <a:rPr dirty="0"/>
            <a:t>, </a:t>
          </a:r>
          <a:r>
            <a:rPr dirty="0" err="1"/>
            <a:t>gelir</a:t>
          </a:r>
          <a:r>
            <a:rPr dirty="0"/>
            <a:t> </a:t>
          </a:r>
          <a:r>
            <a:rPr dirty="0" err="1"/>
            <a:t>düzeyine</a:t>
          </a:r>
          <a:r>
            <a:rPr dirty="0"/>
            <a:t> </a:t>
          </a:r>
          <a:r>
            <a:rPr dirty="0" err="1"/>
            <a:t>bakılmaksızın</a:t>
          </a:r>
          <a:r>
            <a:rPr dirty="0"/>
            <a:t>, </a:t>
          </a:r>
          <a:r>
            <a:rPr dirty="0" err="1"/>
            <a:t>tüm</a:t>
          </a:r>
          <a:r>
            <a:rPr dirty="0"/>
            <a:t> </a:t>
          </a:r>
          <a:r>
            <a:rPr dirty="0" err="1"/>
            <a:t>sakinler</a:t>
          </a:r>
          <a:r>
            <a:rPr dirty="0"/>
            <a:t> </a:t>
          </a:r>
          <a:r>
            <a:rPr dirty="0" err="1"/>
            <a:t>için</a:t>
          </a:r>
          <a:r>
            <a:rPr dirty="0"/>
            <a:t> </a:t>
          </a:r>
          <a:r>
            <a:rPr dirty="0" err="1"/>
            <a:t>eşit</a:t>
          </a:r>
          <a:r>
            <a:rPr dirty="0"/>
            <a:t> </a:t>
          </a:r>
          <a:r>
            <a:rPr dirty="0" err="1"/>
            <a:t>erişim</a:t>
          </a:r>
          <a:r>
            <a:rPr dirty="0"/>
            <a:t> </a:t>
          </a:r>
          <a:r>
            <a:rPr dirty="0" err="1"/>
            <a:t>sağlamak</a:t>
          </a:r>
          <a:r>
            <a:rPr dirty="0"/>
            <a:t>, </a:t>
          </a:r>
          <a:r>
            <a:rPr dirty="0" err="1"/>
            <a:t>sosyal</a:t>
          </a:r>
          <a:r>
            <a:rPr dirty="0"/>
            <a:t> </a:t>
          </a:r>
          <a:r>
            <a:rPr dirty="0" err="1"/>
            <a:t>katılımı</a:t>
          </a:r>
          <a:r>
            <a:rPr dirty="0"/>
            <a:t> </a:t>
          </a:r>
          <a:r>
            <a:rPr dirty="0" err="1"/>
            <a:t>teşvik</a:t>
          </a:r>
          <a:r>
            <a:rPr dirty="0"/>
            <a:t> </a:t>
          </a:r>
          <a:r>
            <a:rPr dirty="0" err="1"/>
            <a:t>etmek</a:t>
          </a:r>
          <a:r>
            <a:rPr dirty="0"/>
            <a:t> </a:t>
          </a:r>
          <a:r>
            <a:rPr dirty="0" err="1"/>
            <a:t>ve</a:t>
          </a:r>
          <a:r>
            <a:rPr dirty="0"/>
            <a:t> </a:t>
          </a:r>
          <a:r>
            <a:rPr dirty="0" err="1"/>
            <a:t>özel</a:t>
          </a:r>
          <a:r>
            <a:rPr dirty="0"/>
            <a:t> </a:t>
          </a:r>
          <a:r>
            <a:rPr dirty="0" err="1"/>
            <a:t>araçlara</a:t>
          </a:r>
          <a:r>
            <a:rPr dirty="0"/>
            <a:t> </a:t>
          </a:r>
          <a:r>
            <a:rPr dirty="0" err="1"/>
            <a:t>bağımlılığı</a:t>
          </a:r>
          <a:r>
            <a:rPr dirty="0"/>
            <a:t> </a:t>
          </a:r>
          <a:r>
            <a:rPr dirty="0" err="1"/>
            <a:t>azaltmak</a:t>
          </a:r>
          <a:r>
            <a:rPr dirty="0"/>
            <a:t> </a:t>
          </a:r>
          <a:r>
            <a:rPr dirty="0" err="1"/>
            <a:t>için</a:t>
          </a:r>
          <a:r>
            <a:rPr dirty="0"/>
            <a:t> </a:t>
          </a:r>
          <a:r>
            <a:rPr dirty="0" err="1"/>
            <a:t>uygun</a:t>
          </a:r>
          <a:r>
            <a:rPr dirty="0"/>
            <a:t> </a:t>
          </a:r>
          <a:r>
            <a:rPr dirty="0" err="1"/>
            <a:t>fiyatlı</a:t>
          </a:r>
          <a:r>
            <a:rPr dirty="0"/>
            <a:t> </a:t>
          </a:r>
          <a:r>
            <a:rPr dirty="0" err="1"/>
            <a:t>ücret</a:t>
          </a:r>
          <a:r>
            <a:rPr dirty="0"/>
            <a:t> </a:t>
          </a:r>
          <a:r>
            <a:rPr dirty="0" err="1"/>
            <a:t>seçenekleri</a:t>
          </a:r>
          <a:r>
            <a:rPr dirty="0"/>
            <a:t> </a:t>
          </a:r>
          <a:r>
            <a:rPr dirty="0" err="1"/>
            <a:t>sunmalıdır</a:t>
          </a:r>
          <a:r>
            <a:rPr dirty="0"/>
            <a:t>.</a:t>
          </a:r>
        </a:p>
      </dgm:t>
    </dgm:pt>
    <dgm:pt modelId="{73731F7E-4A28-4804-A1BE-47DC1907E42A}" type="parTrans" cxnId="{BAF0E66F-0B60-4D3E-A163-774301C7D5A6}">
      <dgm:prSet/>
      <dgm:spPr/>
      <dgm:t>
        <a:bodyPr/>
        <a:lstStyle/>
        <a:p>
          <a:endParaRPr lang="en-US"/>
        </a:p>
      </dgm:t>
    </dgm:pt>
    <dgm:pt modelId="{3C0ED0C1-9CED-4017-9948-71A6DE114B62}" type="sibTrans" cxnId="{BAF0E66F-0B60-4D3E-A163-774301C7D5A6}">
      <dgm:prSet/>
      <dgm:spPr/>
      <dgm:t>
        <a:bodyPr/>
        <a:lstStyle/>
        <a:p>
          <a:endParaRPr lang="en-US"/>
        </a:p>
      </dgm:t>
    </dgm:pt>
    <dgm:pt modelId="{296AC316-C945-46CB-B478-2334CEC34316}" type="pres">
      <dgm:prSet presAssocID="{4194C621-6923-4828-89B1-2A8F95EFCA5D}" presName="Name0" presStyleCnt="0">
        <dgm:presLayoutVars>
          <dgm:chPref val="1"/>
          <dgm:dir/>
          <dgm:animOne val="branch"/>
          <dgm:animLvl val="lvl"/>
          <dgm:resizeHandles/>
        </dgm:presLayoutVars>
      </dgm:prSet>
      <dgm:spPr/>
    </dgm:pt>
    <dgm:pt modelId="{3AC9E1CB-E9D3-41D5-8794-1CFA9BB48097}" type="pres">
      <dgm:prSet presAssocID="{859C300D-1C9B-4FA2-8883-BA20DD56780F}" presName="vertOne" presStyleCnt="0"/>
      <dgm:spPr/>
    </dgm:pt>
    <dgm:pt modelId="{1452EE96-5FB9-4600-8ADC-2EC00069AE8E}" type="pres">
      <dgm:prSet presAssocID="{859C300D-1C9B-4FA2-8883-BA20DD56780F}" presName="txOne" presStyleLbl="node0" presStyleIdx="0" presStyleCnt="4">
        <dgm:presLayoutVars>
          <dgm:chPref val="3"/>
        </dgm:presLayoutVars>
      </dgm:prSet>
      <dgm:spPr/>
    </dgm:pt>
    <dgm:pt modelId="{47F956B2-DD29-4E6B-A395-E5D86D8742CB}" type="pres">
      <dgm:prSet presAssocID="{859C300D-1C9B-4FA2-8883-BA20DD56780F}" presName="horzOne" presStyleCnt="0"/>
      <dgm:spPr/>
    </dgm:pt>
    <dgm:pt modelId="{E2CA2AFF-EDD5-4D88-9455-33345073F7EF}" type="pres">
      <dgm:prSet presAssocID="{C83D32B4-BCE9-4E3E-8E53-52B58FF3C132}" presName="sibSpaceOne" presStyleCnt="0"/>
      <dgm:spPr/>
    </dgm:pt>
    <dgm:pt modelId="{FC83EE43-F3B8-48B0-82EC-858281A8BDE5}" type="pres">
      <dgm:prSet presAssocID="{5C86C0CC-D81F-437F-A097-086B7ED7EA3A}" presName="vertOne" presStyleCnt="0"/>
      <dgm:spPr/>
    </dgm:pt>
    <dgm:pt modelId="{5D654995-25F7-452C-8FC5-F9CA5BCB530E}" type="pres">
      <dgm:prSet presAssocID="{5C86C0CC-D81F-437F-A097-086B7ED7EA3A}" presName="txOne" presStyleLbl="node0" presStyleIdx="1" presStyleCnt="4">
        <dgm:presLayoutVars>
          <dgm:chPref val="3"/>
        </dgm:presLayoutVars>
      </dgm:prSet>
      <dgm:spPr/>
    </dgm:pt>
    <dgm:pt modelId="{850978BE-10F3-4B91-928A-B3883304DF0E}" type="pres">
      <dgm:prSet presAssocID="{5C86C0CC-D81F-437F-A097-086B7ED7EA3A}" presName="horzOne" presStyleCnt="0"/>
      <dgm:spPr/>
    </dgm:pt>
    <dgm:pt modelId="{01ACA488-A1CC-4156-8F05-179F85C93371}" type="pres">
      <dgm:prSet presAssocID="{D2E5D5A9-F583-4EC2-997B-08B61A06BC4C}" presName="sibSpaceOne" presStyleCnt="0"/>
      <dgm:spPr/>
    </dgm:pt>
    <dgm:pt modelId="{D93485C3-F58A-40DB-A34B-08EF1018280E}" type="pres">
      <dgm:prSet presAssocID="{2E43A2DF-8D24-45F4-8EB0-7F3DBB18C2F4}" presName="vertOne" presStyleCnt="0"/>
      <dgm:spPr/>
    </dgm:pt>
    <dgm:pt modelId="{07A8C179-8688-43B1-8261-365EB6830AB2}" type="pres">
      <dgm:prSet presAssocID="{2E43A2DF-8D24-45F4-8EB0-7F3DBB18C2F4}" presName="txOne" presStyleLbl="node0" presStyleIdx="2" presStyleCnt="4">
        <dgm:presLayoutVars>
          <dgm:chPref val="3"/>
        </dgm:presLayoutVars>
      </dgm:prSet>
      <dgm:spPr/>
    </dgm:pt>
    <dgm:pt modelId="{F8411E40-4B14-47F5-8F85-8A36B4858236}" type="pres">
      <dgm:prSet presAssocID="{2E43A2DF-8D24-45F4-8EB0-7F3DBB18C2F4}" presName="horzOne" presStyleCnt="0"/>
      <dgm:spPr/>
    </dgm:pt>
    <dgm:pt modelId="{E289F43C-BB5C-4CAB-925B-15A70B76C09B}" type="pres">
      <dgm:prSet presAssocID="{B63EB77C-405E-4F9C-B88C-3C47BC133A6C}" presName="sibSpaceOne" presStyleCnt="0"/>
      <dgm:spPr/>
    </dgm:pt>
    <dgm:pt modelId="{35E67D33-E3FA-41FC-9D3D-C330A3644BB7}" type="pres">
      <dgm:prSet presAssocID="{6E02E253-D3A9-4FF1-8001-D665C24EE83A}" presName="vertOne" presStyleCnt="0"/>
      <dgm:spPr/>
    </dgm:pt>
    <dgm:pt modelId="{9C263A29-136C-4B77-83BC-FE7751B815A5}" type="pres">
      <dgm:prSet presAssocID="{6E02E253-D3A9-4FF1-8001-D665C24EE83A}" presName="txOne" presStyleLbl="node0" presStyleIdx="3" presStyleCnt="4">
        <dgm:presLayoutVars>
          <dgm:chPref val="3"/>
        </dgm:presLayoutVars>
      </dgm:prSet>
      <dgm:spPr/>
    </dgm:pt>
    <dgm:pt modelId="{098EBB9C-9301-4A30-B1DB-77414EDE3542}" type="pres">
      <dgm:prSet presAssocID="{6E02E253-D3A9-4FF1-8001-D665C24EE83A}" presName="horzOne" presStyleCnt="0"/>
      <dgm:spPr/>
    </dgm:pt>
  </dgm:ptLst>
  <dgm:cxnLst>
    <dgm:cxn modelId="{ACA18A35-6B17-4AC3-8F82-2A5BF8EF1D74}" srcId="{4194C621-6923-4828-89B1-2A8F95EFCA5D}" destId="{859C300D-1C9B-4FA2-8883-BA20DD56780F}" srcOrd="0" destOrd="0" parTransId="{6A266DA4-B1DE-44B0-B2E5-3B132B8B2B40}" sibTransId="{C83D32B4-BCE9-4E3E-8E53-52B58FF3C132}"/>
    <dgm:cxn modelId="{A42A543E-5E62-4430-B20F-6ED005F9FEBD}" srcId="{4194C621-6923-4828-89B1-2A8F95EFCA5D}" destId="{5C86C0CC-D81F-437F-A097-086B7ED7EA3A}" srcOrd="1" destOrd="0" parTransId="{D76AF286-A4BA-4C93-B019-BF9EEF9CBD87}" sibTransId="{D2E5D5A9-F583-4EC2-997B-08B61A06BC4C}"/>
    <dgm:cxn modelId="{BAF0E66F-0B60-4D3E-A163-774301C7D5A6}" srcId="{4194C621-6923-4828-89B1-2A8F95EFCA5D}" destId="{6E02E253-D3A9-4FF1-8001-D665C24EE83A}" srcOrd="3" destOrd="0" parTransId="{73731F7E-4A28-4804-A1BE-47DC1907E42A}" sibTransId="{3C0ED0C1-9CED-4017-9948-71A6DE114B62}"/>
    <dgm:cxn modelId="{79563556-5A7C-49FD-A0ED-7E867FBEE0F6}" srcId="{4194C621-6923-4828-89B1-2A8F95EFCA5D}" destId="{2E43A2DF-8D24-45F4-8EB0-7F3DBB18C2F4}" srcOrd="2" destOrd="0" parTransId="{0783CC68-0C51-4808-BF22-AB86C128E85E}" sibTransId="{B63EB77C-405E-4F9C-B88C-3C47BC133A6C}"/>
    <dgm:cxn modelId="{7971489D-76F7-445C-8A4B-0F5F3AAB9E49}" type="presOf" srcId="{4194C621-6923-4828-89B1-2A8F95EFCA5D}" destId="{296AC316-C945-46CB-B478-2334CEC34316}" srcOrd="0" destOrd="0" presId="urn:microsoft.com/office/officeart/2005/8/layout/architecture"/>
    <dgm:cxn modelId="{1B4A9BB0-F541-47FF-868E-25E6BACAD2A6}" type="presOf" srcId="{5C86C0CC-D81F-437F-A097-086B7ED7EA3A}" destId="{5D654995-25F7-452C-8FC5-F9CA5BCB530E}" srcOrd="0" destOrd="0" presId="urn:microsoft.com/office/officeart/2005/8/layout/architecture"/>
    <dgm:cxn modelId="{BFB18ACC-03D0-45BC-B40C-8EEF7A5F350A}" type="presOf" srcId="{2E43A2DF-8D24-45F4-8EB0-7F3DBB18C2F4}" destId="{07A8C179-8688-43B1-8261-365EB6830AB2}" srcOrd="0" destOrd="0" presId="urn:microsoft.com/office/officeart/2005/8/layout/architecture"/>
    <dgm:cxn modelId="{36BCE8D9-2B60-4B6D-9BAB-2C4B95E58D7B}" type="presOf" srcId="{6E02E253-D3A9-4FF1-8001-D665C24EE83A}" destId="{9C263A29-136C-4B77-83BC-FE7751B815A5}" srcOrd="0" destOrd="0" presId="urn:microsoft.com/office/officeart/2005/8/layout/architecture"/>
    <dgm:cxn modelId="{EB2980DD-F68F-4A6C-8C32-72D9382D8FDE}" type="presOf" srcId="{859C300D-1C9B-4FA2-8883-BA20DD56780F}" destId="{1452EE96-5FB9-4600-8ADC-2EC00069AE8E}" srcOrd="0" destOrd="0" presId="urn:microsoft.com/office/officeart/2005/8/layout/architecture"/>
    <dgm:cxn modelId="{E7D22159-1444-498A-87CD-B0301F3688C7}" type="presParOf" srcId="{296AC316-C945-46CB-B478-2334CEC34316}" destId="{3AC9E1CB-E9D3-41D5-8794-1CFA9BB48097}" srcOrd="0" destOrd="0" presId="urn:microsoft.com/office/officeart/2005/8/layout/architecture"/>
    <dgm:cxn modelId="{32AE749D-4A0C-402C-85EA-BC6408823663}" type="presParOf" srcId="{3AC9E1CB-E9D3-41D5-8794-1CFA9BB48097}" destId="{1452EE96-5FB9-4600-8ADC-2EC00069AE8E}" srcOrd="0" destOrd="0" presId="urn:microsoft.com/office/officeart/2005/8/layout/architecture"/>
    <dgm:cxn modelId="{B21A28D5-19FF-4F43-96CC-596340DC7353}" type="presParOf" srcId="{3AC9E1CB-E9D3-41D5-8794-1CFA9BB48097}" destId="{47F956B2-DD29-4E6B-A395-E5D86D8742CB}" srcOrd="1" destOrd="0" presId="urn:microsoft.com/office/officeart/2005/8/layout/architecture"/>
    <dgm:cxn modelId="{000D7BBB-B9F0-4E4B-9A70-CE631FFC45DD}" type="presParOf" srcId="{296AC316-C945-46CB-B478-2334CEC34316}" destId="{E2CA2AFF-EDD5-4D88-9455-33345073F7EF}" srcOrd="1" destOrd="0" presId="urn:microsoft.com/office/officeart/2005/8/layout/architecture"/>
    <dgm:cxn modelId="{240302CB-01C9-4BFC-98C4-747D83D474CD}" type="presParOf" srcId="{296AC316-C945-46CB-B478-2334CEC34316}" destId="{FC83EE43-F3B8-48B0-82EC-858281A8BDE5}" srcOrd="2" destOrd="0" presId="urn:microsoft.com/office/officeart/2005/8/layout/architecture"/>
    <dgm:cxn modelId="{98B334A4-CAC2-4B28-AEC3-91DF722EDA3B}" type="presParOf" srcId="{FC83EE43-F3B8-48B0-82EC-858281A8BDE5}" destId="{5D654995-25F7-452C-8FC5-F9CA5BCB530E}" srcOrd="0" destOrd="0" presId="urn:microsoft.com/office/officeart/2005/8/layout/architecture"/>
    <dgm:cxn modelId="{4608D6DA-1EAC-405D-BF5B-9C39EB4477CE}" type="presParOf" srcId="{FC83EE43-F3B8-48B0-82EC-858281A8BDE5}" destId="{850978BE-10F3-4B91-928A-B3883304DF0E}" srcOrd="1" destOrd="0" presId="urn:microsoft.com/office/officeart/2005/8/layout/architecture"/>
    <dgm:cxn modelId="{99EB61F8-BC1B-4863-941F-6C35BD066018}" type="presParOf" srcId="{296AC316-C945-46CB-B478-2334CEC34316}" destId="{01ACA488-A1CC-4156-8F05-179F85C93371}" srcOrd="3" destOrd="0" presId="urn:microsoft.com/office/officeart/2005/8/layout/architecture"/>
    <dgm:cxn modelId="{268B0641-4965-4C79-B6BF-93E110C26091}" type="presParOf" srcId="{296AC316-C945-46CB-B478-2334CEC34316}" destId="{D93485C3-F58A-40DB-A34B-08EF1018280E}" srcOrd="4" destOrd="0" presId="urn:microsoft.com/office/officeart/2005/8/layout/architecture"/>
    <dgm:cxn modelId="{437AE68F-139F-4282-8034-BA3D78ED26C0}" type="presParOf" srcId="{D93485C3-F58A-40DB-A34B-08EF1018280E}" destId="{07A8C179-8688-43B1-8261-365EB6830AB2}" srcOrd="0" destOrd="0" presId="urn:microsoft.com/office/officeart/2005/8/layout/architecture"/>
    <dgm:cxn modelId="{E4566B2B-4122-44F2-B8C8-D6D19F74BEAD}" type="presParOf" srcId="{D93485C3-F58A-40DB-A34B-08EF1018280E}" destId="{F8411E40-4B14-47F5-8F85-8A36B4858236}" srcOrd="1" destOrd="0" presId="urn:microsoft.com/office/officeart/2005/8/layout/architecture"/>
    <dgm:cxn modelId="{014EC82B-367D-4FF2-8C62-8AEC6C87EDD9}" type="presParOf" srcId="{296AC316-C945-46CB-B478-2334CEC34316}" destId="{E289F43C-BB5C-4CAB-925B-15A70B76C09B}" srcOrd="5" destOrd="0" presId="urn:microsoft.com/office/officeart/2005/8/layout/architecture"/>
    <dgm:cxn modelId="{235AA4C2-2C65-48D3-AC0C-EEE0B19CBCD0}" type="presParOf" srcId="{296AC316-C945-46CB-B478-2334CEC34316}" destId="{35E67D33-E3FA-41FC-9D3D-C330A3644BB7}" srcOrd="6" destOrd="0" presId="urn:microsoft.com/office/officeart/2005/8/layout/architecture"/>
    <dgm:cxn modelId="{41BC2E3A-65F6-4BB5-9D46-0DFC74ACC5E6}" type="presParOf" srcId="{35E67D33-E3FA-41FC-9D3D-C330A3644BB7}" destId="{9C263A29-136C-4B77-83BC-FE7751B815A5}" srcOrd="0" destOrd="0" presId="urn:microsoft.com/office/officeart/2005/8/layout/architecture"/>
    <dgm:cxn modelId="{1989F1AA-7D23-49C0-98F6-13BA9623E967}" type="presParOf" srcId="{35E67D33-E3FA-41FC-9D3D-C330A3644BB7}" destId="{098EBB9C-9301-4A30-B1DB-77414EDE3542}" srcOrd="1" destOrd="0" presId="urn:microsoft.com/office/officeart/2005/8/layout/architecture"/>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F954C54-27EE-4315-B78E-1E49645737C1}" type="doc">
      <dgm:prSet loTypeId="urn:microsoft.com/office/officeart/2008/layout/LinedList" loCatId="list" qsTypeId="urn:microsoft.com/office/officeart/2005/8/quickstyle/simple5" qsCatId="simple" csTypeId="urn:microsoft.com/office/officeart/2005/8/colors/colorful1" csCatId="colorful" phldr="1"/>
      <dgm:spPr/>
      <dgm:t>
        <a:bodyPr/>
        <a:lstStyle/>
        <a:p>
          <a:endParaRPr lang="en-US"/>
        </a:p>
      </dgm:t>
    </dgm:pt>
    <dgm:pt modelId="{86AD55CC-F470-45B5-A56E-B895610B028C}">
      <dgm:prSet/>
      <dgm:spPr/>
      <dgm:t>
        <a:bodyPr/>
        <a:lstStyle/>
        <a:p>
          <a:pPr algn="just"/>
          <a:r>
            <a:rPr lang="en-US" b="0" i="0" dirty="0" err="1"/>
            <a:t>Aktif</a:t>
          </a:r>
          <a:r>
            <a:rPr lang="en-US" b="0" i="0" dirty="0"/>
            <a:t> </a:t>
          </a:r>
          <a:r>
            <a:rPr lang="en-US" b="0" i="0" dirty="0" err="1"/>
            <a:t>ulaşım</a:t>
          </a:r>
          <a:r>
            <a:rPr lang="en-US" b="0" i="0" dirty="0"/>
            <a:t>, </a:t>
          </a:r>
          <a:r>
            <a:rPr lang="en-US" b="0" i="0" dirty="0" err="1"/>
            <a:t>yani</a:t>
          </a:r>
          <a:r>
            <a:rPr lang="en-US" b="0" i="0" dirty="0"/>
            <a:t> yaya </a:t>
          </a:r>
          <a:r>
            <a:rPr lang="en-US" b="0" i="0" dirty="0" err="1"/>
            <a:t>hareketi</a:t>
          </a:r>
          <a:r>
            <a:rPr lang="en-US" b="0" i="0" dirty="0"/>
            <a:t> </a:t>
          </a:r>
          <a:r>
            <a:rPr lang="en-US" b="0" i="0" dirty="0" err="1"/>
            <a:t>ve</a:t>
          </a:r>
          <a:r>
            <a:rPr lang="en-US" b="0" i="0" dirty="0"/>
            <a:t> </a:t>
          </a:r>
          <a:r>
            <a:rPr lang="en-US" b="0" i="0" dirty="0" err="1"/>
            <a:t>bisiklet</a:t>
          </a:r>
          <a:r>
            <a:rPr lang="en-US" b="0" i="0" dirty="0"/>
            <a:t> </a:t>
          </a:r>
          <a:r>
            <a:rPr lang="en-US" b="0" i="0" dirty="0" err="1"/>
            <a:t>kullanımı</a:t>
          </a:r>
          <a:r>
            <a:rPr lang="en-US" b="0" i="0" dirty="0"/>
            <a:t>, </a:t>
          </a:r>
          <a:r>
            <a:rPr lang="en-US" b="0" i="0" dirty="0" err="1"/>
            <a:t>sürdürülebilir</a:t>
          </a:r>
          <a:r>
            <a:rPr lang="en-US" b="0" i="0" dirty="0"/>
            <a:t> </a:t>
          </a:r>
          <a:r>
            <a:rPr lang="en-US" b="0" i="0" dirty="0" err="1"/>
            <a:t>ulaşım</a:t>
          </a:r>
          <a:r>
            <a:rPr lang="en-US" b="0" i="0" dirty="0"/>
            <a:t> </a:t>
          </a:r>
          <a:r>
            <a:rPr lang="en-US" b="0" i="0" dirty="0" err="1"/>
            <a:t>planlamasında</a:t>
          </a:r>
          <a:r>
            <a:rPr lang="en-US" b="0" i="0" dirty="0"/>
            <a:t> </a:t>
          </a:r>
          <a:r>
            <a:rPr lang="en-US" b="0" i="0" dirty="0" err="1"/>
            <a:t>kritik</a:t>
          </a:r>
          <a:r>
            <a:rPr lang="en-US" b="0" i="0" dirty="0"/>
            <a:t> </a:t>
          </a:r>
          <a:r>
            <a:rPr lang="en-US" b="0" i="0" dirty="0" err="1"/>
            <a:t>bir</a:t>
          </a:r>
          <a:r>
            <a:rPr lang="en-US" b="0" i="0" dirty="0"/>
            <a:t> </a:t>
          </a:r>
          <a:r>
            <a:rPr lang="en-US" b="0" i="0" dirty="0" err="1"/>
            <a:t>rol</a:t>
          </a:r>
          <a:r>
            <a:rPr lang="en-US" b="0" i="0" dirty="0"/>
            <a:t> </a:t>
          </a:r>
          <a:r>
            <a:rPr lang="en-US" b="0" i="0" dirty="0" err="1"/>
            <a:t>üstlenmektedir</a:t>
          </a:r>
          <a:r>
            <a:rPr lang="en-US" b="0" i="0" dirty="0"/>
            <a:t>. Bu </a:t>
          </a:r>
          <a:r>
            <a:rPr lang="en-US" b="0" i="0" dirty="0" err="1"/>
            <a:t>tür</a:t>
          </a:r>
          <a:r>
            <a:rPr lang="en-US" b="0" i="0" dirty="0"/>
            <a:t> </a:t>
          </a:r>
          <a:r>
            <a:rPr lang="en-US" b="0" i="0" dirty="0" err="1"/>
            <a:t>ulaşım</a:t>
          </a:r>
          <a:r>
            <a:rPr lang="en-US" b="0" i="0" dirty="0"/>
            <a:t> </a:t>
          </a:r>
          <a:r>
            <a:rPr lang="en-US" b="0" i="0" dirty="0" err="1"/>
            <a:t>biçimlerini</a:t>
          </a:r>
          <a:r>
            <a:rPr lang="en-US" b="0" i="0" dirty="0"/>
            <a:t> </a:t>
          </a:r>
          <a:r>
            <a:rPr lang="en-US" b="0" i="0" dirty="0" err="1"/>
            <a:t>teşvik</a:t>
          </a:r>
          <a:r>
            <a:rPr lang="en-US" b="0" i="0" dirty="0"/>
            <a:t> </a:t>
          </a:r>
          <a:r>
            <a:rPr lang="en-US" b="0" i="0" dirty="0" err="1"/>
            <a:t>etmek</a:t>
          </a:r>
          <a:r>
            <a:rPr lang="en-US" b="0" i="0" dirty="0"/>
            <a:t>, </a:t>
          </a:r>
          <a:r>
            <a:rPr lang="en-US" b="0" i="0" dirty="0" err="1"/>
            <a:t>halk</a:t>
          </a:r>
          <a:r>
            <a:rPr lang="en-US" b="0" i="0" dirty="0"/>
            <a:t> </a:t>
          </a:r>
          <a:r>
            <a:rPr lang="en-US" b="0" i="0" dirty="0" err="1"/>
            <a:t>sağlığının</a:t>
          </a:r>
          <a:r>
            <a:rPr lang="en-US" b="0" i="0" dirty="0"/>
            <a:t> </a:t>
          </a:r>
          <a:r>
            <a:rPr lang="en-US" b="0" i="0" dirty="0" err="1"/>
            <a:t>iyileştirilmesi</a:t>
          </a:r>
          <a:r>
            <a:rPr lang="en-US" b="0" i="0" dirty="0"/>
            <a:t>, </a:t>
          </a:r>
          <a:r>
            <a:rPr lang="en-US" b="0" i="0" dirty="0" err="1"/>
            <a:t>trafik</a:t>
          </a:r>
          <a:r>
            <a:rPr lang="en-US" b="0" i="0" dirty="0"/>
            <a:t> </a:t>
          </a:r>
          <a:r>
            <a:rPr lang="en-US" b="0" i="0" dirty="0" err="1"/>
            <a:t>sıkışıklığının</a:t>
          </a:r>
          <a:r>
            <a:rPr lang="en-US" b="0" i="0" dirty="0"/>
            <a:t> </a:t>
          </a:r>
          <a:r>
            <a:rPr lang="en-US" b="0" i="0" dirty="0" err="1"/>
            <a:t>hafifletilmesi</a:t>
          </a:r>
          <a:r>
            <a:rPr lang="en-US" b="0" i="0" dirty="0"/>
            <a:t> </a:t>
          </a:r>
          <a:r>
            <a:rPr lang="en-US" b="0" i="0" dirty="0" err="1"/>
            <a:t>ve</a:t>
          </a:r>
          <a:r>
            <a:rPr lang="en-US" b="0" i="0" dirty="0"/>
            <a:t> </a:t>
          </a:r>
          <a:r>
            <a:rPr lang="en-US" b="0" i="0" dirty="0" err="1"/>
            <a:t>çevresel</a:t>
          </a:r>
          <a:r>
            <a:rPr lang="en-US" b="0" i="0" dirty="0"/>
            <a:t> </a:t>
          </a:r>
          <a:r>
            <a:rPr lang="en-US" b="0" i="0" dirty="0" err="1"/>
            <a:t>etkinin</a:t>
          </a:r>
          <a:r>
            <a:rPr lang="en-US" b="0" i="0" dirty="0"/>
            <a:t> minimize </a:t>
          </a:r>
          <a:r>
            <a:rPr lang="en-US" b="0" i="0" dirty="0" err="1"/>
            <a:t>edilmesi</a:t>
          </a:r>
          <a:r>
            <a:rPr lang="en-US" b="0" i="0" dirty="0"/>
            <a:t> </a:t>
          </a:r>
          <a:r>
            <a:rPr lang="en-US" b="0" i="0" dirty="0" err="1"/>
            <a:t>gibi</a:t>
          </a:r>
          <a:r>
            <a:rPr lang="en-US" b="0" i="0" dirty="0"/>
            <a:t> </a:t>
          </a:r>
          <a:r>
            <a:rPr lang="en-US" b="0" i="0" dirty="0" err="1"/>
            <a:t>bir</a:t>
          </a:r>
          <a:r>
            <a:rPr lang="en-US" b="0" i="0" dirty="0"/>
            <a:t> dizi </a:t>
          </a:r>
          <a:r>
            <a:rPr lang="en-US" b="0" i="0" dirty="0" err="1"/>
            <a:t>fayda</a:t>
          </a:r>
          <a:r>
            <a:rPr lang="en-US" b="0" i="0" dirty="0"/>
            <a:t> </a:t>
          </a:r>
          <a:r>
            <a:rPr lang="en-US" b="0" i="0" dirty="0" err="1"/>
            <a:t>sağlar</a:t>
          </a:r>
          <a:r>
            <a:rPr lang="en-US" b="0" i="0" dirty="0"/>
            <a:t>.</a:t>
          </a:r>
          <a:endParaRPr dirty="0"/>
        </a:p>
      </dgm:t>
    </dgm:pt>
    <dgm:pt modelId="{EA4BC21E-D6FC-44FC-BB8A-C78DF45582E0}" type="parTrans" cxnId="{0C3E1B75-EAE8-49F1-9284-830FC95963BE}">
      <dgm:prSet/>
      <dgm:spPr/>
      <dgm:t>
        <a:bodyPr/>
        <a:lstStyle/>
        <a:p>
          <a:endParaRPr lang="en-US"/>
        </a:p>
      </dgm:t>
    </dgm:pt>
    <dgm:pt modelId="{72C86EA6-628C-4954-8A3F-83AB15D76450}" type="sibTrans" cxnId="{0C3E1B75-EAE8-49F1-9284-830FC95963BE}">
      <dgm:prSet/>
      <dgm:spPr/>
      <dgm:t>
        <a:bodyPr/>
        <a:lstStyle/>
        <a:p>
          <a:endParaRPr lang="en-US"/>
        </a:p>
      </dgm:t>
    </dgm:pt>
    <dgm:pt modelId="{E3BE1CDA-02D2-47D9-89B7-36E5C883D16E}">
      <dgm:prSet/>
      <dgm:spPr/>
      <dgm:t>
        <a:bodyPr/>
        <a:lstStyle/>
        <a:p>
          <a:pPr algn="just"/>
          <a:r>
            <a:rPr lang="en-US" b="0" i="0" dirty="0"/>
            <a:t>Yaya </a:t>
          </a:r>
          <a:r>
            <a:rPr lang="en-US" b="0" i="0" dirty="0" err="1"/>
            <a:t>hareketini</a:t>
          </a:r>
          <a:r>
            <a:rPr lang="en-US" b="0" i="0" dirty="0"/>
            <a:t> </a:t>
          </a:r>
          <a:r>
            <a:rPr lang="en-US" b="0" i="0" dirty="0" err="1"/>
            <a:t>ve</a:t>
          </a:r>
          <a:r>
            <a:rPr lang="en-US" b="0" i="0" dirty="0"/>
            <a:t> </a:t>
          </a:r>
          <a:r>
            <a:rPr lang="en-US" b="0" i="0" dirty="0" err="1"/>
            <a:t>bisiklet</a:t>
          </a:r>
          <a:r>
            <a:rPr lang="en-US" b="0" i="0" dirty="0"/>
            <a:t> </a:t>
          </a:r>
          <a:r>
            <a:rPr lang="en-US" b="0" i="0" dirty="0" err="1"/>
            <a:t>kullanımını</a:t>
          </a:r>
          <a:r>
            <a:rPr lang="en-US" b="0" i="0" dirty="0"/>
            <a:t> </a:t>
          </a:r>
          <a:r>
            <a:rPr lang="en-US" b="0" i="0" dirty="0" err="1"/>
            <a:t>teşvik</a:t>
          </a:r>
          <a:r>
            <a:rPr lang="en-US" b="0" i="0" dirty="0"/>
            <a:t> </a:t>
          </a:r>
          <a:r>
            <a:rPr lang="en-US" b="0" i="0" dirty="0" err="1"/>
            <a:t>etmek</a:t>
          </a:r>
          <a:r>
            <a:rPr lang="en-US" b="0" i="0" dirty="0"/>
            <a:t> </a:t>
          </a:r>
          <a:r>
            <a:rPr lang="en-US" b="0" i="0" dirty="0" err="1"/>
            <a:t>adına</a:t>
          </a:r>
          <a:r>
            <a:rPr lang="en-US" b="0" i="0" dirty="0"/>
            <a:t>, </a:t>
          </a:r>
          <a:r>
            <a:rPr lang="en-US" b="0" i="0" dirty="0" err="1"/>
            <a:t>şehirlerin</a:t>
          </a:r>
          <a:r>
            <a:rPr lang="en-US" b="0" i="0" dirty="0"/>
            <a:t> </a:t>
          </a:r>
          <a:r>
            <a:rPr lang="en-US" b="0" i="0" dirty="0" err="1"/>
            <a:t>özel</a:t>
          </a:r>
          <a:r>
            <a:rPr lang="en-US" b="0" i="0" dirty="0"/>
            <a:t> </a:t>
          </a:r>
          <a:r>
            <a:rPr lang="en-US" b="0" i="0" dirty="0" err="1"/>
            <a:t>bir</a:t>
          </a:r>
          <a:r>
            <a:rPr lang="en-US" b="0" i="0" dirty="0"/>
            <a:t> </a:t>
          </a:r>
          <a:r>
            <a:rPr lang="en-US" b="0" i="0" dirty="0" err="1"/>
            <a:t>altyapı</a:t>
          </a:r>
          <a:r>
            <a:rPr lang="en-US" b="0" i="0" dirty="0"/>
            <a:t> </a:t>
          </a:r>
          <a:r>
            <a:rPr lang="en-US" b="0" i="0" dirty="0" err="1"/>
            <a:t>oluşturması</a:t>
          </a:r>
          <a:r>
            <a:rPr lang="en-US" b="0" i="0" dirty="0"/>
            <a:t> </a:t>
          </a:r>
          <a:r>
            <a:rPr lang="en-US" b="0" i="0" dirty="0" err="1"/>
            <a:t>gerekmektedir</a:t>
          </a:r>
          <a:r>
            <a:rPr lang="en-US" b="0" i="0" dirty="0"/>
            <a:t>. Bu, </a:t>
          </a:r>
          <a:r>
            <a:rPr lang="en-US" b="0" i="0" dirty="0" err="1"/>
            <a:t>bisiklet</a:t>
          </a:r>
          <a:r>
            <a:rPr lang="en-US" b="0" i="0" dirty="0"/>
            <a:t> </a:t>
          </a:r>
          <a:r>
            <a:rPr lang="en-US" b="0" i="0" dirty="0" err="1"/>
            <a:t>yolları</a:t>
          </a:r>
          <a:r>
            <a:rPr lang="en-US" b="0" i="0" dirty="0"/>
            <a:t> </a:t>
          </a:r>
          <a:r>
            <a:rPr lang="en-US" b="0" i="0" dirty="0" err="1"/>
            <a:t>ve</a:t>
          </a:r>
          <a:r>
            <a:rPr lang="en-US" b="0" i="0" dirty="0"/>
            <a:t> yaya </a:t>
          </a:r>
          <a:r>
            <a:rPr lang="en-US" b="0" i="0" dirty="0" err="1"/>
            <a:t>dostu</a:t>
          </a:r>
          <a:r>
            <a:rPr lang="en-US" b="0" i="0" dirty="0"/>
            <a:t> </a:t>
          </a:r>
          <a:r>
            <a:rPr lang="en-US" b="0" i="0" dirty="0" err="1"/>
            <a:t>kaldırımların</a:t>
          </a:r>
          <a:r>
            <a:rPr lang="en-US" b="0" i="0" dirty="0"/>
            <a:t> </a:t>
          </a:r>
          <a:r>
            <a:rPr lang="en-US" b="0" i="0" dirty="0" err="1"/>
            <a:t>inşası</a:t>
          </a:r>
          <a:r>
            <a:rPr lang="en-US" b="0" i="0" dirty="0"/>
            <a:t> </a:t>
          </a:r>
          <a:r>
            <a:rPr lang="en-US" b="0" i="0" dirty="0" err="1"/>
            <a:t>ile</a:t>
          </a:r>
          <a:r>
            <a:rPr lang="en-US" b="0" i="0" dirty="0"/>
            <a:t> </a:t>
          </a:r>
          <a:r>
            <a:rPr lang="en-US" b="0" i="0" dirty="0" err="1"/>
            <a:t>beraber</a:t>
          </a:r>
          <a:r>
            <a:rPr lang="en-US" b="0" i="0" dirty="0"/>
            <a:t> </a:t>
          </a:r>
          <a:r>
            <a:rPr lang="en-US" b="0" i="0" dirty="0" err="1"/>
            <a:t>ortak</a:t>
          </a:r>
          <a:r>
            <a:rPr lang="en-US" b="0" i="0" dirty="0"/>
            <a:t> </a:t>
          </a:r>
          <a:r>
            <a:rPr lang="en-US" b="0" i="0" dirty="0" err="1"/>
            <a:t>kullanım</a:t>
          </a:r>
          <a:r>
            <a:rPr lang="en-US" b="0" i="0" dirty="0"/>
            <a:t> </a:t>
          </a:r>
          <a:r>
            <a:rPr lang="en-US" b="0" i="0" dirty="0" err="1"/>
            <a:t>alanlarını</a:t>
          </a:r>
          <a:r>
            <a:rPr lang="en-US" b="0" i="0" dirty="0"/>
            <a:t> da </a:t>
          </a:r>
          <a:r>
            <a:rPr lang="en-US" b="0" i="0" dirty="0" err="1"/>
            <a:t>içerir</a:t>
          </a:r>
          <a:r>
            <a:rPr lang="en-US" b="0" i="0" dirty="0"/>
            <a:t>. </a:t>
          </a:r>
          <a:r>
            <a:rPr lang="en-US" b="0" i="0" dirty="0" err="1"/>
            <a:t>Ayrıca</a:t>
          </a:r>
          <a:r>
            <a:rPr lang="en-US" b="0" i="0" dirty="0"/>
            <a:t>, </a:t>
          </a:r>
          <a:r>
            <a:rPr lang="en-US" b="0" i="0" dirty="0" err="1"/>
            <a:t>aktif</a:t>
          </a:r>
          <a:r>
            <a:rPr lang="en-US" b="0" i="0" dirty="0"/>
            <a:t> </a:t>
          </a:r>
          <a:r>
            <a:rPr lang="en-US" b="0" i="0" dirty="0" err="1"/>
            <a:t>ulaşım</a:t>
          </a:r>
          <a:r>
            <a:rPr lang="en-US" b="0" i="0" dirty="0"/>
            <a:t> </a:t>
          </a:r>
          <a:r>
            <a:rPr lang="en-US" b="0" i="0" dirty="0" err="1"/>
            <a:t>kullanıcıları</a:t>
          </a:r>
          <a:r>
            <a:rPr lang="en-US" b="0" i="0" dirty="0"/>
            <a:t> </a:t>
          </a:r>
          <a:r>
            <a:rPr lang="en-US" b="0" i="0" dirty="0" err="1"/>
            <a:t>için</a:t>
          </a:r>
          <a:r>
            <a:rPr lang="en-US" b="0" i="0" dirty="0"/>
            <a:t> </a:t>
          </a:r>
          <a:r>
            <a:rPr lang="en-US" b="0" i="0" dirty="0" err="1"/>
            <a:t>güvenli</a:t>
          </a:r>
          <a:r>
            <a:rPr lang="en-US" b="0" i="0" dirty="0"/>
            <a:t> </a:t>
          </a:r>
          <a:r>
            <a:rPr lang="en-US" b="0" i="0" dirty="0" err="1"/>
            <a:t>ve</a:t>
          </a:r>
          <a:r>
            <a:rPr lang="en-US" b="0" i="0" dirty="0"/>
            <a:t> </a:t>
          </a:r>
          <a:r>
            <a:rPr lang="en-US" b="0" i="0" dirty="0" err="1"/>
            <a:t>konforlu</a:t>
          </a:r>
          <a:r>
            <a:rPr lang="en-US" b="0" i="0" dirty="0"/>
            <a:t> </a:t>
          </a:r>
          <a:r>
            <a:rPr lang="en-US" b="0" i="0" dirty="0" err="1"/>
            <a:t>bir</a:t>
          </a:r>
          <a:r>
            <a:rPr lang="en-US" b="0" i="0" dirty="0"/>
            <a:t> </a:t>
          </a:r>
          <a:r>
            <a:rPr lang="en-US" b="0" i="0" dirty="0" err="1"/>
            <a:t>ortam</a:t>
          </a:r>
          <a:r>
            <a:rPr lang="en-US" b="0" i="0" dirty="0"/>
            <a:t> </a:t>
          </a:r>
          <a:r>
            <a:rPr lang="en-US" b="0" i="0" dirty="0" err="1"/>
            <a:t>sağlamak</a:t>
          </a:r>
          <a:r>
            <a:rPr lang="en-US" b="0" i="0" dirty="0"/>
            <a:t> </a:t>
          </a:r>
          <a:r>
            <a:rPr lang="en-US" b="0" i="0" dirty="0" err="1"/>
            <a:t>amacıyla</a:t>
          </a:r>
          <a:r>
            <a:rPr lang="en-US" b="0" i="0" dirty="0"/>
            <a:t> </a:t>
          </a:r>
          <a:r>
            <a:rPr lang="en-US" b="0" i="0" dirty="0" err="1"/>
            <a:t>trafik</a:t>
          </a:r>
          <a:r>
            <a:rPr lang="en-US" b="0" i="0" dirty="0"/>
            <a:t> </a:t>
          </a:r>
          <a:r>
            <a:rPr lang="en-US" b="0" i="0" dirty="0" err="1"/>
            <a:t>sakinleştirme</a:t>
          </a:r>
          <a:r>
            <a:rPr lang="en-US" b="0" i="0" dirty="0"/>
            <a:t> </a:t>
          </a:r>
          <a:r>
            <a:rPr lang="en-US" b="0" i="0" dirty="0" err="1"/>
            <a:t>önlemlerinin</a:t>
          </a:r>
          <a:r>
            <a:rPr lang="en-US" b="0" i="0" dirty="0"/>
            <a:t> </a:t>
          </a:r>
          <a:r>
            <a:rPr lang="en-US" b="0" i="0" dirty="0" err="1"/>
            <a:t>uygulanması</a:t>
          </a:r>
          <a:r>
            <a:rPr lang="en-US" b="0" i="0" dirty="0"/>
            <a:t> da </a:t>
          </a:r>
          <a:r>
            <a:rPr lang="en-US" b="0" i="0" dirty="0" err="1"/>
            <a:t>bu</a:t>
          </a:r>
          <a:r>
            <a:rPr lang="en-US" b="0" i="0" dirty="0"/>
            <a:t> </a:t>
          </a:r>
          <a:r>
            <a:rPr lang="en-US" b="0" i="0" dirty="0" err="1"/>
            <a:t>sürecin</a:t>
          </a:r>
          <a:r>
            <a:rPr lang="en-US" b="0" i="0" dirty="0"/>
            <a:t> </a:t>
          </a:r>
          <a:r>
            <a:rPr lang="en-US" b="0" i="0" dirty="0" err="1"/>
            <a:t>bir</a:t>
          </a:r>
          <a:r>
            <a:rPr lang="en-US" b="0" i="0" dirty="0"/>
            <a:t> </a:t>
          </a:r>
          <a:r>
            <a:rPr lang="en-US" b="0" i="0" dirty="0" err="1"/>
            <a:t>parçasıdır</a:t>
          </a:r>
          <a:endParaRPr dirty="0"/>
        </a:p>
      </dgm:t>
    </dgm:pt>
    <dgm:pt modelId="{7976F2DB-2ABF-4CDF-9E13-1E0B38033C03}" type="parTrans" cxnId="{6E106FB8-A255-4983-91A6-DAEAF2B031B8}">
      <dgm:prSet/>
      <dgm:spPr/>
      <dgm:t>
        <a:bodyPr/>
        <a:lstStyle/>
        <a:p>
          <a:endParaRPr lang="en-US"/>
        </a:p>
      </dgm:t>
    </dgm:pt>
    <dgm:pt modelId="{24940E45-31F4-49D8-BDC3-12B8BFB1AF2E}" type="sibTrans" cxnId="{6E106FB8-A255-4983-91A6-DAEAF2B031B8}">
      <dgm:prSet/>
      <dgm:spPr/>
      <dgm:t>
        <a:bodyPr/>
        <a:lstStyle/>
        <a:p>
          <a:endParaRPr lang="en-US"/>
        </a:p>
      </dgm:t>
    </dgm:pt>
    <dgm:pt modelId="{C7275A20-E82B-48E1-BC70-A2569E5215D8}">
      <dgm:prSet/>
      <dgm:spPr/>
      <dgm:t>
        <a:bodyPr/>
        <a:lstStyle/>
        <a:p>
          <a:pPr algn="just"/>
          <a:r>
            <a:rPr lang="en-US" b="0" i="0" dirty="0" err="1"/>
            <a:t>Aktif</a:t>
          </a:r>
          <a:r>
            <a:rPr lang="en-US" b="0" i="0" dirty="0"/>
            <a:t> </a:t>
          </a:r>
          <a:r>
            <a:rPr lang="en-US" b="0" i="0" dirty="0" err="1"/>
            <a:t>ulaşımın</a:t>
          </a:r>
          <a:r>
            <a:rPr lang="en-US" b="0" i="0" dirty="0"/>
            <a:t> </a:t>
          </a:r>
          <a:r>
            <a:rPr lang="en-US" b="0" i="0" dirty="0" err="1"/>
            <a:t>sağlık</a:t>
          </a:r>
          <a:r>
            <a:rPr lang="en-US" b="0" i="0" dirty="0"/>
            <a:t> </a:t>
          </a:r>
          <a:r>
            <a:rPr lang="tr-TR" b="0" i="0" dirty="0"/>
            <a:t>konusunda faydaları</a:t>
          </a:r>
          <a:r>
            <a:rPr lang="en-US" b="0" i="0" dirty="0"/>
            <a:t> </a:t>
          </a:r>
          <a:r>
            <a:rPr lang="en-US" b="0" i="0" dirty="0" err="1"/>
            <a:t>büyük</a:t>
          </a:r>
          <a:r>
            <a:rPr lang="en-US" b="0" i="0" dirty="0"/>
            <a:t> </a:t>
          </a:r>
          <a:r>
            <a:rPr lang="en-US" b="0" i="0" dirty="0" err="1"/>
            <a:t>öneme</a:t>
          </a:r>
          <a:r>
            <a:rPr lang="en-US" b="0" i="0" dirty="0"/>
            <a:t> </a:t>
          </a:r>
          <a:r>
            <a:rPr lang="en-US" b="0" i="0" dirty="0" err="1"/>
            <a:t>sahiptir</a:t>
          </a:r>
          <a:r>
            <a:rPr lang="en-US" b="0" i="0" dirty="0"/>
            <a:t>. Yaya </a:t>
          </a:r>
          <a:r>
            <a:rPr lang="en-US" b="0" i="0" dirty="0" err="1"/>
            <a:t>hareketi</a:t>
          </a:r>
          <a:r>
            <a:rPr lang="en-US" b="0" i="0" dirty="0"/>
            <a:t> </a:t>
          </a:r>
          <a:r>
            <a:rPr lang="en-US" b="0" i="0" dirty="0" err="1"/>
            <a:t>ve</a:t>
          </a:r>
          <a:r>
            <a:rPr lang="en-US" b="0" i="0" dirty="0"/>
            <a:t> </a:t>
          </a:r>
          <a:r>
            <a:rPr lang="en-US" b="0" i="0" dirty="0" err="1"/>
            <a:t>bisiklet</a:t>
          </a:r>
          <a:r>
            <a:rPr lang="en-US" b="0" i="0" dirty="0"/>
            <a:t> </a:t>
          </a:r>
          <a:r>
            <a:rPr lang="en-US" b="0" i="0" dirty="0" err="1"/>
            <a:t>kullanımı</a:t>
          </a:r>
          <a:r>
            <a:rPr lang="en-US" b="0" i="0" dirty="0"/>
            <a:t>, </a:t>
          </a:r>
          <a:r>
            <a:rPr lang="en-US" b="0" i="0" dirty="0" err="1"/>
            <a:t>fiziksel</a:t>
          </a:r>
          <a:r>
            <a:rPr lang="en-US" b="0" i="0" dirty="0"/>
            <a:t> </a:t>
          </a:r>
          <a:r>
            <a:rPr lang="en-US" b="0" i="0" dirty="0" err="1"/>
            <a:t>aktivite</a:t>
          </a:r>
          <a:r>
            <a:rPr lang="en-US" b="0" i="0" dirty="0"/>
            <a:t> </a:t>
          </a:r>
          <a:r>
            <a:rPr lang="en-US" b="0" i="0" dirty="0" err="1"/>
            <a:t>seviyesini</a:t>
          </a:r>
          <a:r>
            <a:rPr lang="en-US" b="0" i="0" dirty="0"/>
            <a:t> </a:t>
          </a:r>
          <a:r>
            <a:rPr lang="en-US" b="0" i="0" dirty="0" err="1"/>
            <a:t>artırır</a:t>
          </a:r>
          <a:r>
            <a:rPr lang="en-US" b="0" i="0" dirty="0"/>
            <a:t>, </a:t>
          </a:r>
          <a:r>
            <a:rPr lang="en-US" b="0" i="0" dirty="0" err="1"/>
            <a:t>kronik</a:t>
          </a:r>
          <a:r>
            <a:rPr lang="en-US" b="0" i="0" dirty="0"/>
            <a:t> </a:t>
          </a:r>
          <a:r>
            <a:rPr lang="en-US" b="0" i="0" dirty="0" err="1"/>
            <a:t>hastalık</a:t>
          </a:r>
          <a:r>
            <a:rPr lang="en-US" b="0" i="0" dirty="0"/>
            <a:t> </a:t>
          </a:r>
          <a:r>
            <a:rPr lang="en-US" b="0" i="0" dirty="0" err="1"/>
            <a:t>riskini</a:t>
          </a:r>
          <a:r>
            <a:rPr lang="en-US" b="0" i="0" dirty="0"/>
            <a:t> </a:t>
          </a:r>
          <a:r>
            <a:rPr lang="en-US" b="0" i="0" dirty="0" err="1"/>
            <a:t>azaltır</a:t>
          </a:r>
          <a:r>
            <a:rPr lang="en-US" b="0" i="0" dirty="0"/>
            <a:t> </a:t>
          </a:r>
          <a:r>
            <a:rPr lang="en-US" b="0" i="0" dirty="0" err="1"/>
            <a:t>ve</a:t>
          </a:r>
          <a:r>
            <a:rPr lang="en-US" b="0" i="0" dirty="0"/>
            <a:t> </a:t>
          </a:r>
          <a:r>
            <a:rPr lang="en-US" b="0" i="0" dirty="0" err="1"/>
            <a:t>genel</a:t>
          </a:r>
          <a:r>
            <a:rPr lang="en-US" b="0" i="0" dirty="0"/>
            <a:t> </a:t>
          </a:r>
          <a:r>
            <a:rPr lang="en-US" b="0" i="0" dirty="0" err="1"/>
            <a:t>refahı</a:t>
          </a:r>
          <a:r>
            <a:rPr lang="en-US" b="0" i="0" dirty="0"/>
            <a:t> </a:t>
          </a:r>
          <a:r>
            <a:rPr lang="en-US" b="0" i="0" dirty="0" err="1"/>
            <a:t>iyileştirir</a:t>
          </a:r>
          <a:r>
            <a:rPr lang="en-US" b="0" i="0" dirty="0"/>
            <a:t>. </a:t>
          </a:r>
          <a:r>
            <a:rPr lang="en-US" b="0" i="0" dirty="0" err="1"/>
            <a:t>Ayrıca</a:t>
          </a:r>
          <a:r>
            <a:rPr lang="en-US" b="0" i="0" dirty="0"/>
            <a:t>, </a:t>
          </a:r>
          <a:r>
            <a:rPr lang="en-US" b="0" i="0" dirty="0" err="1"/>
            <a:t>aktif</a:t>
          </a:r>
          <a:r>
            <a:rPr lang="en-US" b="0" i="0" dirty="0"/>
            <a:t> </a:t>
          </a:r>
          <a:r>
            <a:rPr lang="en-US" b="0" i="0" dirty="0" err="1"/>
            <a:t>ulaşımı</a:t>
          </a:r>
          <a:r>
            <a:rPr lang="en-US" b="0" i="0" dirty="0"/>
            <a:t> </a:t>
          </a:r>
          <a:r>
            <a:rPr lang="en-US" b="0" i="0" dirty="0" err="1"/>
            <a:t>önceliklendirmek</a:t>
          </a:r>
          <a:r>
            <a:rPr lang="en-US" b="0" i="0" dirty="0"/>
            <a:t>, </a:t>
          </a:r>
          <a:r>
            <a:rPr lang="en-US" b="0" i="0" dirty="0" err="1"/>
            <a:t>şehirlerin</a:t>
          </a:r>
          <a:r>
            <a:rPr lang="en-US" b="0" i="0" dirty="0"/>
            <a:t> </a:t>
          </a:r>
          <a:r>
            <a:rPr lang="en-US" b="0" i="0" dirty="0" err="1"/>
            <a:t>karbon</a:t>
          </a:r>
          <a:r>
            <a:rPr lang="en-US" b="0" i="0" dirty="0"/>
            <a:t> </a:t>
          </a:r>
          <a:r>
            <a:rPr lang="en-US" b="0" i="0" dirty="0" err="1"/>
            <a:t>emisyonlarını</a:t>
          </a:r>
          <a:r>
            <a:rPr lang="en-US" b="0" i="0" dirty="0"/>
            <a:t> </a:t>
          </a:r>
          <a:r>
            <a:rPr lang="en-US" b="0" i="0" dirty="0" err="1"/>
            <a:t>azaltmasına</a:t>
          </a:r>
          <a:r>
            <a:rPr lang="en-US" b="0" i="0" dirty="0"/>
            <a:t> </a:t>
          </a:r>
          <a:r>
            <a:rPr lang="en-US" b="0" i="0" dirty="0" err="1"/>
            <a:t>ve</a:t>
          </a:r>
          <a:r>
            <a:rPr lang="en-US" b="0" i="0" dirty="0"/>
            <a:t> </a:t>
          </a:r>
          <a:r>
            <a:rPr lang="en-US" b="0" i="0" dirty="0" err="1"/>
            <a:t>daha</a:t>
          </a:r>
          <a:r>
            <a:rPr lang="en-US" b="0" i="0" dirty="0"/>
            <a:t> </a:t>
          </a:r>
          <a:r>
            <a:rPr lang="en-US" b="0" i="0" dirty="0" err="1"/>
            <a:t>temiz</a:t>
          </a:r>
          <a:r>
            <a:rPr lang="en-US" b="0" i="0" dirty="0"/>
            <a:t>, </a:t>
          </a:r>
          <a:r>
            <a:rPr lang="en-US" b="0" i="0" dirty="0" err="1"/>
            <a:t>sağlıklı</a:t>
          </a:r>
          <a:r>
            <a:rPr lang="en-US" b="0" i="0" dirty="0"/>
            <a:t> </a:t>
          </a:r>
          <a:r>
            <a:rPr lang="en-US" b="0" i="0" dirty="0" err="1"/>
            <a:t>bir</a:t>
          </a:r>
          <a:r>
            <a:rPr lang="en-US" b="0" i="0" dirty="0"/>
            <a:t> </a:t>
          </a:r>
          <a:r>
            <a:rPr lang="en-US" b="0" i="0" dirty="0" err="1"/>
            <a:t>kentsel</a:t>
          </a:r>
          <a:r>
            <a:rPr lang="en-US" b="0" i="0" dirty="0"/>
            <a:t> </a:t>
          </a:r>
          <a:r>
            <a:rPr lang="en-US" b="0" i="0" dirty="0" err="1"/>
            <a:t>çevre</a:t>
          </a:r>
          <a:r>
            <a:rPr lang="en-US" b="0" i="0" dirty="0"/>
            <a:t> </a:t>
          </a:r>
          <a:r>
            <a:rPr lang="en-US" b="0" i="0" dirty="0" err="1"/>
            <a:t>oluşturmasına</a:t>
          </a:r>
          <a:r>
            <a:rPr lang="en-US" b="0" i="0" dirty="0"/>
            <a:t> </a:t>
          </a:r>
          <a:r>
            <a:rPr lang="en-US" b="0" i="0" dirty="0" err="1"/>
            <a:t>yardımcı</a:t>
          </a:r>
          <a:r>
            <a:rPr lang="en-US" b="0" i="0" dirty="0"/>
            <a:t> </a:t>
          </a:r>
          <a:r>
            <a:rPr lang="en-US" b="0" i="0" dirty="0" err="1"/>
            <a:t>olabilir</a:t>
          </a:r>
          <a:endParaRPr dirty="0"/>
        </a:p>
      </dgm:t>
    </dgm:pt>
    <dgm:pt modelId="{4965D663-48A0-48E7-82C1-B0BA984185F5}" type="parTrans" cxnId="{E93D7244-EAF4-4A77-88FB-AA8843AEDEB4}">
      <dgm:prSet/>
      <dgm:spPr/>
      <dgm:t>
        <a:bodyPr/>
        <a:lstStyle/>
        <a:p>
          <a:endParaRPr lang="en-US"/>
        </a:p>
      </dgm:t>
    </dgm:pt>
    <dgm:pt modelId="{8E27FB04-C23D-423D-AFF5-D77ED798B2F1}" type="sibTrans" cxnId="{E93D7244-EAF4-4A77-88FB-AA8843AEDEB4}">
      <dgm:prSet/>
      <dgm:spPr/>
      <dgm:t>
        <a:bodyPr/>
        <a:lstStyle/>
        <a:p>
          <a:endParaRPr lang="en-US"/>
        </a:p>
      </dgm:t>
    </dgm:pt>
    <dgm:pt modelId="{B74D07C7-6EE7-49B7-8125-7EB8A0A5E3C9}" type="pres">
      <dgm:prSet presAssocID="{1F954C54-27EE-4315-B78E-1E49645737C1}" presName="vert0" presStyleCnt="0">
        <dgm:presLayoutVars>
          <dgm:dir/>
          <dgm:animOne val="branch"/>
          <dgm:animLvl val="lvl"/>
        </dgm:presLayoutVars>
      </dgm:prSet>
      <dgm:spPr/>
    </dgm:pt>
    <dgm:pt modelId="{74F43343-791D-47C6-AE3D-50A1373664CF}" type="pres">
      <dgm:prSet presAssocID="{86AD55CC-F470-45B5-A56E-B895610B028C}" presName="thickLine" presStyleLbl="alignNode1" presStyleIdx="0" presStyleCnt="3"/>
      <dgm:spPr/>
    </dgm:pt>
    <dgm:pt modelId="{38B28C16-FC4B-4860-BCA0-D3A720051731}" type="pres">
      <dgm:prSet presAssocID="{86AD55CC-F470-45B5-A56E-B895610B028C}" presName="horz1" presStyleCnt="0"/>
      <dgm:spPr/>
    </dgm:pt>
    <dgm:pt modelId="{536E5EC7-A942-40F4-92B3-50F19841AE51}" type="pres">
      <dgm:prSet presAssocID="{86AD55CC-F470-45B5-A56E-B895610B028C}" presName="tx1" presStyleLbl="revTx" presStyleIdx="0" presStyleCnt="3"/>
      <dgm:spPr/>
    </dgm:pt>
    <dgm:pt modelId="{B0AD767F-EF5D-431D-8679-B7D44823FCCB}" type="pres">
      <dgm:prSet presAssocID="{86AD55CC-F470-45B5-A56E-B895610B028C}" presName="vert1" presStyleCnt="0"/>
      <dgm:spPr/>
    </dgm:pt>
    <dgm:pt modelId="{9098F2C0-4007-4E77-8E8D-C8CD8A21ED26}" type="pres">
      <dgm:prSet presAssocID="{E3BE1CDA-02D2-47D9-89B7-36E5C883D16E}" presName="thickLine" presStyleLbl="alignNode1" presStyleIdx="1" presStyleCnt="3"/>
      <dgm:spPr/>
    </dgm:pt>
    <dgm:pt modelId="{98E7774B-DDA5-4A69-B1F7-AC52F9E5251C}" type="pres">
      <dgm:prSet presAssocID="{E3BE1CDA-02D2-47D9-89B7-36E5C883D16E}" presName="horz1" presStyleCnt="0"/>
      <dgm:spPr/>
    </dgm:pt>
    <dgm:pt modelId="{0EF75B13-AC73-4717-8B0A-2DCF3EF3076F}" type="pres">
      <dgm:prSet presAssocID="{E3BE1CDA-02D2-47D9-89B7-36E5C883D16E}" presName="tx1" presStyleLbl="revTx" presStyleIdx="1" presStyleCnt="3"/>
      <dgm:spPr/>
    </dgm:pt>
    <dgm:pt modelId="{0C7946A1-F09B-4298-82B3-61F080C8BEDA}" type="pres">
      <dgm:prSet presAssocID="{E3BE1CDA-02D2-47D9-89B7-36E5C883D16E}" presName="vert1" presStyleCnt="0"/>
      <dgm:spPr/>
    </dgm:pt>
    <dgm:pt modelId="{8D559058-F405-4FA4-A622-89BE53684CC4}" type="pres">
      <dgm:prSet presAssocID="{C7275A20-E82B-48E1-BC70-A2569E5215D8}" presName="thickLine" presStyleLbl="alignNode1" presStyleIdx="2" presStyleCnt="3"/>
      <dgm:spPr/>
    </dgm:pt>
    <dgm:pt modelId="{6BCB7E3F-78D1-4FD6-9247-838CBA365ECE}" type="pres">
      <dgm:prSet presAssocID="{C7275A20-E82B-48E1-BC70-A2569E5215D8}" presName="horz1" presStyleCnt="0"/>
      <dgm:spPr/>
    </dgm:pt>
    <dgm:pt modelId="{CAB52CDC-55D1-4121-9E18-F4D76FE1D3A6}" type="pres">
      <dgm:prSet presAssocID="{C7275A20-E82B-48E1-BC70-A2569E5215D8}" presName="tx1" presStyleLbl="revTx" presStyleIdx="2" presStyleCnt="3"/>
      <dgm:spPr/>
    </dgm:pt>
    <dgm:pt modelId="{A281F0EB-1BBE-4485-A99E-0EFD28FFDC8E}" type="pres">
      <dgm:prSet presAssocID="{C7275A20-E82B-48E1-BC70-A2569E5215D8}" presName="vert1" presStyleCnt="0"/>
      <dgm:spPr/>
    </dgm:pt>
  </dgm:ptLst>
  <dgm:cxnLst>
    <dgm:cxn modelId="{23111B1D-05AC-4CF5-BBB6-7E0AFB860E8E}" type="presOf" srcId="{E3BE1CDA-02D2-47D9-89B7-36E5C883D16E}" destId="{0EF75B13-AC73-4717-8B0A-2DCF3EF3076F}" srcOrd="0" destOrd="0" presId="urn:microsoft.com/office/officeart/2008/layout/LinedList"/>
    <dgm:cxn modelId="{E93D7244-EAF4-4A77-88FB-AA8843AEDEB4}" srcId="{1F954C54-27EE-4315-B78E-1E49645737C1}" destId="{C7275A20-E82B-48E1-BC70-A2569E5215D8}" srcOrd="2" destOrd="0" parTransId="{4965D663-48A0-48E7-82C1-B0BA984185F5}" sibTransId="{8E27FB04-C23D-423D-AFF5-D77ED798B2F1}"/>
    <dgm:cxn modelId="{0C3E1B75-EAE8-49F1-9284-830FC95963BE}" srcId="{1F954C54-27EE-4315-B78E-1E49645737C1}" destId="{86AD55CC-F470-45B5-A56E-B895610B028C}" srcOrd="0" destOrd="0" parTransId="{EA4BC21E-D6FC-44FC-BB8A-C78DF45582E0}" sibTransId="{72C86EA6-628C-4954-8A3F-83AB15D76450}"/>
    <dgm:cxn modelId="{E2CDAC9F-3097-4E6B-A64B-2C2EE80CA00B}" type="presOf" srcId="{C7275A20-E82B-48E1-BC70-A2569E5215D8}" destId="{CAB52CDC-55D1-4121-9E18-F4D76FE1D3A6}" srcOrd="0" destOrd="0" presId="urn:microsoft.com/office/officeart/2008/layout/LinedList"/>
    <dgm:cxn modelId="{C55402B0-76BE-4BBA-BE1B-45C7BB352EFE}" type="presOf" srcId="{1F954C54-27EE-4315-B78E-1E49645737C1}" destId="{B74D07C7-6EE7-49B7-8125-7EB8A0A5E3C9}" srcOrd="0" destOrd="0" presId="urn:microsoft.com/office/officeart/2008/layout/LinedList"/>
    <dgm:cxn modelId="{6E106FB8-A255-4983-91A6-DAEAF2B031B8}" srcId="{1F954C54-27EE-4315-B78E-1E49645737C1}" destId="{E3BE1CDA-02D2-47D9-89B7-36E5C883D16E}" srcOrd="1" destOrd="0" parTransId="{7976F2DB-2ABF-4CDF-9E13-1E0B38033C03}" sibTransId="{24940E45-31F4-49D8-BDC3-12B8BFB1AF2E}"/>
    <dgm:cxn modelId="{0FC9FBC5-21AC-4B7B-BE9C-5F887AEA6380}" type="presOf" srcId="{86AD55CC-F470-45B5-A56E-B895610B028C}" destId="{536E5EC7-A942-40F4-92B3-50F19841AE51}" srcOrd="0" destOrd="0" presId="urn:microsoft.com/office/officeart/2008/layout/LinedList"/>
    <dgm:cxn modelId="{1BAEFA44-8267-440C-AA57-6013CF530B8F}" type="presParOf" srcId="{B74D07C7-6EE7-49B7-8125-7EB8A0A5E3C9}" destId="{74F43343-791D-47C6-AE3D-50A1373664CF}" srcOrd="0" destOrd="0" presId="urn:microsoft.com/office/officeart/2008/layout/LinedList"/>
    <dgm:cxn modelId="{24B7F967-62B2-466C-8E1B-9F355E5861FB}" type="presParOf" srcId="{B74D07C7-6EE7-49B7-8125-7EB8A0A5E3C9}" destId="{38B28C16-FC4B-4860-BCA0-D3A720051731}" srcOrd="1" destOrd="0" presId="urn:microsoft.com/office/officeart/2008/layout/LinedList"/>
    <dgm:cxn modelId="{22FB3A4C-D069-42B6-909C-558A92641FD3}" type="presParOf" srcId="{38B28C16-FC4B-4860-BCA0-D3A720051731}" destId="{536E5EC7-A942-40F4-92B3-50F19841AE51}" srcOrd="0" destOrd="0" presId="urn:microsoft.com/office/officeart/2008/layout/LinedList"/>
    <dgm:cxn modelId="{DAB83FE3-F683-407E-8883-EAE9E63699F7}" type="presParOf" srcId="{38B28C16-FC4B-4860-BCA0-D3A720051731}" destId="{B0AD767F-EF5D-431D-8679-B7D44823FCCB}" srcOrd="1" destOrd="0" presId="urn:microsoft.com/office/officeart/2008/layout/LinedList"/>
    <dgm:cxn modelId="{39ED830A-AFF3-418B-90B5-225DBBA1C738}" type="presParOf" srcId="{B74D07C7-6EE7-49B7-8125-7EB8A0A5E3C9}" destId="{9098F2C0-4007-4E77-8E8D-C8CD8A21ED26}" srcOrd="2" destOrd="0" presId="urn:microsoft.com/office/officeart/2008/layout/LinedList"/>
    <dgm:cxn modelId="{D55601C4-7E18-48E8-B10F-937B893BE492}" type="presParOf" srcId="{B74D07C7-6EE7-49B7-8125-7EB8A0A5E3C9}" destId="{98E7774B-DDA5-4A69-B1F7-AC52F9E5251C}" srcOrd="3" destOrd="0" presId="urn:microsoft.com/office/officeart/2008/layout/LinedList"/>
    <dgm:cxn modelId="{C0644CE4-E553-4955-B186-B07FDE226F01}" type="presParOf" srcId="{98E7774B-DDA5-4A69-B1F7-AC52F9E5251C}" destId="{0EF75B13-AC73-4717-8B0A-2DCF3EF3076F}" srcOrd="0" destOrd="0" presId="urn:microsoft.com/office/officeart/2008/layout/LinedList"/>
    <dgm:cxn modelId="{1BC6CF2D-21BB-45FA-83DD-9C51DBB3BB38}" type="presParOf" srcId="{98E7774B-DDA5-4A69-B1F7-AC52F9E5251C}" destId="{0C7946A1-F09B-4298-82B3-61F080C8BEDA}" srcOrd="1" destOrd="0" presId="urn:microsoft.com/office/officeart/2008/layout/LinedList"/>
    <dgm:cxn modelId="{B7873FAD-558A-4864-B04C-0D3E87D651A9}" type="presParOf" srcId="{B74D07C7-6EE7-49B7-8125-7EB8A0A5E3C9}" destId="{8D559058-F405-4FA4-A622-89BE53684CC4}" srcOrd="4" destOrd="0" presId="urn:microsoft.com/office/officeart/2008/layout/LinedList"/>
    <dgm:cxn modelId="{2BADD958-4B84-4925-BE0A-D8F9EE501E1A}" type="presParOf" srcId="{B74D07C7-6EE7-49B7-8125-7EB8A0A5E3C9}" destId="{6BCB7E3F-78D1-4FD6-9247-838CBA365ECE}" srcOrd="5" destOrd="0" presId="urn:microsoft.com/office/officeart/2008/layout/LinedList"/>
    <dgm:cxn modelId="{700724F5-40E2-46F0-B860-B2F193B0DFEB}" type="presParOf" srcId="{6BCB7E3F-78D1-4FD6-9247-838CBA365ECE}" destId="{CAB52CDC-55D1-4121-9E18-F4D76FE1D3A6}" srcOrd="0" destOrd="0" presId="urn:microsoft.com/office/officeart/2008/layout/LinedList"/>
    <dgm:cxn modelId="{49D52E9C-B1D1-4AB4-879A-11943F321E5B}" type="presParOf" srcId="{6BCB7E3F-78D1-4FD6-9247-838CBA365ECE}" destId="{A281F0EB-1BBE-4485-A99E-0EFD28FFDC8E}" srcOrd="1" destOrd="0" presId="urn:microsoft.com/office/officeart/2008/layout/Line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B863A85D-43CE-4EA2-9F02-CF0A5BF3F2E8}" type="doc">
      <dgm:prSet loTypeId="urn:microsoft.com/office/officeart/2005/8/layout/vList4" loCatId="list" qsTypeId="urn:microsoft.com/office/officeart/2005/8/quickstyle/simple1" qsCatId="simple" csTypeId="urn:microsoft.com/office/officeart/2005/8/colors/colorful5" csCatId="colorful" phldr="1"/>
      <dgm:spPr/>
      <dgm:t>
        <a:bodyPr/>
        <a:lstStyle/>
        <a:p>
          <a:endParaRPr lang="en-US"/>
        </a:p>
      </dgm:t>
    </dgm:pt>
    <dgm:pt modelId="{7AD3D6DD-DAF6-4B31-A31F-5C9DE716D0E5}">
      <dgm:prSet/>
      <dgm:spPr/>
      <dgm:t>
        <a:bodyPr/>
        <a:lstStyle/>
        <a:p>
          <a:pPr algn="just"/>
          <a:r>
            <a:rPr dirty="0" err="1"/>
            <a:t>Entegre</a:t>
          </a:r>
          <a:r>
            <a:rPr dirty="0"/>
            <a:t> </a:t>
          </a:r>
          <a:r>
            <a:rPr dirty="0" err="1"/>
            <a:t>arazi</a:t>
          </a:r>
          <a:r>
            <a:rPr dirty="0"/>
            <a:t> </a:t>
          </a:r>
          <a:r>
            <a:rPr dirty="0" err="1"/>
            <a:t>kullanımı</a:t>
          </a:r>
          <a:r>
            <a:rPr dirty="0"/>
            <a:t> </a:t>
          </a:r>
          <a:r>
            <a:rPr dirty="0" err="1"/>
            <a:t>ve</a:t>
          </a:r>
          <a:r>
            <a:rPr dirty="0"/>
            <a:t> </a:t>
          </a:r>
          <a:r>
            <a:rPr dirty="0" err="1"/>
            <a:t>ulaşım</a:t>
          </a:r>
          <a:r>
            <a:rPr dirty="0"/>
            <a:t> </a:t>
          </a:r>
          <a:r>
            <a:rPr dirty="0" err="1"/>
            <a:t>planlaması</a:t>
          </a:r>
          <a:r>
            <a:rPr dirty="0"/>
            <a:t>, </a:t>
          </a:r>
          <a:r>
            <a:rPr dirty="0" err="1"/>
            <a:t>sürdürülebilir</a:t>
          </a:r>
          <a:r>
            <a:rPr dirty="0"/>
            <a:t> </a:t>
          </a:r>
          <a:r>
            <a:rPr dirty="0" err="1"/>
            <a:t>kentsel</a:t>
          </a:r>
          <a:r>
            <a:rPr dirty="0"/>
            <a:t> </a:t>
          </a:r>
          <a:r>
            <a:rPr dirty="0" err="1"/>
            <a:t>gelişim</a:t>
          </a:r>
          <a:r>
            <a:rPr dirty="0"/>
            <a:t> </a:t>
          </a:r>
          <a:r>
            <a:rPr dirty="0" err="1"/>
            <a:t>için</a:t>
          </a:r>
          <a:r>
            <a:rPr dirty="0"/>
            <a:t> </a:t>
          </a:r>
          <a:r>
            <a:rPr dirty="0" err="1"/>
            <a:t>temel</a:t>
          </a:r>
          <a:r>
            <a:rPr dirty="0"/>
            <a:t> </a:t>
          </a:r>
          <a:r>
            <a:rPr dirty="0" err="1"/>
            <a:t>bir</a:t>
          </a:r>
          <a:r>
            <a:rPr dirty="0"/>
            <a:t> </a:t>
          </a:r>
          <a:r>
            <a:rPr dirty="0" err="1"/>
            <a:t>ilkedir</a:t>
          </a:r>
          <a:r>
            <a:rPr dirty="0"/>
            <a:t>. </a:t>
          </a:r>
          <a:r>
            <a:rPr dirty="0" err="1"/>
            <a:t>Kentler</a:t>
          </a:r>
          <a:r>
            <a:rPr dirty="0"/>
            <a:t>, </a:t>
          </a:r>
          <a:r>
            <a:rPr dirty="0" err="1"/>
            <a:t>arazi</a:t>
          </a:r>
          <a:r>
            <a:rPr dirty="0"/>
            <a:t> </a:t>
          </a:r>
          <a:r>
            <a:rPr dirty="0" err="1"/>
            <a:t>kullanım</a:t>
          </a:r>
          <a:r>
            <a:rPr dirty="0"/>
            <a:t> </a:t>
          </a:r>
          <a:r>
            <a:rPr dirty="0" err="1"/>
            <a:t>kalıplarını</a:t>
          </a:r>
          <a:r>
            <a:rPr dirty="0"/>
            <a:t> </a:t>
          </a:r>
          <a:r>
            <a:rPr dirty="0" err="1"/>
            <a:t>ulaşım</a:t>
          </a:r>
          <a:r>
            <a:rPr dirty="0"/>
            <a:t> </a:t>
          </a:r>
          <a:r>
            <a:rPr dirty="0" err="1"/>
            <a:t>altyapısı</a:t>
          </a:r>
          <a:r>
            <a:rPr dirty="0"/>
            <a:t> </a:t>
          </a:r>
          <a:r>
            <a:rPr dirty="0" err="1"/>
            <a:t>ile</a:t>
          </a:r>
          <a:r>
            <a:rPr dirty="0"/>
            <a:t> </a:t>
          </a:r>
          <a:r>
            <a:rPr dirty="0" err="1"/>
            <a:t>uyumlu</a:t>
          </a:r>
          <a:r>
            <a:rPr dirty="0"/>
            <a:t> hale </a:t>
          </a:r>
          <a:r>
            <a:rPr dirty="0" err="1"/>
            <a:t>getirerek</a:t>
          </a:r>
          <a:r>
            <a:rPr dirty="0"/>
            <a:t> </a:t>
          </a:r>
          <a:r>
            <a:rPr dirty="0" err="1"/>
            <a:t>daha</a:t>
          </a:r>
          <a:r>
            <a:rPr dirty="0"/>
            <a:t> </a:t>
          </a:r>
          <a:r>
            <a:rPr dirty="0" err="1"/>
            <a:t>verimli</a:t>
          </a:r>
          <a:r>
            <a:rPr dirty="0"/>
            <a:t> </a:t>
          </a:r>
          <a:r>
            <a:rPr dirty="0" err="1"/>
            <a:t>ve</a:t>
          </a:r>
          <a:r>
            <a:rPr dirty="0"/>
            <a:t> </a:t>
          </a:r>
          <a:r>
            <a:rPr dirty="0" err="1"/>
            <a:t>sürdürülebilir</a:t>
          </a:r>
          <a:r>
            <a:rPr dirty="0"/>
            <a:t> </a:t>
          </a:r>
          <a:r>
            <a:rPr dirty="0" err="1"/>
            <a:t>ulaşım</a:t>
          </a:r>
          <a:r>
            <a:rPr dirty="0"/>
            <a:t> </a:t>
          </a:r>
          <a:r>
            <a:rPr dirty="0" err="1"/>
            <a:t>sistemleri</a:t>
          </a:r>
          <a:r>
            <a:rPr dirty="0"/>
            <a:t> </a:t>
          </a:r>
          <a:r>
            <a:rPr dirty="0" err="1"/>
            <a:t>oluşturabilirler</a:t>
          </a:r>
          <a:r>
            <a:rPr dirty="0"/>
            <a:t>.</a:t>
          </a:r>
        </a:p>
      </dgm:t>
    </dgm:pt>
    <dgm:pt modelId="{F690E370-1BCC-4C79-85B1-586BC4183F8F}" type="parTrans" cxnId="{E3821268-1A53-421D-B85D-0601B99109ED}">
      <dgm:prSet/>
      <dgm:spPr/>
      <dgm:t>
        <a:bodyPr/>
        <a:lstStyle/>
        <a:p>
          <a:endParaRPr lang="en-US"/>
        </a:p>
      </dgm:t>
    </dgm:pt>
    <dgm:pt modelId="{50D5CF9E-0445-432B-8561-7672DE1DE66D}" type="sibTrans" cxnId="{E3821268-1A53-421D-B85D-0601B99109ED}">
      <dgm:prSet/>
      <dgm:spPr/>
      <dgm:t>
        <a:bodyPr/>
        <a:lstStyle/>
        <a:p>
          <a:endParaRPr lang="en-US"/>
        </a:p>
      </dgm:t>
    </dgm:pt>
    <dgm:pt modelId="{2CBA6A0E-5586-4568-B8BB-30769B2317F5}">
      <dgm:prSet/>
      <dgm:spPr/>
      <dgm:t>
        <a:bodyPr/>
        <a:lstStyle/>
        <a:p>
          <a:pPr algn="just"/>
          <a:r>
            <a:rPr lang="tr-TR" dirty="0"/>
            <a:t>Toplu taşıma</a:t>
          </a:r>
          <a:r>
            <a:rPr dirty="0"/>
            <a:t> </a:t>
          </a:r>
          <a:r>
            <a:rPr dirty="0" err="1"/>
            <a:t>odaklı</a:t>
          </a:r>
          <a:r>
            <a:rPr dirty="0"/>
            <a:t> </a:t>
          </a:r>
          <a:r>
            <a:rPr dirty="0" err="1"/>
            <a:t>gelişim</a:t>
          </a:r>
          <a:r>
            <a:rPr lang="tr-TR" dirty="0"/>
            <a:t>, İngilizce’de «Transit Oriented Development»</a:t>
          </a:r>
          <a:r>
            <a:rPr dirty="0"/>
            <a:t> (TO</a:t>
          </a:r>
          <a:r>
            <a:rPr lang="tr-TR" dirty="0"/>
            <a:t>D</a:t>
          </a:r>
          <a:r>
            <a:rPr dirty="0"/>
            <a:t>), </a:t>
          </a:r>
          <a:r>
            <a:rPr dirty="0" err="1"/>
            <a:t>entegre</a:t>
          </a:r>
          <a:r>
            <a:rPr dirty="0"/>
            <a:t> </a:t>
          </a:r>
          <a:r>
            <a:rPr dirty="0" err="1"/>
            <a:t>planlamanın</a:t>
          </a:r>
          <a:r>
            <a:rPr dirty="0"/>
            <a:t> </a:t>
          </a:r>
          <a:r>
            <a:rPr dirty="0" err="1"/>
            <a:t>önemli</a:t>
          </a:r>
          <a:r>
            <a:rPr dirty="0"/>
            <a:t> </a:t>
          </a:r>
          <a:r>
            <a:rPr dirty="0" err="1"/>
            <a:t>bir</a:t>
          </a:r>
          <a:r>
            <a:rPr dirty="0"/>
            <a:t> </a:t>
          </a:r>
          <a:r>
            <a:rPr dirty="0" err="1"/>
            <a:t>yönüdür</a:t>
          </a:r>
          <a:r>
            <a:rPr dirty="0"/>
            <a:t>. </a:t>
          </a:r>
          <a:r>
            <a:rPr dirty="0" err="1"/>
            <a:t>Toplu</a:t>
          </a:r>
          <a:r>
            <a:rPr dirty="0"/>
            <a:t> </a:t>
          </a:r>
          <a:r>
            <a:rPr dirty="0" err="1"/>
            <a:t>taşıma</a:t>
          </a:r>
          <a:r>
            <a:rPr dirty="0"/>
            <a:t> </a:t>
          </a:r>
          <a:r>
            <a:rPr dirty="0" err="1"/>
            <a:t>merkezleri</a:t>
          </a:r>
          <a:r>
            <a:rPr dirty="0"/>
            <a:t> </a:t>
          </a:r>
          <a:r>
            <a:rPr dirty="0" err="1"/>
            <a:t>etrafında</a:t>
          </a:r>
          <a:r>
            <a:rPr dirty="0"/>
            <a:t> </a:t>
          </a:r>
          <a:r>
            <a:rPr dirty="0" err="1"/>
            <a:t>konut</a:t>
          </a:r>
          <a:r>
            <a:rPr dirty="0"/>
            <a:t>, </a:t>
          </a:r>
          <a:r>
            <a:rPr dirty="0" err="1"/>
            <a:t>ticari</a:t>
          </a:r>
          <a:r>
            <a:rPr dirty="0"/>
            <a:t> </a:t>
          </a:r>
          <a:r>
            <a:rPr dirty="0" err="1"/>
            <a:t>ve</a:t>
          </a:r>
          <a:r>
            <a:rPr dirty="0"/>
            <a:t> </a:t>
          </a:r>
          <a:r>
            <a:rPr dirty="0" err="1"/>
            <a:t>rekreasyon</a:t>
          </a:r>
          <a:r>
            <a:rPr dirty="0"/>
            <a:t> </a:t>
          </a:r>
          <a:r>
            <a:rPr dirty="0" err="1"/>
            <a:t>alanlarının</a:t>
          </a:r>
          <a:r>
            <a:rPr dirty="0"/>
            <a:t> </a:t>
          </a:r>
          <a:r>
            <a:rPr dirty="0" err="1"/>
            <a:t>yoğunlaştırılmasını</a:t>
          </a:r>
          <a:r>
            <a:rPr dirty="0"/>
            <a:t>, </a:t>
          </a:r>
          <a:r>
            <a:rPr dirty="0" err="1"/>
            <a:t>yürüyüş</a:t>
          </a:r>
          <a:r>
            <a:rPr dirty="0"/>
            <a:t>, </a:t>
          </a:r>
          <a:r>
            <a:rPr dirty="0" err="1"/>
            <a:t>bisiklete</a:t>
          </a:r>
          <a:r>
            <a:rPr dirty="0"/>
            <a:t> </a:t>
          </a:r>
          <a:r>
            <a:rPr dirty="0" err="1"/>
            <a:t>binme</a:t>
          </a:r>
          <a:r>
            <a:rPr dirty="0"/>
            <a:t> </a:t>
          </a:r>
          <a:r>
            <a:rPr dirty="0" err="1"/>
            <a:t>ve</a:t>
          </a:r>
          <a:r>
            <a:rPr dirty="0"/>
            <a:t> </a:t>
          </a:r>
          <a:r>
            <a:rPr dirty="0" err="1"/>
            <a:t>toplu</a:t>
          </a:r>
          <a:r>
            <a:rPr dirty="0"/>
            <a:t> </a:t>
          </a:r>
          <a:r>
            <a:rPr dirty="0" err="1"/>
            <a:t>taşıma</a:t>
          </a:r>
          <a:r>
            <a:rPr dirty="0"/>
            <a:t> </a:t>
          </a:r>
          <a:r>
            <a:rPr dirty="0" err="1"/>
            <a:t>kullanımının</a:t>
          </a:r>
          <a:r>
            <a:rPr dirty="0"/>
            <a:t> </a:t>
          </a:r>
          <a:r>
            <a:rPr dirty="0" err="1"/>
            <a:t>teşvik</a:t>
          </a:r>
          <a:r>
            <a:rPr dirty="0"/>
            <a:t> </a:t>
          </a:r>
          <a:r>
            <a:rPr dirty="0" err="1"/>
            <a:t>edilmesini</a:t>
          </a:r>
          <a:r>
            <a:rPr dirty="0"/>
            <a:t> </a:t>
          </a:r>
          <a:r>
            <a:rPr dirty="0" err="1"/>
            <a:t>içerir</a:t>
          </a:r>
          <a:r>
            <a:rPr dirty="0"/>
            <a:t>. TO</a:t>
          </a:r>
          <a:r>
            <a:rPr lang="tr-TR" dirty="0"/>
            <a:t>D</a:t>
          </a:r>
          <a:r>
            <a:rPr dirty="0"/>
            <a:t>, </a:t>
          </a:r>
          <a:r>
            <a:rPr dirty="0" err="1"/>
            <a:t>seyahat</a:t>
          </a:r>
          <a:r>
            <a:rPr dirty="0"/>
            <a:t> </a:t>
          </a:r>
          <a:r>
            <a:rPr dirty="0" err="1"/>
            <a:t>mesafelerini</a:t>
          </a:r>
          <a:r>
            <a:rPr dirty="0"/>
            <a:t> </a:t>
          </a:r>
          <a:r>
            <a:rPr dirty="0" err="1"/>
            <a:t>azaltan</a:t>
          </a:r>
          <a:r>
            <a:rPr dirty="0"/>
            <a:t> </a:t>
          </a:r>
          <a:r>
            <a:rPr dirty="0" err="1"/>
            <a:t>ve</a:t>
          </a:r>
          <a:r>
            <a:rPr dirty="0"/>
            <a:t> </a:t>
          </a:r>
          <a:r>
            <a:rPr dirty="0" err="1"/>
            <a:t>daha</a:t>
          </a:r>
          <a:r>
            <a:rPr dirty="0"/>
            <a:t> </a:t>
          </a:r>
          <a:r>
            <a:rPr dirty="0" err="1"/>
            <a:t>sürdürülebilir</a:t>
          </a:r>
          <a:r>
            <a:rPr dirty="0"/>
            <a:t> </a:t>
          </a:r>
          <a:r>
            <a:rPr dirty="0" err="1"/>
            <a:t>bir</a:t>
          </a:r>
          <a:r>
            <a:rPr dirty="0"/>
            <a:t> </a:t>
          </a:r>
          <a:r>
            <a:rPr dirty="0" err="1"/>
            <a:t>yaşam</a:t>
          </a:r>
          <a:r>
            <a:rPr dirty="0"/>
            <a:t> </a:t>
          </a:r>
          <a:r>
            <a:rPr dirty="0" err="1"/>
            <a:t>tarzını</a:t>
          </a:r>
          <a:r>
            <a:rPr dirty="0"/>
            <a:t> </a:t>
          </a:r>
          <a:r>
            <a:rPr dirty="0" err="1"/>
            <a:t>destekleyen</a:t>
          </a:r>
          <a:r>
            <a:rPr dirty="0"/>
            <a:t> </a:t>
          </a:r>
          <a:r>
            <a:rPr dirty="0" err="1"/>
            <a:t>kompakt</a:t>
          </a:r>
          <a:r>
            <a:rPr dirty="0"/>
            <a:t>, karma </a:t>
          </a:r>
          <a:r>
            <a:rPr dirty="0" err="1"/>
            <a:t>kullanımlı</a:t>
          </a:r>
          <a:r>
            <a:rPr dirty="0"/>
            <a:t> </a:t>
          </a:r>
          <a:r>
            <a:rPr dirty="0" err="1"/>
            <a:t>mahalleleri</a:t>
          </a:r>
          <a:r>
            <a:rPr dirty="0"/>
            <a:t> </a:t>
          </a:r>
          <a:r>
            <a:rPr dirty="0" err="1"/>
            <a:t>teşvik</a:t>
          </a:r>
          <a:r>
            <a:rPr dirty="0"/>
            <a:t> </a:t>
          </a:r>
          <a:r>
            <a:rPr dirty="0" err="1"/>
            <a:t>eder</a:t>
          </a:r>
          <a:r>
            <a:rPr dirty="0"/>
            <a:t>.</a:t>
          </a:r>
        </a:p>
      </dgm:t>
    </dgm:pt>
    <dgm:pt modelId="{3CCBFE30-3604-4DF4-88C7-96692314B46C}" type="parTrans" cxnId="{4741440F-AC42-4822-9CEB-3C62AD5D4244}">
      <dgm:prSet/>
      <dgm:spPr/>
      <dgm:t>
        <a:bodyPr/>
        <a:lstStyle/>
        <a:p>
          <a:endParaRPr lang="en-US"/>
        </a:p>
      </dgm:t>
    </dgm:pt>
    <dgm:pt modelId="{6ED959E7-7B41-4905-A589-A01F3C20E970}" type="sibTrans" cxnId="{4741440F-AC42-4822-9CEB-3C62AD5D4244}">
      <dgm:prSet/>
      <dgm:spPr/>
      <dgm:t>
        <a:bodyPr/>
        <a:lstStyle/>
        <a:p>
          <a:endParaRPr lang="en-US"/>
        </a:p>
      </dgm:t>
    </dgm:pt>
    <dgm:pt modelId="{36F29871-1CD4-4E57-BE43-77D9CA9E7058}">
      <dgm:prSet/>
      <dgm:spPr/>
      <dgm:t>
        <a:bodyPr/>
        <a:lstStyle/>
        <a:p>
          <a:pPr algn="just"/>
          <a:r>
            <a:rPr lang="en-US" b="0" i="0" dirty="0"/>
            <a:t>Karma </a:t>
          </a:r>
          <a:r>
            <a:rPr lang="en-US" b="0" i="0" dirty="0" err="1"/>
            <a:t>kullanımlı</a:t>
          </a:r>
          <a:r>
            <a:rPr lang="en-US" b="0" i="0" dirty="0"/>
            <a:t> </a:t>
          </a:r>
          <a:r>
            <a:rPr lang="en-US" b="0" i="0" dirty="0" err="1"/>
            <a:t>yapılaşma</a:t>
          </a:r>
          <a:r>
            <a:rPr lang="en-US" b="0" i="0" dirty="0"/>
            <a:t>, </a:t>
          </a:r>
          <a:r>
            <a:rPr lang="en-US" b="0" i="0" dirty="0" err="1"/>
            <a:t>entegre</a:t>
          </a:r>
          <a:r>
            <a:rPr lang="en-US" b="0" i="0" dirty="0"/>
            <a:t> </a:t>
          </a:r>
          <a:r>
            <a:rPr lang="en-US" b="0" i="0" dirty="0" err="1"/>
            <a:t>planlamanın</a:t>
          </a:r>
          <a:r>
            <a:rPr lang="en-US" b="0" i="0" dirty="0"/>
            <a:t> </a:t>
          </a:r>
          <a:r>
            <a:rPr lang="en-US" b="0" i="0" dirty="0" err="1"/>
            <a:t>bir</a:t>
          </a:r>
          <a:r>
            <a:rPr lang="en-US" b="0" i="0" dirty="0"/>
            <a:t> </a:t>
          </a:r>
          <a:r>
            <a:rPr lang="en-US" b="0" i="0" dirty="0" err="1"/>
            <a:t>başka</a:t>
          </a:r>
          <a:r>
            <a:rPr lang="en-US" b="0" i="0" dirty="0"/>
            <a:t> </a:t>
          </a:r>
          <a:r>
            <a:rPr lang="en-US" b="0" i="0" dirty="0" err="1"/>
            <a:t>kritik</a:t>
          </a:r>
          <a:r>
            <a:rPr lang="en-US" b="0" i="0" dirty="0"/>
            <a:t> </a:t>
          </a:r>
          <a:r>
            <a:rPr lang="en-US" b="0" i="0" dirty="0" err="1"/>
            <a:t>unsurudur</a:t>
          </a:r>
          <a:r>
            <a:rPr lang="en-US" b="0" i="0" dirty="0"/>
            <a:t>. </a:t>
          </a:r>
          <a:r>
            <a:rPr lang="en-US" b="0" i="0" dirty="0" err="1"/>
            <a:t>Şehirler</a:t>
          </a:r>
          <a:r>
            <a:rPr lang="en-US" b="0" i="0" dirty="0"/>
            <a:t>, </a:t>
          </a:r>
          <a:r>
            <a:rPr lang="en-US" b="0" i="0" dirty="0" err="1"/>
            <a:t>çevredeki</a:t>
          </a:r>
          <a:r>
            <a:rPr lang="en-US" b="0" i="0" dirty="0"/>
            <a:t> </a:t>
          </a:r>
          <a:r>
            <a:rPr lang="en-US" b="0" i="0" dirty="0" err="1"/>
            <a:t>konutlar</a:t>
          </a:r>
          <a:r>
            <a:rPr lang="en-US" b="0" i="0" dirty="0"/>
            <a:t>, </a:t>
          </a:r>
          <a:r>
            <a:rPr lang="en-US" b="0" i="0" dirty="0" err="1"/>
            <a:t>ticari</a:t>
          </a:r>
          <a:r>
            <a:rPr lang="en-US" b="0" i="0" dirty="0"/>
            <a:t> </a:t>
          </a:r>
          <a:r>
            <a:rPr lang="en-US" b="0" i="0" dirty="0" err="1"/>
            <a:t>alanlar</a:t>
          </a:r>
          <a:r>
            <a:rPr lang="en-US" b="0" i="0" dirty="0"/>
            <a:t> </a:t>
          </a:r>
          <a:r>
            <a:rPr lang="en-US" b="0" i="0" dirty="0" err="1"/>
            <a:t>ve</a:t>
          </a:r>
          <a:r>
            <a:rPr lang="en-US" b="0" i="0" dirty="0"/>
            <a:t> </a:t>
          </a:r>
          <a:r>
            <a:rPr lang="en-US" b="0" i="0" dirty="0" err="1"/>
            <a:t>rekreasyonel</a:t>
          </a:r>
          <a:r>
            <a:rPr lang="en-US" b="0" i="0" dirty="0"/>
            <a:t> </a:t>
          </a:r>
          <a:r>
            <a:rPr lang="en-US" b="0" i="0" dirty="0" err="1"/>
            <a:t>faaliyetlerin</a:t>
          </a:r>
          <a:r>
            <a:rPr lang="en-US" b="0" i="0" dirty="0"/>
            <a:t> </a:t>
          </a:r>
          <a:r>
            <a:rPr lang="en-US" b="0" i="0" dirty="0" err="1"/>
            <a:t>birleştirilmesine</a:t>
          </a:r>
          <a:r>
            <a:rPr lang="en-US" b="0" i="0" dirty="0"/>
            <a:t> </a:t>
          </a:r>
          <a:r>
            <a:rPr lang="en-US" b="0" i="0" dirty="0" err="1"/>
            <a:t>izin</a:t>
          </a:r>
          <a:r>
            <a:rPr lang="en-US" b="0" i="0" dirty="0"/>
            <a:t> </a:t>
          </a:r>
          <a:r>
            <a:rPr lang="en-US" b="0" i="0" dirty="0" err="1"/>
            <a:t>vererek</a:t>
          </a:r>
          <a:r>
            <a:rPr lang="en-US" b="0" i="0" dirty="0"/>
            <a:t>, </a:t>
          </a:r>
          <a:r>
            <a:rPr lang="en-US" b="0" i="0" dirty="0" err="1"/>
            <a:t>uzun</a:t>
          </a:r>
          <a:r>
            <a:rPr lang="en-US" b="0" i="0" dirty="0"/>
            <a:t> </a:t>
          </a:r>
          <a:r>
            <a:rPr lang="en-US" b="0" i="0" dirty="0" err="1"/>
            <a:t>mesafeli</a:t>
          </a:r>
          <a:r>
            <a:rPr lang="en-US" b="0" i="0" dirty="0"/>
            <a:t> </a:t>
          </a:r>
          <a:r>
            <a:rPr lang="en-US" b="0" i="0" dirty="0" err="1"/>
            <a:t>işe</a:t>
          </a:r>
          <a:r>
            <a:rPr lang="en-US" b="0" i="0" dirty="0"/>
            <a:t> </a:t>
          </a:r>
          <a:r>
            <a:rPr lang="en-US" b="0" i="0" dirty="0" err="1"/>
            <a:t>gidip</a:t>
          </a:r>
          <a:r>
            <a:rPr lang="en-US" b="0" i="0" dirty="0"/>
            <a:t> </a:t>
          </a:r>
          <a:r>
            <a:rPr lang="en-US" b="0" i="0" dirty="0" err="1"/>
            <a:t>gelme</a:t>
          </a:r>
          <a:r>
            <a:rPr lang="en-US" b="0" i="0" dirty="0"/>
            <a:t> </a:t>
          </a:r>
          <a:r>
            <a:rPr lang="en-US" b="0" i="0" dirty="0" err="1"/>
            <a:t>ihtiyacını</a:t>
          </a:r>
          <a:r>
            <a:rPr lang="en-US" b="0" i="0" dirty="0"/>
            <a:t> </a:t>
          </a:r>
          <a:r>
            <a:rPr lang="en-US" b="0" i="0" dirty="0" err="1"/>
            <a:t>azaltabilir</a:t>
          </a:r>
          <a:r>
            <a:rPr lang="en-US" b="0" i="0" dirty="0"/>
            <a:t> </a:t>
          </a:r>
          <a:r>
            <a:rPr lang="en-US" b="0" i="0" dirty="0" err="1"/>
            <a:t>ve</a:t>
          </a:r>
          <a:r>
            <a:rPr lang="en-US" b="0" i="0" dirty="0"/>
            <a:t> </a:t>
          </a:r>
          <a:r>
            <a:rPr lang="en-US" b="0" i="0" dirty="0" err="1"/>
            <a:t>canlı</a:t>
          </a:r>
          <a:r>
            <a:rPr lang="en-US" b="0" i="0" dirty="0"/>
            <a:t>, </a:t>
          </a:r>
          <a:r>
            <a:rPr lang="en-US" b="0" i="0" dirty="0" err="1"/>
            <a:t>yürünebilir</a:t>
          </a:r>
          <a:r>
            <a:rPr lang="en-US" b="0" i="0" dirty="0"/>
            <a:t> </a:t>
          </a:r>
          <a:r>
            <a:rPr lang="en-US" b="0" i="0" dirty="0" err="1"/>
            <a:t>topluluklar</a:t>
          </a:r>
          <a:r>
            <a:rPr lang="en-US" b="0" i="0" dirty="0"/>
            <a:t> </a:t>
          </a:r>
          <a:r>
            <a:rPr lang="en-US" b="0" i="0" dirty="0" err="1"/>
            <a:t>oluşturabilirler</a:t>
          </a:r>
          <a:r>
            <a:rPr lang="en-US" b="0" i="0" dirty="0"/>
            <a:t>. Bu </a:t>
          </a:r>
          <a:r>
            <a:rPr lang="en-US" b="0" i="0" dirty="0" err="1"/>
            <a:t>yaklaşım</a:t>
          </a:r>
          <a:r>
            <a:rPr lang="en-US" b="0" i="0" dirty="0"/>
            <a:t>, </a:t>
          </a:r>
          <a:r>
            <a:rPr lang="en-US" b="0" i="0" dirty="0" err="1"/>
            <a:t>aktif</a:t>
          </a:r>
          <a:r>
            <a:rPr lang="en-US" b="0" i="0" dirty="0"/>
            <a:t> </a:t>
          </a:r>
          <a:r>
            <a:rPr lang="en-US" b="0" i="0" dirty="0" err="1"/>
            <a:t>ulaşımı</a:t>
          </a:r>
          <a:r>
            <a:rPr lang="en-US" b="0" i="0" dirty="0"/>
            <a:t> </a:t>
          </a:r>
          <a:r>
            <a:rPr lang="en-US" b="0" i="0" dirty="0" err="1"/>
            <a:t>destekler</a:t>
          </a:r>
          <a:r>
            <a:rPr lang="en-US" b="0" i="0" dirty="0"/>
            <a:t> </a:t>
          </a:r>
          <a:r>
            <a:rPr lang="en-US" b="0" i="0" dirty="0" err="1"/>
            <a:t>ve</a:t>
          </a:r>
          <a:r>
            <a:rPr lang="en-US" b="0" i="0" dirty="0"/>
            <a:t> </a:t>
          </a:r>
          <a:r>
            <a:rPr lang="en-US" b="0" i="0" dirty="0" err="1"/>
            <a:t>özel</a:t>
          </a:r>
          <a:r>
            <a:rPr lang="en-US" b="0" i="0" dirty="0"/>
            <a:t> </a:t>
          </a:r>
          <a:r>
            <a:rPr lang="en-US" b="0" i="0" dirty="0" err="1"/>
            <a:t>araç</a:t>
          </a:r>
          <a:r>
            <a:rPr lang="en-US" b="0" i="0" dirty="0"/>
            <a:t> </a:t>
          </a:r>
          <a:r>
            <a:rPr lang="en-US" b="0" i="0" dirty="0" err="1"/>
            <a:t>kullanımına</a:t>
          </a:r>
          <a:r>
            <a:rPr lang="en-US" b="0" i="0" dirty="0"/>
            <a:t> </a:t>
          </a:r>
          <a:r>
            <a:rPr lang="en-US" b="0" i="0" dirty="0" err="1"/>
            <a:t>olan</a:t>
          </a:r>
          <a:r>
            <a:rPr lang="en-US" b="0" i="0" dirty="0"/>
            <a:t> </a:t>
          </a:r>
          <a:r>
            <a:rPr lang="en-US" b="0" i="0" dirty="0" err="1"/>
            <a:t>bağımlılığı</a:t>
          </a:r>
          <a:r>
            <a:rPr lang="en-US" b="0" i="0" dirty="0"/>
            <a:t> </a:t>
          </a:r>
          <a:r>
            <a:rPr lang="en-US" b="0" i="0" dirty="0" err="1"/>
            <a:t>düşürür</a:t>
          </a:r>
          <a:r>
            <a:rPr lang="en-US" b="0" i="0" dirty="0"/>
            <a:t>. Bu durum </a:t>
          </a:r>
          <a:r>
            <a:rPr lang="en-US" b="0" i="0" dirty="0" err="1"/>
            <a:t>çevresel</a:t>
          </a:r>
          <a:r>
            <a:rPr lang="en-US" b="0" i="0" dirty="0"/>
            <a:t> </a:t>
          </a:r>
          <a:r>
            <a:rPr lang="en-US" b="0" i="0" dirty="0" err="1"/>
            <a:t>sürdürülebilirliği</a:t>
          </a:r>
          <a:r>
            <a:rPr lang="en-US" b="0" i="0" dirty="0"/>
            <a:t> </a:t>
          </a:r>
          <a:r>
            <a:rPr lang="en-US" b="0" i="0" dirty="0" err="1"/>
            <a:t>ve</a:t>
          </a:r>
          <a:r>
            <a:rPr lang="en-US" b="0" i="0" dirty="0"/>
            <a:t> </a:t>
          </a:r>
          <a:r>
            <a:rPr lang="en-US" b="0" i="0" dirty="0" err="1"/>
            <a:t>yaşam</a:t>
          </a:r>
          <a:r>
            <a:rPr lang="en-US" b="0" i="0" dirty="0"/>
            <a:t> </a:t>
          </a:r>
          <a:r>
            <a:rPr lang="en-US" b="0" i="0" dirty="0" err="1"/>
            <a:t>kalitesini</a:t>
          </a:r>
          <a:r>
            <a:rPr lang="en-US" b="0" i="0" dirty="0"/>
            <a:t> </a:t>
          </a:r>
          <a:r>
            <a:rPr lang="en-US" b="0" i="0" dirty="0" err="1"/>
            <a:t>iyileştirir</a:t>
          </a:r>
          <a:r>
            <a:rPr lang="tr-TR" b="0" i="0" dirty="0"/>
            <a:t>.</a:t>
          </a:r>
          <a:endParaRPr dirty="0"/>
        </a:p>
      </dgm:t>
    </dgm:pt>
    <dgm:pt modelId="{59CDDFB4-ABE8-43BC-B703-B8FAAB2FFE8C}" type="parTrans" cxnId="{4B59E16F-178A-47F1-92DE-B1C08762D08E}">
      <dgm:prSet/>
      <dgm:spPr/>
      <dgm:t>
        <a:bodyPr/>
        <a:lstStyle/>
        <a:p>
          <a:endParaRPr lang="en-US"/>
        </a:p>
      </dgm:t>
    </dgm:pt>
    <dgm:pt modelId="{805F1150-21BC-42E2-943E-9992B33ADA08}" type="sibTrans" cxnId="{4B59E16F-178A-47F1-92DE-B1C08762D08E}">
      <dgm:prSet/>
      <dgm:spPr/>
      <dgm:t>
        <a:bodyPr/>
        <a:lstStyle/>
        <a:p>
          <a:endParaRPr lang="en-US"/>
        </a:p>
      </dgm:t>
    </dgm:pt>
    <dgm:pt modelId="{E38479D3-F6B3-46ED-83AF-70688DEC3A6D}" type="pres">
      <dgm:prSet presAssocID="{B863A85D-43CE-4EA2-9F02-CF0A5BF3F2E8}" presName="linear" presStyleCnt="0">
        <dgm:presLayoutVars>
          <dgm:dir/>
          <dgm:resizeHandles val="exact"/>
        </dgm:presLayoutVars>
      </dgm:prSet>
      <dgm:spPr/>
    </dgm:pt>
    <dgm:pt modelId="{BD404FDA-0190-4F39-886C-E3627AFBE52E}" type="pres">
      <dgm:prSet presAssocID="{7AD3D6DD-DAF6-4B31-A31F-5C9DE716D0E5}" presName="comp" presStyleCnt="0"/>
      <dgm:spPr/>
    </dgm:pt>
    <dgm:pt modelId="{E6324E7C-C6CA-4E3E-8E48-9F2008CE215B}" type="pres">
      <dgm:prSet presAssocID="{7AD3D6DD-DAF6-4B31-A31F-5C9DE716D0E5}" presName="box" presStyleLbl="node1" presStyleIdx="0" presStyleCnt="3"/>
      <dgm:spPr/>
    </dgm:pt>
    <dgm:pt modelId="{C7EA714E-AABA-4D4C-9F3F-B59F3DB3A9EF}" type="pres">
      <dgm:prSet presAssocID="{7AD3D6DD-DAF6-4B31-A31F-5C9DE716D0E5}" presName="img"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l="-28000" r="-28000"/>
          </a:stretch>
        </a:blipFill>
      </dgm:spPr>
    </dgm:pt>
    <dgm:pt modelId="{111E8F45-E067-4A1A-9A77-50DFBA6EF6ED}" type="pres">
      <dgm:prSet presAssocID="{7AD3D6DD-DAF6-4B31-A31F-5C9DE716D0E5}" presName="text" presStyleLbl="node1" presStyleIdx="0" presStyleCnt="3">
        <dgm:presLayoutVars>
          <dgm:bulletEnabled val="1"/>
        </dgm:presLayoutVars>
      </dgm:prSet>
      <dgm:spPr/>
    </dgm:pt>
    <dgm:pt modelId="{62AB468A-DA5D-408F-B05F-D646FE6D7924}" type="pres">
      <dgm:prSet presAssocID="{50D5CF9E-0445-432B-8561-7672DE1DE66D}" presName="spacer" presStyleCnt="0"/>
      <dgm:spPr/>
    </dgm:pt>
    <dgm:pt modelId="{CB74595A-B44C-4EEC-B163-009C41FF9BB2}" type="pres">
      <dgm:prSet presAssocID="{2CBA6A0E-5586-4568-B8BB-30769B2317F5}" presName="comp" presStyleCnt="0"/>
      <dgm:spPr/>
    </dgm:pt>
    <dgm:pt modelId="{D0008256-A9EB-4FB5-9B78-BE9F3504CA6E}" type="pres">
      <dgm:prSet presAssocID="{2CBA6A0E-5586-4568-B8BB-30769B2317F5}" presName="box" presStyleLbl="node1" presStyleIdx="1" presStyleCnt="3"/>
      <dgm:spPr/>
    </dgm:pt>
    <dgm:pt modelId="{6F3AA5BF-1BC3-4648-BB2B-5278FDE79E09}" type="pres">
      <dgm:prSet presAssocID="{2CBA6A0E-5586-4568-B8BB-30769B2317F5}" presName="img" presStyleLbl="fgImgPlace1" presStyleIdx="1" presStyleCnt="3"/>
      <dgm:spPr>
        <a:blipFill>
          <a:blip xmlns:r="http://schemas.openxmlformats.org/officeDocument/2006/relationships" r:embed="rId2">
            <a:extLst>
              <a:ext uri="{28A0092B-C50C-407E-A947-70E740481C1C}">
                <a14:useLocalDpi xmlns:a14="http://schemas.microsoft.com/office/drawing/2010/main" val="0"/>
              </a:ext>
            </a:extLst>
          </a:blip>
          <a:srcRect/>
          <a:stretch>
            <a:fillRect l="-1000" r="-1000"/>
          </a:stretch>
        </a:blipFill>
      </dgm:spPr>
    </dgm:pt>
    <dgm:pt modelId="{06EBCD75-16EB-4F91-9BA3-7CEB562BD48E}" type="pres">
      <dgm:prSet presAssocID="{2CBA6A0E-5586-4568-B8BB-30769B2317F5}" presName="text" presStyleLbl="node1" presStyleIdx="1" presStyleCnt="3">
        <dgm:presLayoutVars>
          <dgm:bulletEnabled val="1"/>
        </dgm:presLayoutVars>
      </dgm:prSet>
      <dgm:spPr/>
    </dgm:pt>
    <dgm:pt modelId="{8D23267A-86C5-46FE-999A-1CDEFA81E290}" type="pres">
      <dgm:prSet presAssocID="{6ED959E7-7B41-4905-A589-A01F3C20E970}" presName="spacer" presStyleCnt="0"/>
      <dgm:spPr/>
    </dgm:pt>
    <dgm:pt modelId="{7B121D37-32AA-421E-8D7B-E57CE3C84937}" type="pres">
      <dgm:prSet presAssocID="{36F29871-1CD4-4E57-BE43-77D9CA9E7058}" presName="comp" presStyleCnt="0"/>
      <dgm:spPr/>
    </dgm:pt>
    <dgm:pt modelId="{D9F01938-B8E6-48E9-BDCD-E8CA400E4B37}" type="pres">
      <dgm:prSet presAssocID="{36F29871-1CD4-4E57-BE43-77D9CA9E7058}" presName="box" presStyleLbl="node1" presStyleIdx="2" presStyleCnt="3"/>
      <dgm:spPr/>
    </dgm:pt>
    <dgm:pt modelId="{8F7FCAE3-C489-4390-A1C5-B160E29C78C4}" type="pres">
      <dgm:prSet presAssocID="{36F29871-1CD4-4E57-BE43-77D9CA9E7058}" presName="img"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26000" r="-26000"/>
          </a:stretch>
        </a:blipFill>
      </dgm:spPr>
    </dgm:pt>
    <dgm:pt modelId="{058C7733-C7F7-4082-B797-641F78279427}" type="pres">
      <dgm:prSet presAssocID="{36F29871-1CD4-4E57-BE43-77D9CA9E7058}" presName="text" presStyleLbl="node1" presStyleIdx="2" presStyleCnt="3">
        <dgm:presLayoutVars>
          <dgm:bulletEnabled val="1"/>
        </dgm:presLayoutVars>
      </dgm:prSet>
      <dgm:spPr/>
    </dgm:pt>
  </dgm:ptLst>
  <dgm:cxnLst>
    <dgm:cxn modelId="{F29F3306-514E-4053-B5BB-A18E9A7BD4F1}" type="presOf" srcId="{2CBA6A0E-5586-4568-B8BB-30769B2317F5}" destId="{D0008256-A9EB-4FB5-9B78-BE9F3504CA6E}" srcOrd="0" destOrd="0" presId="urn:microsoft.com/office/officeart/2005/8/layout/vList4"/>
    <dgm:cxn modelId="{4741440F-AC42-4822-9CEB-3C62AD5D4244}" srcId="{B863A85D-43CE-4EA2-9F02-CF0A5BF3F2E8}" destId="{2CBA6A0E-5586-4568-B8BB-30769B2317F5}" srcOrd="1" destOrd="0" parTransId="{3CCBFE30-3604-4DF4-88C7-96692314B46C}" sibTransId="{6ED959E7-7B41-4905-A589-A01F3C20E970}"/>
    <dgm:cxn modelId="{4F70EE1B-7A3A-47F2-8087-12C60103CA4B}" type="presOf" srcId="{7AD3D6DD-DAF6-4B31-A31F-5C9DE716D0E5}" destId="{111E8F45-E067-4A1A-9A77-50DFBA6EF6ED}" srcOrd="1" destOrd="0" presId="urn:microsoft.com/office/officeart/2005/8/layout/vList4"/>
    <dgm:cxn modelId="{5EE5143B-C4B0-4503-897B-8F06428A17E7}" type="presOf" srcId="{2CBA6A0E-5586-4568-B8BB-30769B2317F5}" destId="{06EBCD75-16EB-4F91-9BA3-7CEB562BD48E}" srcOrd="1" destOrd="0" presId="urn:microsoft.com/office/officeart/2005/8/layout/vList4"/>
    <dgm:cxn modelId="{E3821268-1A53-421D-B85D-0601B99109ED}" srcId="{B863A85D-43CE-4EA2-9F02-CF0A5BF3F2E8}" destId="{7AD3D6DD-DAF6-4B31-A31F-5C9DE716D0E5}" srcOrd="0" destOrd="0" parTransId="{F690E370-1BCC-4C79-85B1-586BC4183F8F}" sibTransId="{50D5CF9E-0445-432B-8561-7672DE1DE66D}"/>
    <dgm:cxn modelId="{4B59E16F-178A-47F1-92DE-B1C08762D08E}" srcId="{B863A85D-43CE-4EA2-9F02-CF0A5BF3F2E8}" destId="{36F29871-1CD4-4E57-BE43-77D9CA9E7058}" srcOrd="2" destOrd="0" parTransId="{59CDDFB4-ABE8-43BC-B703-B8FAAB2FFE8C}" sibTransId="{805F1150-21BC-42E2-943E-9992B33ADA08}"/>
    <dgm:cxn modelId="{E1AC0CBC-D5A7-46C0-AFB3-03F53D713A38}" type="presOf" srcId="{B863A85D-43CE-4EA2-9F02-CF0A5BF3F2E8}" destId="{E38479D3-F6B3-46ED-83AF-70688DEC3A6D}" srcOrd="0" destOrd="0" presId="urn:microsoft.com/office/officeart/2005/8/layout/vList4"/>
    <dgm:cxn modelId="{A94DD6D2-C03A-4B14-94A0-691B766FB485}" type="presOf" srcId="{36F29871-1CD4-4E57-BE43-77D9CA9E7058}" destId="{D9F01938-B8E6-48E9-BDCD-E8CA400E4B37}" srcOrd="0" destOrd="0" presId="urn:microsoft.com/office/officeart/2005/8/layout/vList4"/>
    <dgm:cxn modelId="{5611E0E5-E0E2-45B8-A3F9-A9FFCF9ED900}" type="presOf" srcId="{7AD3D6DD-DAF6-4B31-A31F-5C9DE716D0E5}" destId="{E6324E7C-C6CA-4E3E-8E48-9F2008CE215B}" srcOrd="0" destOrd="0" presId="urn:microsoft.com/office/officeart/2005/8/layout/vList4"/>
    <dgm:cxn modelId="{8CB081E8-3186-4F4E-BDF6-88E33AAF0C65}" type="presOf" srcId="{36F29871-1CD4-4E57-BE43-77D9CA9E7058}" destId="{058C7733-C7F7-4082-B797-641F78279427}" srcOrd="1" destOrd="0" presId="urn:microsoft.com/office/officeart/2005/8/layout/vList4"/>
    <dgm:cxn modelId="{A335A5EC-A1AF-4373-AE9A-92F8C8F22974}" type="presParOf" srcId="{E38479D3-F6B3-46ED-83AF-70688DEC3A6D}" destId="{BD404FDA-0190-4F39-886C-E3627AFBE52E}" srcOrd="0" destOrd="0" presId="urn:microsoft.com/office/officeart/2005/8/layout/vList4"/>
    <dgm:cxn modelId="{1F38B47C-B0ED-4770-A1CD-829AB00599AC}" type="presParOf" srcId="{BD404FDA-0190-4F39-886C-E3627AFBE52E}" destId="{E6324E7C-C6CA-4E3E-8E48-9F2008CE215B}" srcOrd="0" destOrd="0" presId="urn:microsoft.com/office/officeart/2005/8/layout/vList4"/>
    <dgm:cxn modelId="{1A69663D-6FB3-4DBD-B108-CBBF4390C1A0}" type="presParOf" srcId="{BD404FDA-0190-4F39-886C-E3627AFBE52E}" destId="{C7EA714E-AABA-4D4C-9F3F-B59F3DB3A9EF}" srcOrd="1" destOrd="0" presId="urn:microsoft.com/office/officeart/2005/8/layout/vList4"/>
    <dgm:cxn modelId="{80F4F4AD-72E2-4CF2-8CDB-396EDF096524}" type="presParOf" srcId="{BD404FDA-0190-4F39-886C-E3627AFBE52E}" destId="{111E8F45-E067-4A1A-9A77-50DFBA6EF6ED}" srcOrd="2" destOrd="0" presId="urn:microsoft.com/office/officeart/2005/8/layout/vList4"/>
    <dgm:cxn modelId="{10363EFA-15C0-47EE-8196-5B2378134C89}" type="presParOf" srcId="{E38479D3-F6B3-46ED-83AF-70688DEC3A6D}" destId="{62AB468A-DA5D-408F-B05F-D646FE6D7924}" srcOrd="1" destOrd="0" presId="urn:microsoft.com/office/officeart/2005/8/layout/vList4"/>
    <dgm:cxn modelId="{AA3FDF2E-95DF-423B-970B-7224BE3263AF}" type="presParOf" srcId="{E38479D3-F6B3-46ED-83AF-70688DEC3A6D}" destId="{CB74595A-B44C-4EEC-B163-009C41FF9BB2}" srcOrd="2" destOrd="0" presId="urn:microsoft.com/office/officeart/2005/8/layout/vList4"/>
    <dgm:cxn modelId="{794245DA-CDAB-4604-B21A-8B5BA82095A7}" type="presParOf" srcId="{CB74595A-B44C-4EEC-B163-009C41FF9BB2}" destId="{D0008256-A9EB-4FB5-9B78-BE9F3504CA6E}" srcOrd="0" destOrd="0" presId="urn:microsoft.com/office/officeart/2005/8/layout/vList4"/>
    <dgm:cxn modelId="{67134E84-4513-4D36-8E07-A1869597CC9E}" type="presParOf" srcId="{CB74595A-B44C-4EEC-B163-009C41FF9BB2}" destId="{6F3AA5BF-1BC3-4648-BB2B-5278FDE79E09}" srcOrd="1" destOrd="0" presId="urn:microsoft.com/office/officeart/2005/8/layout/vList4"/>
    <dgm:cxn modelId="{31D04918-DE21-4A30-8990-0E91096D8AA4}" type="presParOf" srcId="{CB74595A-B44C-4EEC-B163-009C41FF9BB2}" destId="{06EBCD75-16EB-4F91-9BA3-7CEB562BD48E}" srcOrd="2" destOrd="0" presId="urn:microsoft.com/office/officeart/2005/8/layout/vList4"/>
    <dgm:cxn modelId="{17D150F1-8924-4037-9BBB-66391BC0E2F1}" type="presParOf" srcId="{E38479D3-F6B3-46ED-83AF-70688DEC3A6D}" destId="{8D23267A-86C5-46FE-999A-1CDEFA81E290}" srcOrd="3" destOrd="0" presId="urn:microsoft.com/office/officeart/2005/8/layout/vList4"/>
    <dgm:cxn modelId="{A645237A-528B-4C75-87D5-2FB548FFC0D2}" type="presParOf" srcId="{E38479D3-F6B3-46ED-83AF-70688DEC3A6D}" destId="{7B121D37-32AA-421E-8D7B-E57CE3C84937}" srcOrd="4" destOrd="0" presId="urn:microsoft.com/office/officeart/2005/8/layout/vList4"/>
    <dgm:cxn modelId="{6E4EC95F-FDF1-414B-9B2D-C5840067BD75}" type="presParOf" srcId="{7B121D37-32AA-421E-8D7B-E57CE3C84937}" destId="{D9F01938-B8E6-48E9-BDCD-E8CA400E4B37}" srcOrd="0" destOrd="0" presId="urn:microsoft.com/office/officeart/2005/8/layout/vList4"/>
    <dgm:cxn modelId="{B2D9FB9A-7DF7-4C5A-A3EE-E4B42AF2E499}" type="presParOf" srcId="{7B121D37-32AA-421E-8D7B-E57CE3C84937}" destId="{8F7FCAE3-C489-4390-A1C5-B160E29C78C4}" srcOrd="1" destOrd="0" presId="urn:microsoft.com/office/officeart/2005/8/layout/vList4"/>
    <dgm:cxn modelId="{71306E88-F80A-4F63-87ED-7ECD640A5634}" type="presParOf" srcId="{7B121D37-32AA-421E-8D7B-E57CE3C84937}" destId="{058C7733-C7F7-4082-B797-641F78279427}" srcOrd="2" destOrd="0" presId="urn:microsoft.com/office/officeart/2005/8/layout/vList4"/>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3ADF07C0-9B14-4126-810B-3511680E1174}" type="doc">
      <dgm:prSet loTypeId="urn:microsoft.com/office/officeart/2018/2/layout/IconVerticalSolidList" loCatId="icon" qsTypeId="urn:microsoft.com/office/officeart/2005/8/quickstyle/simple1" qsCatId="simple" csTypeId="urn:microsoft.com/office/officeart/2018/5/colors/Iconchunking_neutralicontext_colorful1" csCatId="colorful" phldr="1"/>
      <dgm:spPr/>
      <dgm:t>
        <a:bodyPr/>
        <a:lstStyle/>
        <a:p>
          <a:endParaRPr lang="en-US"/>
        </a:p>
      </dgm:t>
    </dgm:pt>
    <dgm:pt modelId="{A39CEC2E-821C-4F4F-AAE8-79A1D332AE74}">
      <dgm:prSet/>
      <dgm:spPr/>
      <dgm:t>
        <a:bodyPr/>
        <a:lstStyle/>
        <a:p>
          <a:pPr algn="just"/>
          <a:r>
            <a:rPr lang="en-US" b="0" i="0" dirty="0"/>
            <a:t>Ulaşım </a:t>
          </a:r>
          <a:r>
            <a:rPr lang="en-US" b="0" i="0" dirty="0" err="1"/>
            <a:t>planlama</a:t>
          </a:r>
          <a:r>
            <a:rPr lang="en-US" b="0" i="0" dirty="0"/>
            <a:t> </a:t>
          </a:r>
          <a:r>
            <a:rPr lang="en-US" b="0" i="0" dirty="0" err="1"/>
            <a:t>ilkeleri</a:t>
          </a:r>
          <a:r>
            <a:rPr lang="en-US" b="0" i="0" dirty="0"/>
            <a:t> </a:t>
          </a:r>
          <a:r>
            <a:rPr lang="en-US" b="0" i="0" dirty="0" err="1"/>
            <a:t>üzerine</a:t>
          </a:r>
          <a:r>
            <a:rPr lang="en-US" b="0" i="0" dirty="0"/>
            <a:t> </a:t>
          </a:r>
          <a:r>
            <a:rPr lang="en-US" b="0" i="0" dirty="0" err="1"/>
            <a:t>yaptığımız</a:t>
          </a:r>
          <a:r>
            <a:rPr lang="en-US" b="0" i="0" dirty="0"/>
            <a:t> </a:t>
          </a:r>
          <a:r>
            <a:rPr lang="en-US" b="0" i="0" dirty="0" err="1"/>
            <a:t>bu</a:t>
          </a:r>
          <a:r>
            <a:rPr lang="en-US" b="0" i="0" dirty="0"/>
            <a:t> </a:t>
          </a:r>
          <a:r>
            <a:rPr lang="en-US" b="0" i="0" dirty="0" err="1"/>
            <a:t>sunumu</a:t>
          </a:r>
          <a:r>
            <a:rPr lang="en-US" b="0" i="0" dirty="0"/>
            <a:t> </a:t>
          </a:r>
          <a:r>
            <a:rPr lang="en-US" b="0" i="0" dirty="0" err="1"/>
            <a:t>sonlandırırken</a:t>
          </a:r>
          <a:r>
            <a:rPr lang="en-US" b="0" i="0" dirty="0"/>
            <a:t> </a:t>
          </a:r>
          <a:r>
            <a:rPr lang="en-US" b="0" i="0" dirty="0" err="1"/>
            <a:t>etkili</a:t>
          </a:r>
          <a:r>
            <a:rPr lang="en-US" b="0" i="0" dirty="0"/>
            <a:t> </a:t>
          </a:r>
          <a:r>
            <a:rPr lang="en-US" b="0" i="0" dirty="0" err="1"/>
            <a:t>ulaşım</a:t>
          </a:r>
          <a:r>
            <a:rPr lang="en-US" b="0" i="0" dirty="0"/>
            <a:t> </a:t>
          </a:r>
          <a:r>
            <a:rPr lang="en-US" b="0" i="0" dirty="0" err="1"/>
            <a:t>planlama</a:t>
          </a:r>
          <a:r>
            <a:rPr lang="en-US" b="0" i="0" dirty="0"/>
            <a:t> </a:t>
          </a:r>
          <a:r>
            <a:rPr lang="en-US" b="0" i="0" dirty="0" err="1"/>
            <a:t>stratejilerinin</a:t>
          </a:r>
          <a:r>
            <a:rPr lang="en-US" b="0" i="0" dirty="0"/>
            <a:t> </a:t>
          </a:r>
          <a:r>
            <a:rPr lang="en-US" b="0" i="0" dirty="0" err="1"/>
            <a:t>temelini</a:t>
          </a:r>
          <a:r>
            <a:rPr lang="en-US" b="0" i="0" dirty="0"/>
            <a:t> </a:t>
          </a:r>
          <a:r>
            <a:rPr lang="en-US" b="0" i="0" dirty="0" err="1"/>
            <a:t>oluşturan</a:t>
          </a:r>
          <a:r>
            <a:rPr lang="en-US" b="0" i="0" dirty="0"/>
            <a:t> </a:t>
          </a:r>
          <a:r>
            <a:rPr lang="en-US" b="0" i="0" dirty="0" err="1"/>
            <a:t>teorik</a:t>
          </a:r>
          <a:r>
            <a:rPr lang="en-US" b="0" i="0" dirty="0"/>
            <a:t> </a:t>
          </a:r>
          <a:r>
            <a:rPr lang="en-US" b="0" i="0" dirty="0" err="1"/>
            <a:t>temelleri</a:t>
          </a:r>
          <a:r>
            <a:rPr lang="en-US" b="0" i="0" dirty="0"/>
            <a:t> </a:t>
          </a:r>
          <a:r>
            <a:rPr lang="en-US" b="0" i="0" dirty="0" err="1"/>
            <a:t>keşfetmeniz</a:t>
          </a:r>
          <a:r>
            <a:rPr lang="en-US" b="0" i="0" dirty="0"/>
            <a:t> </a:t>
          </a:r>
          <a:r>
            <a:rPr lang="en-US" b="0" i="0" dirty="0" err="1"/>
            <a:t>için</a:t>
          </a:r>
          <a:r>
            <a:rPr lang="en-US" b="0" i="0" dirty="0"/>
            <a:t> </a:t>
          </a:r>
          <a:r>
            <a:rPr lang="en-US" b="0" i="0" dirty="0" err="1"/>
            <a:t>sizi</a:t>
          </a:r>
          <a:r>
            <a:rPr lang="en-US" b="0" i="0" dirty="0"/>
            <a:t> </a:t>
          </a:r>
          <a:r>
            <a:rPr lang="en-US" b="0" i="0" dirty="0" err="1"/>
            <a:t>davet</a:t>
          </a:r>
          <a:r>
            <a:rPr lang="en-US" b="0" i="0" dirty="0"/>
            <a:t> </a:t>
          </a:r>
          <a:r>
            <a:rPr lang="en-US" b="0" i="0" dirty="0" err="1"/>
            <a:t>ediyoruz</a:t>
          </a:r>
          <a:r>
            <a:rPr lang="tr-TR" b="0" i="0" dirty="0"/>
            <a:t>.</a:t>
          </a:r>
          <a:endParaRPr dirty="0"/>
        </a:p>
      </dgm:t>
    </dgm:pt>
    <dgm:pt modelId="{8824DF2E-FA1E-43EA-87FC-88D6A4ACEFDF}" type="parTrans" cxnId="{C38C8691-4D26-47AF-9B93-D574A6CA2CA1}">
      <dgm:prSet/>
      <dgm:spPr/>
      <dgm:t>
        <a:bodyPr/>
        <a:lstStyle/>
        <a:p>
          <a:endParaRPr lang="en-US"/>
        </a:p>
      </dgm:t>
    </dgm:pt>
    <dgm:pt modelId="{97188131-6D14-4510-AE89-C3BF1529E59A}" type="sibTrans" cxnId="{C38C8691-4D26-47AF-9B93-D574A6CA2CA1}">
      <dgm:prSet/>
      <dgm:spPr/>
      <dgm:t>
        <a:bodyPr/>
        <a:lstStyle/>
        <a:p>
          <a:endParaRPr lang="en-US"/>
        </a:p>
      </dgm:t>
    </dgm:pt>
    <dgm:pt modelId="{BB460BF4-E051-44BC-BBEF-C28D76D197EE}">
      <dgm:prSet/>
      <dgm:spPr/>
      <dgm:t>
        <a:bodyPr/>
        <a:lstStyle/>
        <a:p>
          <a:pPr algn="just"/>
          <a:r>
            <a:rPr lang="en-US" b="0" i="0" dirty="0" err="1"/>
            <a:t>Bilinçli</a:t>
          </a:r>
          <a:r>
            <a:rPr lang="en-US" b="0" i="0" dirty="0"/>
            <a:t> </a:t>
          </a:r>
          <a:r>
            <a:rPr lang="en-US" b="0" i="0" dirty="0" err="1"/>
            <a:t>kararlar</a:t>
          </a:r>
          <a:r>
            <a:rPr lang="en-US" b="0" i="0" dirty="0"/>
            <a:t> </a:t>
          </a:r>
          <a:r>
            <a:rPr lang="en-US" b="0" i="0" dirty="0" err="1"/>
            <a:t>alabilmek</a:t>
          </a:r>
          <a:r>
            <a:rPr lang="en-US" b="0" i="0" dirty="0"/>
            <a:t> </a:t>
          </a:r>
          <a:r>
            <a:rPr lang="en-US" b="0" i="0" dirty="0" err="1"/>
            <a:t>ve</a:t>
          </a:r>
          <a:r>
            <a:rPr lang="en-US" b="0" i="0" dirty="0"/>
            <a:t> </a:t>
          </a:r>
          <a:r>
            <a:rPr lang="en-US" b="0" i="0" dirty="0" err="1"/>
            <a:t>sürdürülebilir</a:t>
          </a:r>
          <a:r>
            <a:rPr lang="en-US" b="0" i="0" dirty="0"/>
            <a:t>, </a:t>
          </a:r>
          <a:r>
            <a:rPr lang="en-US" b="0" i="0" dirty="0" err="1"/>
            <a:t>verimli</a:t>
          </a:r>
          <a:r>
            <a:rPr lang="en-US" b="0" i="0" dirty="0"/>
            <a:t> </a:t>
          </a:r>
          <a:r>
            <a:rPr lang="en-US" b="0" i="0" dirty="0" err="1"/>
            <a:t>ulaşım</a:t>
          </a:r>
          <a:r>
            <a:rPr lang="en-US" b="0" i="0" dirty="0"/>
            <a:t> </a:t>
          </a:r>
          <a:r>
            <a:rPr lang="en-US" b="0" i="0" dirty="0" err="1"/>
            <a:t>sistemlerini</a:t>
          </a:r>
          <a:r>
            <a:rPr lang="en-US" b="0" i="0" dirty="0"/>
            <a:t> </a:t>
          </a:r>
          <a:r>
            <a:rPr lang="en-US" b="0" i="0" dirty="0" err="1"/>
            <a:t>oluşturabilmek</a:t>
          </a:r>
          <a:r>
            <a:rPr lang="en-US" b="0" i="0" dirty="0"/>
            <a:t> </a:t>
          </a:r>
          <a:r>
            <a:rPr lang="en-US" b="0" i="0" dirty="0" err="1"/>
            <a:t>için</a:t>
          </a:r>
          <a:r>
            <a:rPr lang="en-US" b="0" i="0" dirty="0"/>
            <a:t> </a:t>
          </a:r>
          <a:r>
            <a:rPr lang="en-US" b="0" i="0" dirty="0" err="1"/>
            <a:t>bu</a:t>
          </a:r>
          <a:r>
            <a:rPr lang="en-US" b="0" i="0" dirty="0"/>
            <a:t> </a:t>
          </a:r>
          <a:r>
            <a:rPr lang="en-US" b="0" i="0" dirty="0" err="1"/>
            <a:t>teorilerin</a:t>
          </a:r>
          <a:r>
            <a:rPr lang="en-US" b="0" i="0" dirty="0"/>
            <a:t> </a:t>
          </a:r>
          <a:r>
            <a:rPr lang="en-US" b="0" i="0" dirty="0" err="1"/>
            <a:t>anlaşılması</a:t>
          </a:r>
          <a:r>
            <a:rPr lang="en-US" b="0" i="0" dirty="0"/>
            <a:t> </a:t>
          </a:r>
          <a:r>
            <a:rPr lang="en-US" b="0" i="0" dirty="0" err="1"/>
            <a:t>hayati</a:t>
          </a:r>
          <a:r>
            <a:rPr lang="en-US" b="0" i="0" dirty="0"/>
            <a:t> </a:t>
          </a:r>
          <a:r>
            <a:rPr lang="en-US" b="0" i="0" dirty="0" err="1"/>
            <a:t>önem</a:t>
          </a:r>
          <a:r>
            <a:rPr lang="en-US" b="0" i="0" dirty="0"/>
            <a:t> </a:t>
          </a:r>
          <a:r>
            <a:rPr lang="en-US" b="0" i="0" dirty="0" err="1"/>
            <a:t>taşımaktadır</a:t>
          </a:r>
          <a:r>
            <a:rPr lang="en-US" b="0" i="0" dirty="0"/>
            <a:t>.</a:t>
          </a:r>
        </a:p>
        <a:p>
          <a:pPr algn="just"/>
          <a:endParaRPr dirty="0"/>
        </a:p>
      </dgm:t>
    </dgm:pt>
    <dgm:pt modelId="{AEE76070-C3C5-4E03-96D9-97FD60FF1B5D}" type="parTrans" cxnId="{E181A6B0-6174-40CE-BF2E-B50D83D1D23F}">
      <dgm:prSet/>
      <dgm:spPr/>
      <dgm:t>
        <a:bodyPr/>
        <a:lstStyle/>
        <a:p>
          <a:endParaRPr lang="en-US"/>
        </a:p>
      </dgm:t>
    </dgm:pt>
    <dgm:pt modelId="{AD7E1630-51BD-4A8E-AFD5-190C0C26CF08}" type="sibTrans" cxnId="{E181A6B0-6174-40CE-BF2E-B50D83D1D23F}">
      <dgm:prSet/>
      <dgm:spPr/>
      <dgm:t>
        <a:bodyPr/>
        <a:lstStyle/>
        <a:p>
          <a:endParaRPr lang="en-US"/>
        </a:p>
      </dgm:t>
    </dgm:pt>
    <dgm:pt modelId="{CA53A361-A044-4EE4-9B29-3FC9E5DA0BDD}">
      <dgm:prSet/>
      <dgm:spPr/>
      <dgm:t>
        <a:bodyPr/>
        <a:lstStyle/>
        <a:p>
          <a:pPr algn="just"/>
          <a:r>
            <a:rPr lang="en-US" b="0" i="0" dirty="0"/>
            <a:t>Bir </a:t>
          </a:r>
          <a:r>
            <a:rPr lang="en-US" b="0" i="0" dirty="0" err="1"/>
            <a:t>sonraki</a:t>
          </a:r>
          <a:r>
            <a:rPr lang="en-US" b="0" i="0" dirty="0"/>
            <a:t> </a:t>
          </a:r>
          <a:r>
            <a:rPr lang="en-US" b="0" i="0" dirty="0" err="1"/>
            <a:t>sunumda</a:t>
          </a:r>
          <a:r>
            <a:rPr lang="en-US" b="0" i="0" dirty="0"/>
            <a:t>, </a:t>
          </a:r>
          <a:r>
            <a:rPr lang="en-US" b="0" i="0" dirty="0" err="1"/>
            <a:t>ulaşım</a:t>
          </a:r>
          <a:r>
            <a:rPr lang="en-US" b="0" i="0" dirty="0"/>
            <a:t> </a:t>
          </a:r>
          <a:r>
            <a:rPr lang="en-US" b="0" i="0" dirty="0" err="1"/>
            <a:t>planlamasını</a:t>
          </a:r>
          <a:r>
            <a:rPr lang="en-US" b="0" i="0" dirty="0"/>
            <a:t> </a:t>
          </a:r>
          <a:r>
            <a:rPr lang="en-US" b="0" i="0" dirty="0" err="1"/>
            <a:t>şekillendiren</a:t>
          </a:r>
          <a:r>
            <a:rPr lang="en-US" b="0" i="0" dirty="0"/>
            <a:t> </a:t>
          </a:r>
          <a:r>
            <a:rPr lang="en-US" b="0" i="0" dirty="0" err="1"/>
            <a:t>temel</a:t>
          </a:r>
          <a:r>
            <a:rPr lang="en-US" b="0" i="0" dirty="0"/>
            <a:t> </a:t>
          </a:r>
          <a:r>
            <a:rPr lang="en-US" b="0" i="0" dirty="0" err="1"/>
            <a:t>teorileri</a:t>
          </a:r>
          <a:r>
            <a:rPr lang="en-US" b="0" i="0" dirty="0"/>
            <a:t> </a:t>
          </a:r>
          <a:r>
            <a:rPr lang="en-US" b="0" i="0" dirty="0" err="1"/>
            <a:t>ve</a:t>
          </a:r>
          <a:r>
            <a:rPr lang="en-US" b="0" i="0" dirty="0"/>
            <a:t> </a:t>
          </a:r>
          <a:r>
            <a:rPr lang="en-US" b="0" i="0" dirty="0" err="1"/>
            <a:t>kavramları</a:t>
          </a:r>
          <a:r>
            <a:rPr lang="en-US" b="0" i="0" dirty="0"/>
            <a:t> </a:t>
          </a:r>
          <a:r>
            <a:rPr lang="en-US" b="0" i="0" dirty="0" err="1"/>
            <a:t>derinlemesine</a:t>
          </a:r>
          <a:r>
            <a:rPr lang="en-US" b="0" i="0" dirty="0"/>
            <a:t> </a:t>
          </a:r>
          <a:r>
            <a:rPr lang="en-US" b="0" i="0" dirty="0" err="1"/>
            <a:t>inceleyecek</a:t>
          </a:r>
          <a:r>
            <a:rPr lang="en-US" b="0" i="0" dirty="0"/>
            <a:t> </a:t>
          </a:r>
          <a:r>
            <a:rPr lang="en-US" b="0" i="0" dirty="0" err="1"/>
            <a:t>ve</a:t>
          </a:r>
          <a:r>
            <a:rPr lang="en-US" b="0" i="0" dirty="0"/>
            <a:t> </a:t>
          </a:r>
          <a:r>
            <a:rPr lang="en-US" b="0" i="0" dirty="0" err="1"/>
            <a:t>bu</a:t>
          </a:r>
          <a:r>
            <a:rPr lang="en-US" b="0" i="0" dirty="0"/>
            <a:t> </a:t>
          </a:r>
          <a:r>
            <a:rPr lang="en-US" b="0" i="0" dirty="0" err="1"/>
            <a:t>teorik</a:t>
          </a:r>
          <a:r>
            <a:rPr lang="en-US" b="0" i="0" dirty="0"/>
            <a:t> </a:t>
          </a:r>
          <a:r>
            <a:rPr lang="en-US" b="0" i="0" dirty="0" err="1"/>
            <a:t>temellerin</a:t>
          </a:r>
          <a:r>
            <a:rPr lang="en-US" b="0" i="0" dirty="0"/>
            <a:t> </a:t>
          </a:r>
          <a:r>
            <a:rPr lang="en-US" b="0" i="0" dirty="0" err="1"/>
            <a:t>sizin</a:t>
          </a:r>
          <a:r>
            <a:rPr lang="en-US" b="0" i="0" dirty="0"/>
            <a:t> </a:t>
          </a:r>
          <a:r>
            <a:rPr lang="en-US" b="0" i="0" dirty="0" err="1"/>
            <a:t>için</a:t>
          </a:r>
          <a:r>
            <a:rPr lang="en-US" b="0" i="0" dirty="0"/>
            <a:t> </a:t>
          </a:r>
          <a:r>
            <a:rPr lang="en-US" b="0" i="0" dirty="0" err="1"/>
            <a:t>daha</a:t>
          </a:r>
          <a:r>
            <a:rPr lang="en-US" b="0" i="0" dirty="0"/>
            <a:t> </a:t>
          </a:r>
          <a:r>
            <a:rPr lang="en-US" b="0" i="0" dirty="0" err="1"/>
            <a:t>kapsamlı</a:t>
          </a:r>
          <a:r>
            <a:rPr lang="en-US" b="0" i="0" dirty="0"/>
            <a:t> </a:t>
          </a:r>
          <a:r>
            <a:rPr lang="en-US" b="0" i="0" dirty="0" err="1"/>
            <a:t>bir</a:t>
          </a:r>
          <a:r>
            <a:rPr lang="en-US" b="0" i="0" dirty="0"/>
            <a:t> </a:t>
          </a:r>
          <a:r>
            <a:rPr lang="en-US" b="0" i="0" dirty="0" err="1"/>
            <a:t>şekilde</a:t>
          </a:r>
          <a:r>
            <a:rPr lang="en-US" b="0" i="0" dirty="0"/>
            <a:t> </a:t>
          </a:r>
          <a:r>
            <a:rPr lang="en-US" b="0" i="0" dirty="0" err="1"/>
            <a:t>anlaşılmasını</a:t>
          </a:r>
          <a:r>
            <a:rPr lang="en-US" b="0" i="0" dirty="0"/>
            <a:t> </a:t>
          </a:r>
          <a:r>
            <a:rPr lang="en-US" b="0" i="0" dirty="0" err="1"/>
            <a:t>sağlayacağız</a:t>
          </a:r>
          <a:r>
            <a:rPr lang="en-US" b="0" i="0" dirty="0"/>
            <a:t>.</a:t>
          </a:r>
        </a:p>
      </dgm:t>
    </dgm:pt>
    <dgm:pt modelId="{3F0C01E4-9960-42D0-97E8-2374FA0EE793}" type="parTrans" cxnId="{AAEC85A2-62B9-40EC-9213-5CEDBAC6B761}">
      <dgm:prSet/>
      <dgm:spPr/>
      <dgm:t>
        <a:bodyPr/>
        <a:lstStyle/>
        <a:p>
          <a:endParaRPr lang="en-US"/>
        </a:p>
      </dgm:t>
    </dgm:pt>
    <dgm:pt modelId="{DB0594FF-F76A-4570-AFD1-283C007C2191}" type="sibTrans" cxnId="{AAEC85A2-62B9-40EC-9213-5CEDBAC6B761}">
      <dgm:prSet/>
      <dgm:spPr/>
      <dgm:t>
        <a:bodyPr/>
        <a:lstStyle/>
        <a:p>
          <a:endParaRPr lang="en-US"/>
        </a:p>
      </dgm:t>
    </dgm:pt>
    <dgm:pt modelId="{7073508A-9F6C-4F38-8713-D6718C0D9861}" type="pres">
      <dgm:prSet presAssocID="{3ADF07C0-9B14-4126-810B-3511680E1174}" presName="root" presStyleCnt="0">
        <dgm:presLayoutVars>
          <dgm:dir/>
          <dgm:resizeHandles val="exact"/>
        </dgm:presLayoutVars>
      </dgm:prSet>
      <dgm:spPr/>
    </dgm:pt>
    <dgm:pt modelId="{2BE7EB34-299E-45B4-BB8C-894AF620AADC}" type="pres">
      <dgm:prSet presAssocID="{A39CEC2E-821C-4F4F-AAE8-79A1D332AE74}" presName="compNode" presStyleCnt="0"/>
      <dgm:spPr/>
    </dgm:pt>
    <dgm:pt modelId="{C029E31D-9A8A-45F9-8B3D-99A6014D6B52}" type="pres">
      <dgm:prSet presAssocID="{A39CEC2E-821C-4F4F-AAE8-79A1D332AE74}" presName="bgRect" presStyleLbl="bgShp" presStyleIdx="0" presStyleCnt="3"/>
      <dgm:spPr/>
    </dgm:pt>
    <dgm:pt modelId="{98A0628E-DCD5-4227-916B-21CCD6C046EC}" type="pres">
      <dgm:prSet presAssocID="{A39CEC2E-821C-4F4F-AAE8-79A1D332AE74}" presName="iconRect" presStyleLbl="node1" presStyleIdx="0" presStyleCnt="3"/>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Train"/>
        </a:ext>
      </dgm:extLst>
    </dgm:pt>
    <dgm:pt modelId="{3D4FFDAD-34C4-4F2F-87AB-98F99CE0C5EB}" type="pres">
      <dgm:prSet presAssocID="{A39CEC2E-821C-4F4F-AAE8-79A1D332AE74}" presName="spaceRect" presStyleCnt="0"/>
      <dgm:spPr/>
    </dgm:pt>
    <dgm:pt modelId="{8183BAE6-AD69-4B44-BC03-E8DE86A6B79D}" type="pres">
      <dgm:prSet presAssocID="{A39CEC2E-821C-4F4F-AAE8-79A1D332AE74}" presName="parTx" presStyleLbl="revTx" presStyleIdx="0" presStyleCnt="3">
        <dgm:presLayoutVars>
          <dgm:chMax val="0"/>
          <dgm:chPref val="0"/>
        </dgm:presLayoutVars>
      </dgm:prSet>
      <dgm:spPr/>
    </dgm:pt>
    <dgm:pt modelId="{9B9816A9-61C9-4395-A799-813DF4711AA9}" type="pres">
      <dgm:prSet presAssocID="{97188131-6D14-4510-AE89-C3BF1529E59A}" presName="sibTrans" presStyleCnt="0"/>
      <dgm:spPr/>
    </dgm:pt>
    <dgm:pt modelId="{37832A30-301C-4591-8082-7C862B2C8D15}" type="pres">
      <dgm:prSet presAssocID="{BB460BF4-E051-44BC-BBEF-C28D76D197EE}" presName="compNode" presStyleCnt="0"/>
      <dgm:spPr/>
    </dgm:pt>
    <dgm:pt modelId="{641F9267-2109-4332-AFDB-E935C738834F}" type="pres">
      <dgm:prSet presAssocID="{BB460BF4-E051-44BC-BBEF-C28D76D197EE}" presName="bgRect" presStyleLbl="bgShp" presStyleIdx="1" presStyleCnt="3"/>
      <dgm:spPr/>
    </dgm:pt>
    <dgm:pt modelId="{2B2F1547-FE57-4E58-B36E-B4D245DA514B}" type="pres">
      <dgm:prSet presAssocID="{BB460BF4-E051-44BC-BBEF-C28D76D197EE}" presName="iconRect" presStyleLbl="node1" presStyleIdx="1" presStyleCnt="3"/>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Electric Car"/>
        </a:ext>
      </dgm:extLst>
    </dgm:pt>
    <dgm:pt modelId="{AC2ADBA6-9BF9-4BA9-B534-FA7F0D08F83C}" type="pres">
      <dgm:prSet presAssocID="{BB460BF4-E051-44BC-BBEF-C28D76D197EE}" presName="spaceRect" presStyleCnt="0"/>
      <dgm:spPr/>
    </dgm:pt>
    <dgm:pt modelId="{80330144-ECB5-4AC4-93C8-466257271460}" type="pres">
      <dgm:prSet presAssocID="{BB460BF4-E051-44BC-BBEF-C28D76D197EE}" presName="parTx" presStyleLbl="revTx" presStyleIdx="1" presStyleCnt="3">
        <dgm:presLayoutVars>
          <dgm:chMax val="0"/>
          <dgm:chPref val="0"/>
        </dgm:presLayoutVars>
      </dgm:prSet>
      <dgm:spPr/>
    </dgm:pt>
    <dgm:pt modelId="{CFC1F8E4-BA55-49B7-B93B-B4E05DF31BBC}" type="pres">
      <dgm:prSet presAssocID="{AD7E1630-51BD-4A8E-AFD5-190C0C26CF08}" presName="sibTrans" presStyleCnt="0"/>
      <dgm:spPr/>
    </dgm:pt>
    <dgm:pt modelId="{A0FDAAD1-B35A-4580-B18A-845D932C6FAE}" type="pres">
      <dgm:prSet presAssocID="{CA53A361-A044-4EE4-9B29-3FC9E5DA0BDD}" presName="compNode" presStyleCnt="0"/>
      <dgm:spPr/>
    </dgm:pt>
    <dgm:pt modelId="{8764B429-ACF1-46CA-9712-4C88DE8F17EB}" type="pres">
      <dgm:prSet presAssocID="{CA53A361-A044-4EE4-9B29-3FC9E5DA0BDD}" presName="bgRect" presStyleLbl="bgShp" presStyleIdx="2" presStyleCnt="3"/>
      <dgm:spPr/>
    </dgm:pt>
    <dgm:pt modelId="{D945D515-EF6A-4BA5-854F-9121650BA252}" type="pres">
      <dgm:prSet presAssocID="{CA53A361-A044-4EE4-9B29-3FC9E5DA0BDD}" presName="iconRect" presStyleLbl="node1" presStyleIdx="2" presStyleCnt="3"/>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Classroom"/>
        </a:ext>
      </dgm:extLst>
    </dgm:pt>
    <dgm:pt modelId="{9C6AF4C7-0D00-46F3-AC61-B73C697D51B6}" type="pres">
      <dgm:prSet presAssocID="{CA53A361-A044-4EE4-9B29-3FC9E5DA0BDD}" presName="spaceRect" presStyleCnt="0"/>
      <dgm:spPr/>
    </dgm:pt>
    <dgm:pt modelId="{E6744C77-A8DC-413F-8311-390D1CCED774}" type="pres">
      <dgm:prSet presAssocID="{CA53A361-A044-4EE4-9B29-3FC9E5DA0BDD}" presName="parTx" presStyleLbl="revTx" presStyleIdx="2" presStyleCnt="3">
        <dgm:presLayoutVars>
          <dgm:chMax val="0"/>
          <dgm:chPref val="0"/>
        </dgm:presLayoutVars>
      </dgm:prSet>
      <dgm:spPr/>
    </dgm:pt>
  </dgm:ptLst>
  <dgm:cxnLst>
    <dgm:cxn modelId="{3E94E121-137D-47C1-8170-F1F7558D22B2}" type="presOf" srcId="{A39CEC2E-821C-4F4F-AAE8-79A1D332AE74}" destId="{8183BAE6-AD69-4B44-BC03-E8DE86A6B79D}" srcOrd="0" destOrd="0" presId="urn:microsoft.com/office/officeart/2018/2/layout/IconVerticalSolidList"/>
    <dgm:cxn modelId="{C38C8691-4D26-47AF-9B93-D574A6CA2CA1}" srcId="{3ADF07C0-9B14-4126-810B-3511680E1174}" destId="{A39CEC2E-821C-4F4F-AAE8-79A1D332AE74}" srcOrd="0" destOrd="0" parTransId="{8824DF2E-FA1E-43EA-87FC-88D6A4ACEFDF}" sibTransId="{97188131-6D14-4510-AE89-C3BF1529E59A}"/>
    <dgm:cxn modelId="{AAEC85A2-62B9-40EC-9213-5CEDBAC6B761}" srcId="{3ADF07C0-9B14-4126-810B-3511680E1174}" destId="{CA53A361-A044-4EE4-9B29-3FC9E5DA0BDD}" srcOrd="2" destOrd="0" parTransId="{3F0C01E4-9960-42D0-97E8-2374FA0EE793}" sibTransId="{DB0594FF-F76A-4570-AFD1-283C007C2191}"/>
    <dgm:cxn modelId="{E181A6B0-6174-40CE-BF2E-B50D83D1D23F}" srcId="{3ADF07C0-9B14-4126-810B-3511680E1174}" destId="{BB460BF4-E051-44BC-BBEF-C28D76D197EE}" srcOrd="1" destOrd="0" parTransId="{AEE76070-C3C5-4E03-96D9-97FD60FF1B5D}" sibTransId="{AD7E1630-51BD-4A8E-AFD5-190C0C26CF08}"/>
    <dgm:cxn modelId="{881B82B2-501C-4089-B152-F250FA2A3AA5}" type="presOf" srcId="{3ADF07C0-9B14-4126-810B-3511680E1174}" destId="{7073508A-9F6C-4F38-8713-D6718C0D9861}" srcOrd="0" destOrd="0" presId="urn:microsoft.com/office/officeart/2018/2/layout/IconVerticalSolidList"/>
    <dgm:cxn modelId="{FA19EBD7-34D8-42F7-9C5C-FD34ED3FDEA9}" type="presOf" srcId="{CA53A361-A044-4EE4-9B29-3FC9E5DA0BDD}" destId="{E6744C77-A8DC-413F-8311-390D1CCED774}" srcOrd="0" destOrd="0" presId="urn:microsoft.com/office/officeart/2018/2/layout/IconVerticalSolidList"/>
    <dgm:cxn modelId="{DDD53CF2-F45A-4871-9B1F-3C838BC41115}" type="presOf" srcId="{BB460BF4-E051-44BC-BBEF-C28D76D197EE}" destId="{80330144-ECB5-4AC4-93C8-466257271460}" srcOrd="0" destOrd="0" presId="urn:microsoft.com/office/officeart/2018/2/layout/IconVerticalSolidList"/>
    <dgm:cxn modelId="{2C6965AD-65F7-4764-B40C-32C548DF5705}" type="presParOf" srcId="{7073508A-9F6C-4F38-8713-D6718C0D9861}" destId="{2BE7EB34-299E-45B4-BB8C-894AF620AADC}" srcOrd="0" destOrd="0" presId="urn:microsoft.com/office/officeart/2018/2/layout/IconVerticalSolidList"/>
    <dgm:cxn modelId="{16F41078-4DD4-454F-8C1E-A8AAF968475B}" type="presParOf" srcId="{2BE7EB34-299E-45B4-BB8C-894AF620AADC}" destId="{C029E31D-9A8A-45F9-8B3D-99A6014D6B52}" srcOrd="0" destOrd="0" presId="urn:microsoft.com/office/officeart/2018/2/layout/IconVerticalSolidList"/>
    <dgm:cxn modelId="{A6850ACD-F4C7-42E2-A4AA-F1A0F6E6AD6F}" type="presParOf" srcId="{2BE7EB34-299E-45B4-BB8C-894AF620AADC}" destId="{98A0628E-DCD5-4227-916B-21CCD6C046EC}" srcOrd="1" destOrd="0" presId="urn:microsoft.com/office/officeart/2018/2/layout/IconVerticalSolidList"/>
    <dgm:cxn modelId="{0AF3AB76-3BB5-4FC1-8339-F8A395DA330F}" type="presParOf" srcId="{2BE7EB34-299E-45B4-BB8C-894AF620AADC}" destId="{3D4FFDAD-34C4-4F2F-87AB-98F99CE0C5EB}" srcOrd="2" destOrd="0" presId="urn:microsoft.com/office/officeart/2018/2/layout/IconVerticalSolidList"/>
    <dgm:cxn modelId="{B1F2CA95-E0F3-442F-BCE5-63F4868F2698}" type="presParOf" srcId="{2BE7EB34-299E-45B4-BB8C-894AF620AADC}" destId="{8183BAE6-AD69-4B44-BC03-E8DE86A6B79D}" srcOrd="3" destOrd="0" presId="urn:microsoft.com/office/officeart/2018/2/layout/IconVerticalSolidList"/>
    <dgm:cxn modelId="{D31E1863-6DEA-45A8-9A2A-2F2D990754D0}" type="presParOf" srcId="{7073508A-9F6C-4F38-8713-D6718C0D9861}" destId="{9B9816A9-61C9-4395-A799-813DF4711AA9}" srcOrd="1" destOrd="0" presId="urn:microsoft.com/office/officeart/2018/2/layout/IconVerticalSolidList"/>
    <dgm:cxn modelId="{0D505660-B053-41D2-8824-44601EAB138C}" type="presParOf" srcId="{7073508A-9F6C-4F38-8713-D6718C0D9861}" destId="{37832A30-301C-4591-8082-7C862B2C8D15}" srcOrd="2" destOrd="0" presId="urn:microsoft.com/office/officeart/2018/2/layout/IconVerticalSolidList"/>
    <dgm:cxn modelId="{2E0D8AA5-6EDE-4FCA-9784-DE987CFD1F1C}" type="presParOf" srcId="{37832A30-301C-4591-8082-7C862B2C8D15}" destId="{641F9267-2109-4332-AFDB-E935C738834F}" srcOrd="0" destOrd="0" presId="urn:microsoft.com/office/officeart/2018/2/layout/IconVerticalSolidList"/>
    <dgm:cxn modelId="{7D16B1A3-4677-45E4-8B63-2FAEEC2D1941}" type="presParOf" srcId="{37832A30-301C-4591-8082-7C862B2C8D15}" destId="{2B2F1547-FE57-4E58-B36E-B4D245DA514B}" srcOrd="1" destOrd="0" presId="urn:microsoft.com/office/officeart/2018/2/layout/IconVerticalSolidList"/>
    <dgm:cxn modelId="{EC92929B-3155-42F5-9F19-7F506558FB5C}" type="presParOf" srcId="{37832A30-301C-4591-8082-7C862B2C8D15}" destId="{AC2ADBA6-9BF9-4BA9-B534-FA7F0D08F83C}" srcOrd="2" destOrd="0" presId="urn:microsoft.com/office/officeart/2018/2/layout/IconVerticalSolidList"/>
    <dgm:cxn modelId="{D150D041-3BF7-44A6-933A-DC173E9AFD28}" type="presParOf" srcId="{37832A30-301C-4591-8082-7C862B2C8D15}" destId="{80330144-ECB5-4AC4-93C8-466257271460}" srcOrd="3" destOrd="0" presId="urn:microsoft.com/office/officeart/2018/2/layout/IconVerticalSolidList"/>
    <dgm:cxn modelId="{11759253-179F-4155-8941-2E32DE020D8F}" type="presParOf" srcId="{7073508A-9F6C-4F38-8713-D6718C0D9861}" destId="{CFC1F8E4-BA55-49B7-B93B-B4E05DF31BBC}" srcOrd="3" destOrd="0" presId="urn:microsoft.com/office/officeart/2018/2/layout/IconVerticalSolidList"/>
    <dgm:cxn modelId="{D19D67FC-9891-48F5-BAEB-8F07A7C992AE}" type="presParOf" srcId="{7073508A-9F6C-4F38-8713-D6718C0D9861}" destId="{A0FDAAD1-B35A-4580-B18A-845D932C6FAE}" srcOrd="4" destOrd="0" presId="urn:microsoft.com/office/officeart/2018/2/layout/IconVerticalSolidList"/>
    <dgm:cxn modelId="{8BDDA389-4E04-4942-8B8C-FE131367D56C}" type="presParOf" srcId="{A0FDAAD1-B35A-4580-B18A-845D932C6FAE}" destId="{8764B429-ACF1-46CA-9712-4C88DE8F17EB}" srcOrd="0" destOrd="0" presId="urn:microsoft.com/office/officeart/2018/2/layout/IconVerticalSolidList"/>
    <dgm:cxn modelId="{FA766A26-311D-4DFC-8758-35307B97DEB5}" type="presParOf" srcId="{A0FDAAD1-B35A-4580-B18A-845D932C6FAE}" destId="{D945D515-EF6A-4BA5-854F-9121650BA252}" srcOrd="1" destOrd="0" presId="urn:microsoft.com/office/officeart/2018/2/layout/IconVerticalSolidList"/>
    <dgm:cxn modelId="{88B444B4-A331-49D4-A902-C114B45EE124}" type="presParOf" srcId="{A0FDAAD1-B35A-4580-B18A-845D932C6FAE}" destId="{9C6AF4C7-0D00-46F3-AC61-B73C697D51B6}" srcOrd="2" destOrd="0" presId="urn:microsoft.com/office/officeart/2018/2/layout/IconVerticalSolidList"/>
    <dgm:cxn modelId="{E996E563-8847-4725-AACF-F8716B683109}" type="presParOf" srcId="{A0FDAAD1-B35A-4580-B18A-845D932C6FAE}" destId="{E6744C77-A8DC-413F-8311-390D1CCED774}" srcOrd="3" destOrd="0" presId="urn:microsoft.com/office/officeart/2018/2/layout/IconVerticalSolidLis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B3CA1C-AA0E-467B-B21E-55D874AF8655}">
      <dsp:nvSpPr>
        <dsp:cNvPr id="0" name=""/>
        <dsp:cNvSpPr/>
      </dsp:nvSpPr>
      <dsp:spPr>
        <a:xfrm>
          <a:off x="55142" y="6444"/>
          <a:ext cx="3297569" cy="2997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l" defTabSz="533400">
            <a:lnSpc>
              <a:spcPct val="90000"/>
            </a:lnSpc>
            <a:spcBef>
              <a:spcPct val="0"/>
            </a:spcBef>
            <a:spcAft>
              <a:spcPct val="35000"/>
            </a:spcAft>
            <a:buNone/>
            <a:defRPr sz="1100"/>
          </a:pPr>
          <a:r>
            <a:rPr sz="1200" kern="1200" dirty="0"/>
            <a:t>Problem 5: </a:t>
          </a:r>
          <a:r>
            <a:rPr sz="1200" kern="1200" dirty="0" err="1"/>
            <a:t>Değişime</a:t>
          </a:r>
          <a:r>
            <a:rPr sz="1200" kern="1200" dirty="0"/>
            <a:t> </a:t>
          </a:r>
          <a:r>
            <a:rPr sz="1200" kern="1200" dirty="0" err="1"/>
            <a:t>Gösterilen</a:t>
          </a:r>
          <a:r>
            <a:rPr sz="1200" kern="1200" dirty="0"/>
            <a:t> </a:t>
          </a:r>
          <a:r>
            <a:rPr sz="1200" kern="1200" dirty="0" err="1"/>
            <a:t>Direnç</a:t>
          </a:r>
          <a:endParaRPr sz="1200" kern="1200" dirty="0"/>
        </a:p>
      </dsp:txBody>
      <dsp:txXfrm>
        <a:off x="55142" y="6444"/>
        <a:ext cx="3297569" cy="299779"/>
      </dsp:txXfrm>
    </dsp:sp>
    <dsp:sp modelId="{49A7C758-7A15-4391-B658-292A2C7F2F05}">
      <dsp:nvSpPr>
        <dsp:cNvPr id="0" name=""/>
        <dsp:cNvSpPr/>
      </dsp:nvSpPr>
      <dsp:spPr>
        <a:xfrm>
          <a:off x="55142" y="306224"/>
          <a:ext cx="771631" cy="610661"/>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8C45647-B0A9-4232-B7F0-E59EF3BBA109}">
      <dsp:nvSpPr>
        <dsp:cNvPr id="0" name=""/>
        <dsp:cNvSpPr/>
      </dsp:nvSpPr>
      <dsp:spPr>
        <a:xfrm>
          <a:off x="518634" y="306224"/>
          <a:ext cx="771631" cy="610661"/>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0222C5-4EED-4BC3-83DB-4E9BD129B1C9}">
      <dsp:nvSpPr>
        <dsp:cNvPr id="0" name=""/>
        <dsp:cNvSpPr/>
      </dsp:nvSpPr>
      <dsp:spPr>
        <a:xfrm>
          <a:off x="982492" y="306224"/>
          <a:ext cx="771631" cy="610661"/>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1F360F9-C5A2-45BF-ABF5-3DA34979DFB3}">
      <dsp:nvSpPr>
        <dsp:cNvPr id="0" name=""/>
        <dsp:cNvSpPr/>
      </dsp:nvSpPr>
      <dsp:spPr>
        <a:xfrm>
          <a:off x="1445984" y="306224"/>
          <a:ext cx="771631" cy="610661"/>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607E5CF-693C-478B-A41B-1C5D69AB0BA2}">
      <dsp:nvSpPr>
        <dsp:cNvPr id="0" name=""/>
        <dsp:cNvSpPr/>
      </dsp:nvSpPr>
      <dsp:spPr>
        <a:xfrm>
          <a:off x="1909842" y="306224"/>
          <a:ext cx="771631" cy="610661"/>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654315B-04F6-402C-8998-A2ED89486EBE}">
      <dsp:nvSpPr>
        <dsp:cNvPr id="0" name=""/>
        <dsp:cNvSpPr/>
      </dsp:nvSpPr>
      <dsp:spPr>
        <a:xfrm>
          <a:off x="2373333" y="306224"/>
          <a:ext cx="771631" cy="610661"/>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76F87C5-32D3-46E5-A8DD-8A2829963E76}">
      <dsp:nvSpPr>
        <dsp:cNvPr id="0" name=""/>
        <dsp:cNvSpPr/>
      </dsp:nvSpPr>
      <dsp:spPr>
        <a:xfrm>
          <a:off x="2837192" y="306224"/>
          <a:ext cx="771631" cy="610661"/>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6C802FE-D5D2-4E44-A910-B2BE9AFFCECC}">
      <dsp:nvSpPr>
        <dsp:cNvPr id="0" name=""/>
        <dsp:cNvSpPr/>
      </dsp:nvSpPr>
      <dsp:spPr>
        <a:xfrm>
          <a:off x="55142" y="367290"/>
          <a:ext cx="3340437" cy="48852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just" defTabSz="444500">
            <a:lnSpc>
              <a:spcPct val="90000"/>
            </a:lnSpc>
            <a:spcBef>
              <a:spcPct val="0"/>
            </a:spcBef>
            <a:spcAft>
              <a:spcPct val="35000"/>
            </a:spcAft>
            <a:buNone/>
            <a:defRPr sz="1000"/>
          </a:pPr>
          <a:r>
            <a:rPr sz="1000" kern="1200" dirty="0" err="1"/>
            <a:t>Çözüm</a:t>
          </a:r>
          <a:r>
            <a:rPr sz="1000" kern="1200" dirty="0"/>
            <a:t>: </a:t>
          </a:r>
          <a:r>
            <a:rPr sz="1000" kern="1200" dirty="0" err="1"/>
            <a:t>Paydaşları</a:t>
          </a:r>
          <a:r>
            <a:rPr sz="1000" kern="1200" dirty="0"/>
            <a:t> </a:t>
          </a:r>
          <a:r>
            <a:rPr sz="1000" kern="1200" dirty="0" err="1"/>
            <a:t>dahil</a:t>
          </a:r>
          <a:r>
            <a:rPr sz="1000" kern="1200" dirty="0"/>
            <a:t> </a:t>
          </a:r>
          <a:r>
            <a:rPr sz="1000" kern="1200" dirty="0" err="1"/>
            <a:t>edin</a:t>
          </a:r>
          <a:r>
            <a:rPr sz="1000" kern="1200" dirty="0"/>
            <a:t>, </a:t>
          </a:r>
          <a:r>
            <a:rPr sz="1000" kern="1200" dirty="0" err="1"/>
            <a:t>kamuoyuyla</a:t>
          </a:r>
          <a:r>
            <a:rPr sz="1000" kern="1200" dirty="0"/>
            <a:t> </a:t>
          </a:r>
          <a:r>
            <a:rPr sz="1000" kern="1200" dirty="0" err="1"/>
            <a:t>istişarede</a:t>
          </a:r>
          <a:r>
            <a:rPr sz="1000" kern="1200" dirty="0"/>
            <a:t> </a:t>
          </a:r>
          <a:r>
            <a:rPr sz="1000" kern="1200" dirty="0" err="1"/>
            <a:t>bulunun</a:t>
          </a:r>
          <a:r>
            <a:rPr sz="1000" kern="1200" dirty="0"/>
            <a:t> </a:t>
          </a:r>
          <a:r>
            <a:rPr sz="1000" kern="1200" dirty="0" err="1"/>
            <a:t>ve</a:t>
          </a:r>
          <a:r>
            <a:rPr sz="1000" kern="1200" dirty="0"/>
            <a:t> </a:t>
          </a:r>
          <a:r>
            <a:rPr sz="1000" kern="1200" dirty="0" err="1"/>
            <a:t>iletişim</a:t>
          </a:r>
          <a:r>
            <a:rPr sz="1000" kern="1200" dirty="0"/>
            <a:t> </a:t>
          </a:r>
          <a:r>
            <a:rPr sz="1000" kern="1200" dirty="0" err="1"/>
            <a:t>kurun</a:t>
          </a:r>
          <a:endParaRPr sz="1000" kern="1200" dirty="0"/>
        </a:p>
      </dsp:txBody>
      <dsp:txXfrm>
        <a:off x="55142" y="367290"/>
        <a:ext cx="3340437" cy="488528"/>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46FF1D-EC40-46C1-B457-EC20E7144C1D}">
      <dsp:nvSpPr>
        <dsp:cNvPr id="0" name=""/>
        <dsp:cNvSpPr/>
      </dsp:nvSpPr>
      <dsp:spPr>
        <a:xfrm>
          <a:off x="0" y="2104670"/>
          <a:ext cx="12179300" cy="2806226"/>
        </a:xfrm>
        <a:prstGeom prst="notched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114AD08-3786-4D7C-9097-3D3C06803E3F}">
      <dsp:nvSpPr>
        <dsp:cNvPr id="0" name=""/>
        <dsp:cNvSpPr/>
      </dsp:nvSpPr>
      <dsp:spPr>
        <a:xfrm>
          <a:off x="2447" y="0"/>
          <a:ext cx="1453130" cy="28062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marL="0" lvl="0" indent="0" algn="ctr" defTabSz="488950">
            <a:lnSpc>
              <a:spcPct val="90000"/>
            </a:lnSpc>
            <a:spcBef>
              <a:spcPct val="0"/>
            </a:spcBef>
            <a:spcAft>
              <a:spcPct val="35000"/>
            </a:spcAft>
            <a:buNone/>
          </a:pPr>
          <a:r>
            <a:rPr lang="en-US" sz="1100" b="0" i="0" kern="1200" dirty="0"/>
            <a:t>Ulaşım </a:t>
          </a:r>
          <a:r>
            <a:rPr lang="en-US" sz="1100" b="0" i="0" kern="1200" dirty="0" err="1"/>
            <a:t>planlaması</a:t>
          </a:r>
          <a:r>
            <a:rPr lang="en-US" sz="1100" b="0" i="0" kern="1200" dirty="0"/>
            <a:t>, </a:t>
          </a:r>
          <a:r>
            <a:rPr lang="en-US" sz="1100" b="0" i="0" kern="1200" dirty="0" err="1"/>
            <a:t>ulaşım</a:t>
          </a:r>
          <a:r>
            <a:rPr lang="en-US" sz="1100" b="0" i="0" kern="1200" dirty="0"/>
            <a:t> </a:t>
          </a:r>
          <a:r>
            <a:rPr lang="en-US" sz="1100" b="0" i="0" kern="1200" dirty="0" err="1"/>
            <a:t>ihtiyaçlarının</a:t>
          </a:r>
          <a:r>
            <a:rPr lang="en-US" sz="1100" b="0" i="0" kern="1200" dirty="0"/>
            <a:t>, </a:t>
          </a:r>
          <a:r>
            <a:rPr lang="en-US" sz="1100" b="0" i="0" kern="1200" dirty="0" err="1"/>
            <a:t>hedeflerin</a:t>
          </a:r>
          <a:r>
            <a:rPr lang="en-US" sz="1100" b="0" i="0" kern="1200" dirty="0"/>
            <a:t> </a:t>
          </a:r>
          <a:r>
            <a:rPr lang="en-US" sz="1100" b="0" i="0" kern="1200" dirty="0" err="1"/>
            <a:t>ve</a:t>
          </a:r>
          <a:r>
            <a:rPr lang="en-US" sz="1100" b="0" i="0" kern="1200" dirty="0"/>
            <a:t> </a:t>
          </a:r>
          <a:r>
            <a:rPr lang="en-US" sz="1100" b="0" i="0" kern="1200" dirty="0" err="1"/>
            <a:t>amaçların</a:t>
          </a:r>
          <a:r>
            <a:rPr lang="en-US" sz="1100" b="0" i="0" kern="1200" dirty="0"/>
            <a:t> </a:t>
          </a:r>
          <a:r>
            <a:rPr lang="en-US" sz="1100" b="0" i="0" kern="1200" dirty="0" err="1"/>
            <a:t>belirlenmesi</a:t>
          </a:r>
          <a:r>
            <a:rPr lang="en-US" sz="1100" b="0" i="0" kern="1200" dirty="0"/>
            <a:t> </a:t>
          </a:r>
          <a:r>
            <a:rPr lang="en-US" sz="1100" b="0" i="0" kern="1200" dirty="0" err="1"/>
            <a:t>ve</a:t>
          </a:r>
          <a:r>
            <a:rPr lang="en-US" sz="1100" b="0" i="0" kern="1200" dirty="0"/>
            <a:t> </a:t>
          </a:r>
          <a:r>
            <a:rPr lang="en-US" sz="1100" b="0" i="0" kern="1200" dirty="0" err="1"/>
            <a:t>bu</a:t>
          </a:r>
          <a:r>
            <a:rPr lang="en-US" sz="1100" b="0" i="0" kern="1200" dirty="0"/>
            <a:t> </a:t>
          </a:r>
          <a:r>
            <a:rPr lang="en-US" sz="1100" b="0" i="0" kern="1200" dirty="0" err="1"/>
            <a:t>ihtiyaçları</a:t>
          </a:r>
          <a:r>
            <a:rPr lang="en-US" sz="1100" b="0" i="0" kern="1200" dirty="0"/>
            <a:t> </a:t>
          </a:r>
          <a:r>
            <a:rPr lang="en-US" sz="1100" b="0" i="0" kern="1200" dirty="0" err="1"/>
            <a:t>güvenli</a:t>
          </a:r>
          <a:r>
            <a:rPr lang="en-US" sz="1100" b="0" i="0" kern="1200" dirty="0"/>
            <a:t>, </a:t>
          </a:r>
          <a:r>
            <a:rPr lang="en-US" sz="1100" b="0" i="0" kern="1200" dirty="0" err="1"/>
            <a:t>verimli</a:t>
          </a:r>
          <a:r>
            <a:rPr lang="en-US" sz="1100" b="0" i="0" kern="1200" dirty="0"/>
            <a:t> </a:t>
          </a:r>
          <a:r>
            <a:rPr lang="en-US" sz="1100" b="0" i="0" kern="1200" dirty="0" err="1"/>
            <a:t>ve</a:t>
          </a:r>
          <a:r>
            <a:rPr lang="en-US" sz="1100" b="0" i="0" kern="1200" dirty="0"/>
            <a:t> </a:t>
          </a:r>
          <a:r>
            <a:rPr lang="en-US" sz="1100" b="0" i="0" kern="1200" dirty="0" err="1"/>
            <a:t>sürdürülebilir</a:t>
          </a:r>
          <a:r>
            <a:rPr lang="en-US" sz="1100" b="0" i="0" kern="1200" dirty="0"/>
            <a:t> </a:t>
          </a:r>
          <a:r>
            <a:rPr lang="en-US" sz="1100" b="0" i="0" kern="1200" dirty="0" err="1"/>
            <a:t>bir</a:t>
          </a:r>
          <a:r>
            <a:rPr lang="en-US" sz="1100" b="0" i="0" kern="1200" dirty="0"/>
            <a:t> </a:t>
          </a:r>
          <a:r>
            <a:rPr lang="en-US" sz="1100" b="0" i="0" kern="1200" dirty="0" err="1"/>
            <a:t>şekilde</a:t>
          </a:r>
          <a:r>
            <a:rPr lang="en-US" sz="1100" b="0" i="0" kern="1200" dirty="0"/>
            <a:t> </a:t>
          </a:r>
          <a:r>
            <a:rPr lang="en-US" sz="1100" b="0" i="0" kern="1200" dirty="0" err="1"/>
            <a:t>karşılamak</a:t>
          </a:r>
          <a:r>
            <a:rPr lang="en-US" sz="1100" b="0" i="0" kern="1200" dirty="0"/>
            <a:t> </a:t>
          </a:r>
          <a:r>
            <a:rPr lang="en-US" sz="1100" b="0" i="0" kern="1200" dirty="0" err="1"/>
            <a:t>için</a:t>
          </a:r>
          <a:r>
            <a:rPr lang="en-US" sz="1100" b="0" i="0" kern="1200" dirty="0"/>
            <a:t> </a:t>
          </a:r>
          <a:r>
            <a:rPr lang="en-US" sz="1100" b="0" i="0" kern="1200" dirty="0" err="1"/>
            <a:t>stratejilerin</a:t>
          </a:r>
          <a:r>
            <a:rPr lang="en-US" sz="1100" b="0" i="0" kern="1200" dirty="0"/>
            <a:t> </a:t>
          </a:r>
          <a:r>
            <a:rPr lang="en-US" sz="1100" b="0" i="0" kern="1200" dirty="0" err="1"/>
            <a:t>geliştirilmesi</a:t>
          </a:r>
          <a:r>
            <a:rPr lang="en-US" sz="1100" b="0" i="0" kern="1200" dirty="0"/>
            <a:t> </a:t>
          </a:r>
          <a:r>
            <a:rPr lang="en-US" sz="1100" b="0" i="0" kern="1200" dirty="0" err="1"/>
            <a:t>sürecidir</a:t>
          </a:r>
          <a:r>
            <a:rPr lang="en-US" sz="1100" b="0" i="0" kern="1200" dirty="0"/>
            <a:t>. Ulaşım </a:t>
          </a:r>
          <a:r>
            <a:rPr lang="en-US" sz="1100" b="0" i="0" kern="1200" dirty="0" err="1"/>
            <a:t>planlamasının</a:t>
          </a:r>
          <a:r>
            <a:rPr lang="en-US" sz="1100" b="0" i="0" kern="1200" dirty="0"/>
            <a:t> </a:t>
          </a:r>
          <a:r>
            <a:rPr lang="en-US" sz="1100" b="0" i="0" kern="1200" dirty="0" err="1"/>
            <a:t>temel</a:t>
          </a:r>
          <a:r>
            <a:rPr lang="en-US" sz="1100" b="0" i="0" kern="1200" dirty="0"/>
            <a:t> </a:t>
          </a:r>
          <a:r>
            <a:rPr lang="en-US" sz="1100" b="0" i="0" kern="1200" dirty="0" err="1"/>
            <a:t>ilkeleri</a:t>
          </a:r>
          <a:r>
            <a:rPr lang="en-US" sz="1100" b="0" i="0" kern="1200" dirty="0"/>
            <a:t> </a:t>
          </a:r>
          <a:r>
            <a:rPr lang="en-US" sz="1100" b="0" i="0" kern="1200" dirty="0" err="1"/>
            <a:t>şöyle</a:t>
          </a:r>
          <a:r>
            <a:rPr lang="en-US" sz="1100" b="0" i="0" kern="1200" dirty="0"/>
            <a:t> </a:t>
          </a:r>
          <a:r>
            <a:rPr lang="en-US" sz="1100" b="0" i="0" kern="1200" dirty="0" err="1"/>
            <a:t>sıralanabilir</a:t>
          </a:r>
          <a:endParaRPr lang="en-US" sz="1100" b="0" i="0" kern="1200" dirty="0"/>
        </a:p>
      </dsp:txBody>
      <dsp:txXfrm>
        <a:off x="2447" y="0"/>
        <a:ext cx="1453130" cy="2806226"/>
      </dsp:txXfrm>
    </dsp:sp>
    <dsp:sp modelId="{F891E241-B84F-435C-A2F6-450B0E0DEA61}">
      <dsp:nvSpPr>
        <dsp:cNvPr id="0" name=""/>
        <dsp:cNvSpPr/>
      </dsp:nvSpPr>
      <dsp:spPr>
        <a:xfrm>
          <a:off x="378234" y="3157005"/>
          <a:ext cx="701556" cy="701556"/>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4C6CCFF-A2CE-4847-969D-AB7F6E6F104B}">
      <dsp:nvSpPr>
        <dsp:cNvPr id="0" name=""/>
        <dsp:cNvSpPr/>
      </dsp:nvSpPr>
      <dsp:spPr>
        <a:xfrm>
          <a:off x="1528234" y="4209340"/>
          <a:ext cx="1801751" cy="28062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marL="0" lvl="0" indent="0" algn="ctr" defTabSz="488950">
            <a:lnSpc>
              <a:spcPct val="90000"/>
            </a:lnSpc>
            <a:spcBef>
              <a:spcPct val="0"/>
            </a:spcBef>
            <a:spcAft>
              <a:spcPct val="35000"/>
            </a:spcAft>
            <a:buNone/>
          </a:pPr>
          <a:r>
            <a:rPr lang="en-US" sz="1100" b="0" i="0" kern="1200" dirty="0" err="1"/>
            <a:t>Çok</a:t>
          </a:r>
          <a:r>
            <a:rPr lang="en-US" sz="1100" b="0" i="0" kern="1200" dirty="0"/>
            <a:t> </a:t>
          </a:r>
          <a:r>
            <a:rPr lang="en-US" sz="1100" b="0" i="0" kern="1200" dirty="0" err="1"/>
            <a:t>Modlu</a:t>
          </a:r>
          <a:r>
            <a:rPr lang="en-US" sz="1100" b="0" i="0" kern="1200" dirty="0"/>
            <a:t> </a:t>
          </a:r>
          <a:r>
            <a:rPr lang="en-US" sz="1100" b="0" i="0" kern="1200" dirty="0" err="1"/>
            <a:t>Yaklaşım</a:t>
          </a:r>
          <a:r>
            <a:rPr lang="en-US" sz="1100" b="0" i="0" kern="1200" dirty="0"/>
            <a:t>: Ulaşım </a:t>
          </a:r>
          <a:r>
            <a:rPr lang="en-US" sz="1100" b="0" i="0" kern="1200" dirty="0" err="1"/>
            <a:t>planlamasının</a:t>
          </a:r>
          <a:r>
            <a:rPr lang="en-US" sz="1100" b="0" i="0" kern="1200" dirty="0"/>
            <a:t> </a:t>
          </a:r>
          <a:r>
            <a:rPr lang="en-US" sz="1100" b="0" i="0" kern="1200" dirty="0" err="1"/>
            <a:t>tüm</a:t>
          </a:r>
          <a:r>
            <a:rPr lang="en-US" sz="1100" b="0" i="0" kern="1200" dirty="0"/>
            <a:t> </a:t>
          </a:r>
          <a:r>
            <a:rPr lang="en-US" sz="1100" b="0" i="0" kern="1200" dirty="0" err="1"/>
            <a:t>ulaşım</a:t>
          </a:r>
          <a:r>
            <a:rPr lang="en-US" sz="1100" b="0" i="0" kern="1200" dirty="0"/>
            <a:t> </a:t>
          </a:r>
          <a:r>
            <a:rPr lang="en-US" sz="1100" b="0" i="0" kern="1200" dirty="0" err="1"/>
            <a:t>türlerini</a:t>
          </a:r>
          <a:r>
            <a:rPr lang="en-US" sz="1100" b="0" i="0" kern="1200" dirty="0"/>
            <a:t> - </a:t>
          </a:r>
          <a:r>
            <a:rPr lang="en-US" sz="1100" b="0" i="0" kern="1200" dirty="0" err="1"/>
            <a:t>yürüme</a:t>
          </a:r>
          <a:r>
            <a:rPr lang="en-US" sz="1100" b="0" i="0" kern="1200" dirty="0"/>
            <a:t>, </a:t>
          </a:r>
          <a:r>
            <a:rPr lang="en-US" sz="1100" b="0" i="0" kern="1200" dirty="0" err="1"/>
            <a:t>bisiklet</a:t>
          </a:r>
          <a:r>
            <a:rPr lang="en-US" sz="1100" b="0" i="0" kern="1200" dirty="0"/>
            <a:t> </a:t>
          </a:r>
          <a:r>
            <a:rPr lang="en-US" sz="1100" b="0" i="0" kern="1200" dirty="0" err="1"/>
            <a:t>sürme</a:t>
          </a:r>
          <a:r>
            <a:rPr lang="en-US" sz="1100" b="0" i="0" kern="1200" dirty="0"/>
            <a:t>, </a:t>
          </a:r>
          <a:r>
            <a:rPr lang="en-US" sz="1100" b="0" i="0" kern="1200" dirty="0" err="1"/>
            <a:t>toplu</a:t>
          </a:r>
          <a:r>
            <a:rPr lang="en-US" sz="1100" b="0" i="0" kern="1200" dirty="0"/>
            <a:t> </a:t>
          </a:r>
          <a:r>
            <a:rPr lang="en-US" sz="1100" b="0" i="0" kern="1200" dirty="0" err="1"/>
            <a:t>taşıma</a:t>
          </a:r>
          <a:r>
            <a:rPr lang="en-US" sz="1100" b="0" i="0" kern="1200" dirty="0"/>
            <a:t> </a:t>
          </a:r>
          <a:r>
            <a:rPr lang="en-US" sz="1100" b="0" i="0" kern="1200" dirty="0" err="1"/>
            <a:t>ve</a:t>
          </a:r>
          <a:r>
            <a:rPr lang="en-US" sz="1100" b="0" i="0" kern="1200" dirty="0"/>
            <a:t> </a:t>
          </a:r>
          <a:r>
            <a:rPr lang="en-US" sz="1100" b="0" i="0" kern="1200" dirty="0" err="1"/>
            <a:t>kişisel</a:t>
          </a:r>
          <a:r>
            <a:rPr lang="en-US" sz="1100" b="0" i="0" kern="1200" dirty="0"/>
            <a:t> </a:t>
          </a:r>
          <a:r>
            <a:rPr lang="en-US" sz="1100" b="0" i="0" kern="1200" dirty="0" err="1"/>
            <a:t>araç</a:t>
          </a:r>
          <a:r>
            <a:rPr lang="en-US" sz="1100" b="0" i="0" kern="1200" dirty="0"/>
            <a:t> </a:t>
          </a:r>
          <a:r>
            <a:rPr lang="en-US" sz="1100" b="0" i="0" kern="1200" dirty="0" err="1"/>
            <a:t>kullanımı</a:t>
          </a:r>
          <a:r>
            <a:rPr lang="en-US" sz="1100" b="0" i="0" kern="1200" dirty="0"/>
            <a:t> </a:t>
          </a:r>
          <a:r>
            <a:rPr lang="en-US" sz="1100" b="0" i="0" kern="1200" dirty="0" err="1"/>
            <a:t>dahil</a:t>
          </a:r>
          <a:r>
            <a:rPr lang="en-US" sz="1100" b="0" i="0" kern="1200" dirty="0"/>
            <a:t> - </a:t>
          </a:r>
          <a:r>
            <a:rPr lang="en-US" sz="1100" b="0" i="0" kern="1200" dirty="0" err="1"/>
            <a:t>göz</a:t>
          </a:r>
          <a:r>
            <a:rPr lang="en-US" sz="1100" b="0" i="0" kern="1200" dirty="0"/>
            <a:t> </a:t>
          </a:r>
          <a:r>
            <a:rPr lang="en-US" sz="1100" b="0" i="0" kern="1200" dirty="0" err="1"/>
            <a:t>önünde</a:t>
          </a:r>
          <a:r>
            <a:rPr lang="en-US" sz="1100" b="0" i="0" kern="1200" dirty="0"/>
            <a:t> </a:t>
          </a:r>
          <a:r>
            <a:rPr lang="en-US" sz="1100" b="0" i="0" kern="1200" dirty="0" err="1"/>
            <a:t>bulundurması</a:t>
          </a:r>
          <a:r>
            <a:rPr lang="en-US" sz="1100" b="0" i="0" kern="1200" dirty="0"/>
            <a:t> </a:t>
          </a:r>
          <a:r>
            <a:rPr lang="en-US" sz="1100" b="0" i="0" kern="1200" dirty="0" err="1"/>
            <a:t>ve</a:t>
          </a:r>
          <a:r>
            <a:rPr lang="en-US" sz="1100" b="0" i="0" kern="1200" dirty="0"/>
            <a:t> </a:t>
          </a:r>
          <a:r>
            <a:rPr lang="en-US" sz="1100" b="0" i="0" kern="1200" dirty="0" err="1"/>
            <a:t>tüm</a:t>
          </a:r>
          <a:r>
            <a:rPr lang="en-US" sz="1100" b="0" i="0" kern="1200" dirty="0"/>
            <a:t> </a:t>
          </a:r>
          <a:r>
            <a:rPr lang="en-US" sz="1100" b="0" i="0" kern="1200" dirty="0" err="1"/>
            <a:t>kullanıcıların</a:t>
          </a:r>
          <a:r>
            <a:rPr lang="en-US" sz="1100" b="0" i="0" kern="1200" dirty="0"/>
            <a:t> </a:t>
          </a:r>
          <a:r>
            <a:rPr lang="en-US" sz="1100" b="0" i="0" kern="1200" dirty="0" err="1"/>
            <a:t>ihtiyaçlarını</a:t>
          </a:r>
          <a:r>
            <a:rPr lang="en-US" sz="1100" b="0" i="0" kern="1200" dirty="0"/>
            <a:t> </a:t>
          </a:r>
          <a:r>
            <a:rPr lang="en-US" sz="1100" b="0" i="0" kern="1200" dirty="0" err="1"/>
            <a:t>karşılayan</a:t>
          </a:r>
          <a:r>
            <a:rPr lang="en-US" sz="1100" b="0" i="0" kern="1200" dirty="0"/>
            <a:t> </a:t>
          </a:r>
          <a:r>
            <a:rPr lang="en-US" sz="1100" b="0" i="0" kern="1200" dirty="0" err="1"/>
            <a:t>dengeli</a:t>
          </a:r>
          <a:r>
            <a:rPr lang="en-US" sz="1100" b="0" i="0" kern="1200" dirty="0"/>
            <a:t>, </a:t>
          </a:r>
          <a:r>
            <a:rPr lang="en-US" sz="1100" b="0" i="0" kern="1200" dirty="0" err="1"/>
            <a:t>çok</a:t>
          </a:r>
          <a:r>
            <a:rPr lang="en-US" sz="1100" b="0" i="0" kern="1200" dirty="0"/>
            <a:t> </a:t>
          </a:r>
          <a:r>
            <a:rPr lang="en-US" sz="1100" b="0" i="0" kern="1200" dirty="0" err="1"/>
            <a:t>modlu</a:t>
          </a:r>
          <a:r>
            <a:rPr lang="en-US" sz="1100" b="0" i="0" kern="1200" dirty="0"/>
            <a:t> </a:t>
          </a:r>
          <a:r>
            <a:rPr lang="en-US" sz="1100" b="0" i="0" kern="1200" dirty="0" err="1"/>
            <a:t>bir</a:t>
          </a:r>
          <a:r>
            <a:rPr lang="en-US" sz="1100" b="0" i="0" kern="1200" dirty="0"/>
            <a:t> </a:t>
          </a:r>
          <a:r>
            <a:rPr lang="en-US" sz="1100" b="0" i="0" kern="1200" dirty="0" err="1"/>
            <a:t>ulaşım</a:t>
          </a:r>
          <a:r>
            <a:rPr lang="en-US" sz="1100" b="0" i="0" kern="1200" dirty="0"/>
            <a:t> </a:t>
          </a:r>
          <a:r>
            <a:rPr lang="en-US" sz="1100" b="0" i="0" kern="1200" dirty="0" err="1"/>
            <a:t>sistemi</a:t>
          </a:r>
          <a:r>
            <a:rPr lang="en-US" sz="1100" b="0" i="0" kern="1200" dirty="0"/>
            <a:t> </a:t>
          </a:r>
          <a:r>
            <a:rPr lang="en-US" sz="1100" b="0" i="0" kern="1200" dirty="0" err="1"/>
            <a:t>oluşturma</a:t>
          </a:r>
          <a:r>
            <a:rPr lang="en-US" sz="1100" b="0" i="0" kern="1200" dirty="0"/>
            <a:t> </a:t>
          </a:r>
          <a:r>
            <a:rPr lang="en-US" sz="1100" b="0" i="0" kern="1200" dirty="0" err="1"/>
            <a:t>çabası</a:t>
          </a:r>
          <a:r>
            <a:rPr lang="en-US" sz="1100" b="0" i="0" kern="1200" dirty="0"/>
            <a:t> </a:t>
          </a:r>
          <a:r>
            <a:rPr lang="en-US" sz="1100" b="0" i="0" kern="1200" dirty="0" err="1"/>
            <a:t>önemlidir</a:t>
          </a:r>
          <a:r>
            <a:rPr lang="en-US" sz="1100" b="0" i="0" kern="1200" dirty="0"/>
            <a:t>.</a:t>
          </a:r>
        </a:p>
      </dsp:txBody>
      <dsp:txXfrm>
        <a:off x="1528234" y="4209340"/>
        <a:ext cx="1801751" cy="2806226"/>
      </dsp:txXfrm>
    </dsp:sp>
    <dsp:sp modelId="{43F1D2FE-359E-48AA-9334-A2DB2AD8E5FB}">
      <dsp:nvSpPr>
        <dsp:cNvPr id="0" name=""/>
        <dsp:cNvSpPr/>
      </dsp:nvSpPr>
      <dsp:spPr>
        <a:xfrm>
          <a:off x="2078331" y="3157005"/>
          <a:ext cx="701556" cy="701556"/>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968850-1990-4BCD-843A-57C063554EB2}">
      <dsp:nvSpPr>
        <dsp:cNvPr id="0" name=""/>
        <dsp:cNvSpPr/>
      </dsp:nvSpPr>
      <dsp:spPr>
        <a:xfrm>
          <a:off x="3402642" y="0"/>
          <a:ext cx="1453130" cy="28062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marL="0" lvl="0" indent="0" algn="ctr" defTabSz="488950">
            <a:lnSpc>
              <a:spcPct val="90000"/>
            </a:lnSpc>
            <a:spcBef>
              <a:spcPct val="0"/>
            </a:spcBef>
            <a:spcAft>
              <a:spcPct val="35000"/>
            </a:spcAft>
            <a:buNone/>
          </a:pPr>
          <a:r>
            <a:rPr lang="en-US" sz="1100" b="0" i="0" kern="1200" dirty="0" err="1"/>
            <a:t>Güvenlik</a:t>
          </a:r>
          <a:r>
            <a:rPr lang="en-US" sz="1100" b="0" i="0" kern="1200" dirty="0"/>
            <a:t>, </a:t>
          </a:r>
          <a:r>
            <a:rPr lang="en-US" sz="1100" b="0" i="0" kern="1200" dirty="0" err="1"/>
            <a:t>ulaşım</a:t>
          </a:r>
          <a:r>
            <a:rPr lang="en-US" sz="1100" b="0" i="0" kern="1200" dirty="0"/>
            <a:t> </a:t>
          </a:r>
          <a:r>
            <a:rPr lang="en-US" sz="1100" b="0" i="0" kern="1200" dirty="0" err="1"/>
            <a:t>planlamasının</a:t>
          </a:r>
          <a:r>
            <a:rPr lang="en-US" sz="1100" b="0" i="0" kern="1200" dirty="0"/>
            <a:t> </a:t>
          </a:r>
          <a:r>
            <a:rPr lang="en-US" sz="1100" b="0" i="0" kern="1200" dirty="0" err="1"/>
            <a:t>kilit</a:t>
          </a:r>
          <a:r>
            <a:rPr lang="en-US" sz="1100" b="0" i="0" kern="1200" dirty="0"/>
            <a:t> </a:t>
          </a:r>
          <a:r>
            <a:rPr lang="en-US" sz="1100" b="0" i="0" kern="1200" dirty="0" err="1"/>
            <a:t>bir</a:t>
          </a:r>
          <a:r>
            <a:rPr lang="en-US" sz="1100" b="0" i="0" kern="1200" dirty="0"/>
            <a:t> </a:t>
          </a:r>
          <a:r>
            <a:rPr lang="en-US" sz="1100" b="0" i="0" kern="1200" dirty="0" err="1"/>
            <a:t>unsuru</a:t>
          </a:r>
          <a:r>
            <a:rPr lang="en-US" sz="1100" b="0" i="0" kern="1200" dirty="0"/>
            <a:t> </a:t>
          </a:r>
          <a:r>
            <a:rPr lang="en-US" sz="1100" b="0" i="0" kern="1200" dirty="0" err="1"/>
            <a:t>olmalıdır</a:t>
          </a:r>
          <a:r>
            <a:rPr lang="en-US" sz="1100" b="0" i="0" kern="1200" dirty="0"/>
            <a:t>. Bu </a:t>
          </a:r>
          <a:r>
            <a:rPr lang="en-US" sz="1100" b="0" i="0" kern="1200" dirty="0" err="1"/>
            <a:t>süreçte</a:t>
          </a:r>
          <a:r>
            <a:rPr lang="en-US" sz="1100" b="0" i="0" kern="1200" dirty="0"/>
            <a:t>, </a:t>
          </a:r>
          <a:r>
            <a:rPr lang="en-US" sz="1100" b="0" i="0" kern="1200" dirty="0" err="1"/>
            <a:t>yayaların</a:t>
          </a:r>
          <a:r>
            <a:rPr lang="en-US" sz="1100" b="0" i="0" kern="1200" dirty="0"/>
            <a:t>, </a:t>
          </a:r>
          <a:r>
            <a:rPr lang="en-US" sz="1100" b="0" i="0" kern="1200" dirty="0" err="1"/>
            <a:t>bisiklet</a:t>
          </a:r>
          <a:r>
            <a:rPr lang="en-US" sz="1100" b="0" i="0" kern="1200" dirty="0"/>
            <a:t> </a:t>
          </a:r>
          <a:r>
            <a:rPr lang="en-US" sz="1100" b="0" i="0" kern="1200" dirty="0" err="1"/>
            <a:t>sürücülerinin</a:t>
          </a:r>
          <a:r>
            <a:rPr lang="en-US" sz="1100" b="0" i="0" kern="1200" dirty="0"/>
            <a:t> </a:t>
          </a:r>
          <a:r>
            <a:rPr lang="en-US" sz="1100" b="0" i="0" kern="1200" dirty="0" err="1"/>
            <a:t>ve</a:t>
          </a:r>
          <a:r>
            <a:rPr lang="en-US" sz="1100" b="0" i="0" kern="1200" dirty="0"/>
            <a:t> </a:t>
          </a:r>
          <a:r>
            <a:rPr lang="en-US" sz="1100" b="0" i="0" kern="1200" dirty="0" err="1"/>
            <a:t>motorlu</a:t>
          </a:r>
          <a:r>
            <a:rPr lang="en-US" sz="1100" b="0" i="0" kern="1200" dirty="0"/>
            <a:t> </a:t>
          </a:r>
          <a:r>
            <a:rPr lang="en-US" sz="1100" b="0" i="0" kern="1200" dirty="0" err="1"/>
            <a:t>araç</a:t>
          </a:r>
          <a:r>
            <a:rPr lang="en-US" sz="1100" b="0" i="0" kern="1200" dirty="0"/>
            <a:t> </a:t>
          </a:r>
          <a:r>
            <a:rPr lang="en-US" sz="1100" b="0" i="0" kern="1200" dirty="0" err="1"/>
            <a:t>sürücülerinin</a:t>
          </a:r>
          <a:r>
            <a:rPr lang="en-US" sz="1100" b="0" i="0" kern="1200" dirty="0"/>
            <a:t> </a:t>
          </a:r>
          <a:r>
            <a:rPr lang="en-US" sz="1100" b="0" i="0" kern="1200" dirty="0" err="1"/>
            <a:t>güvenliği</a:t>
          </a:r>
          <a:r>
            <a:rPr lang="en-US" sz="1100" b="0" i="0" kern="1200" dirty="0"/>
            <a:t> </a:t>
          </a:r>
          <a:r>
            <a:rPr lang="en-US" sz="1100" b="0" i="0" kern="1200" dirty="0" err="1"/>
            <a:t>öncelikli</a:t>
          </a:r>
          <a:r>
            <a:rPr lang="en-US" sz="1100" b="0" i="0" kern="1200" dirty="0"/>
            <a:t> </a:t>
          </a:r>
          <a:r>
            <a:rPr lang="en-US" sz="1100" b="0" i="0" kern="1200" dirty="0" err="1"/>
            <a:t>olmalıdır</a:t>
          </a:r>
          <a:r>
            <a:rPr lang="en-US" sz="1100" b="0" i="0" kern="1200" dirty="0"/>
            <a:t>.</a:t>
          </a:r>
        </a:p>
        <a:p>
          <a:pPr marL="0" lvl="0" indent="0" algn="ctr" defTabSz="488950">
            <a:lnSpc>
              <a:spcPct val="90000"/>
            </a:lnSpc>
            <a:spcBef>
              <a:spcPct val="0"/>
            </a:spcBef>
            <a:spcAft>
              <a:spcPct val="35000"/>
            </a:spcAft>
            <a:buNone/>
          </a:pPr>
          <a:endParaRPr sz="1100" kern="1200" dirty="0"/>
        </a:p>
      </dsp:txBody>
      <dsp:txXfrm>
        <a:off x="3402642" y="0"/>
        <a:ext cx="1453130" cy="2806226"/>
      </dsp:txXfrm>
    </dsp:sp>
    <dsp:sp modelId="{CCFCBD29-6CB0-4D80-8588-0D1A0ABBACB7}">
      <dsp:nvSpPr>
        <dsp:cNvPr id="0" name=""/>
        <dsp:cNvSpPr/>
      </dsp:nvSpPr>
      <dsp:spPr>
        <a:xfrm>
          <a:off x="3778429" y="3157005"/>
          <a:ext cx="701556" cy="701556"/>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AF1B57A-527E-4D0E-AA59-B8161F029E7F}">
      <dsp:nvSpPr>
        <dsp:cNvPr id="0" name=""/>
        <dsp:cNvSpPr/>
      </dsp:nvSpPr>
      <dsp:spPr>
        <a:xfrm>
          <a:off x="4928429" y="4209340"/>
          <a:ext cx="1453130" cy="28062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marL="0" lvl="0" indent="0" algn="ctr" defTabSz="488950">
            <a:lnSpc>
              <a:spcPct val="90000"/>
            </a:lnSpc>
            <a:spcBef>
              <a:spcPct val="0"/>
            </a:spcBef>
            <a:spcAft>
              <a:spcPct val="35000"/>
            </a:spcAft>
            <a:buNone/>
          </a:pPr>
          <a:r>
            <a:rPr lang="tr-TR" sz="1100" b="0" i="0" kern="1200" dirty="0"/>
            <a:t>Erişim kolaylığı: </a:t>
          </a:r>
          <a:r>
            <a:rPr lang="en-US" sz="1100" b="0" i="0" kern="1200" dirty="0"/>
            <a:t>Ulaşım </a:t>
          </a:r>
          <a:r>
            <a:rPr lang="en-US" sz="1100" b="0" i="0" kern="1200" dirty="0" err="1"/>
            <a:t>planlaması</a:t>
          </a:r>
          <a:r>
            <a:rPr lang="en-US" sz="1100" b="0" i="0" kern="1200" dirty="0"/>
            <a:t> </a:t>
          </a:r>
          <a:r>
            <a:rPr lang="en-US" sz="1100" b="0" i="0" kern="1200" dirty="0" err="1"/>
            <a:t>süreci</a:t>
          </a:r>
          <a:r>
            <a:rPr lang="en-US" sz="1100" b="0" i="0" kern="1200" dirty="0"/>
            <a:t>, </a:t>
          </a:r>
          <a:r>
            <a:rPr lang="en-US" sz="1100" b="0" i="0" kern="1200" dirty="0" err="1"/>
            <a:t>engelli</a:t>
          </a:r>
          <a:r>
            <a:rPr lang="en-US" sz="1100" b="0" i="0" kern="1200" dirty="0"/>
            <a:t> </a:t>
          </a:r>
          <a:r>
            <a:rPr lang="en-US" sz="1100" b="0" i="0" kern="1200" dirty="0" err="1"/>
            <a:t>bireyler</a:t>
          </a:r>
          <a:r>
            <a:rPr lang="en-US" sz="1100" b="0" i="0" kern="1200" dirty="0"/>
            <a:t>, </a:t>
          </a:r>
          <a:r>
            <a:rPr lang="en-US" sz="1100" b="0" i="0" kern="1200" dirty="0" err="1"/>
            <a:t>yaşlı</a:t>
          </a:r>
          <a:r>
            <a:rPr lang="en-US" sz="1100" b="0" i="0" kern="1200" dirty="0"/>
            <a:t> </a:t>
          </a:r>
          <a:r>
            <a:rPr lang="en-US" sz="1100" b="0" i="0" kern="1200" dirty="0" err="1"/>
            <a:t>yetişkinler</a:t>
          </a:r>
          <a:r>
            <a:rPr lang="en-US" sz="1100" b="0" i="0" kern="1200" dirty="0"/>
            <a:t> </a:t>
          </a:r>
          <a:r>
            <a:rPr lang="en-US" sz="1100" b="0" i="0" kern="1200" dirty="0" err="1"/>
            <a:t>ve</a:t>
          </a:r>
          <a:r>
            <a:rPr lang="en-US" sz="1100" b="0" i="0" kern="1200" dirty="0"/>
            <a:t> </a:t>
          </a:r>
          <a:r>
            <a:rPr lang="en-US" sz="1100" b="0" i="0" kern="1200" dirty="0" err="1"/>
            <a:t>düşük</a:t>
          </a:r>
          <a:r>
            <a:rPr lang="en-US" sz="1100" b="0" i="0" kern="1200" dirty="0"/>
            <a:t> </a:t>
          </a:r>
          <a:r>
            <a:rPr lang="en-US" sz="1100" b="0" i="0" kern="1200" dirty="0" err="1"/>
            <a:t>gelirli</a:t>
          </a:r>
          <a:r>
            <a:rPr lang="en-US" sz="1100" b="0" i="0" kern="1200" dirty="0"/>
            <a:t> </a:t>
          </a:r>
          <a:r>
            <a:rPr lang="en-US" sz="1100" b="0" i="0" kern="1200" dirty="0" err="1"/>
            <a:t>kişiler</a:t>
          </a:r>
          <a:r>
            <a:rPr lang="en-US" sz="1100" b="0" i="0" kern="1200" dirty="0"/>
            <a:t> de </a:t>
          </a:r>
          <a:r>
            <a:rPr lang="en-US" sz="1100" b="0" i="0" kern="1200" dirty="0" err="1"/>
            <a:t>dahil</a:t>
          </a:r>
          <a:r>
            <a:rPr lang="en-US" sz="1100" b="0" i="0" kern="1200" dirty="0"/>
            <a:t> </a:t>
          </a:r>
          <a:r>
            <a:rPr lang="en-US" sz="1100" b="0" i="0" kern="1200" dirty="0" err="1"/>
            <a:t>olmak</a:t>
          </a:r>
          <a:r>
            <a:rPr lang="en-US" sz="1100" b="0" i="0" kern="1200" dirty="0"/>
            <a:t> </a:t>
          </a:r>
          <a:r>
            <a:rPr lang="en-US" sz="1100" b="0" i="0" kern="1200" dirty="0" err="1"/>
            <a:t>üzere</a:t>
          </a:r>
          <a:r>
            <a:rPr lang="en-US" sz="1100" b="0" i="0" kern="1200" dirty="0"/>
            <a:t> </a:t>
          </a:r>
          <a:r>
            <a:rPr lang="en-US" sz="1100" b="0" i="0" kern="1200" dirty="0" err="1"/>
            <a:t>tüm</a:t>
          </a:r>
          <a:r>
            <a:rPr lang="en-US" sz="1100" b="0" i="0" kern="1200" dirty="0"/>
            <a:t> </a:t>
          </a:r>
          <a:r>
            <a:rPr lang="en-US" sz="1100" b="0" i="0" kern="1200" dirty="0" err="1"/>
            <a:t>kullanıcıların</a:t>
          </a:r>
          <a:r>
            <a:rPr lang="en-US" sz="1100" b="0" i="0" kern="1200" dirty="0"/>
            <a:t> </a:t>
          </a:r>
          <a:r>
            <a:rPr lang="en-US" sz="1100" b="0" i="0" kern="1200" dirty="0" err="1"/>
            <a:t>temel</a:t>
          </a:r>
          <a:r>
            <a:rPr lang="en-US" sz="1100" b="0" i="0" kern="1200" dirty="0"/>
            <a:t> </a:t>
          </a:r>
          <a:r>
            <a:rPr lang="en-US" sz="1100" b="0" i="0" kern="1200" dirty="0" err="1"/>
            <a:t>hizmetlere</a:t>
          </a:r>
          <a:r>
            <a:rPr lang="en-US" sz="1100" b="0" i="0" kern="1200" dirty="0"/>
            <a:t> </a:t>
          </a:r>
          <a:r>
            <a:rPr lang="en-US" sz="1100" b="0" i="0" kern="1200" dirty="0" err="1"/>
            <a:t>ve</a:t>
          </a:r>
          <a:r>
            <a:rPr lang="en-US" sz="1100" b="0" i="0" kern="1200" dirty="0"/>
            <a:t> </a:t>
          </a:r>
          <a:r>
            <a:rPr lang="en-US" sz="1100" b="0" i="0" kern="1200" dirty="0" err="1"/>
            <a:t>hedef</a:t>
          </a:r>
          <a:r>
            <a:rPr lang="en-US" sz="1100" b="0" i="0" kern="1200" dirty="0"/>
            <a:t> </a:t>
          </a:r>
          <a:r>
            <a:rPr lang="en-US" sz="1100" b="0" i="0" kern="1200" dirty="0" err="1"/>
            <a:t>noktalara</a:t>
          </a:r>
          <a:r>
            <a:rPr lang="en-US" sz="1100" b="0" i="0" kern="1200" dirty="0"/>
            <a:t> </a:t>
          </a:r>
          <a:r>
            <a:rPr lang="en-US" sz="1100" b="0" i="0" kern="1200" dirty="0" err="1"/>
            <a:t>erişimini</a:t>
          </a:r>
          <a:r>
            <a:rPr lang="en-US" sz="1100" b="0" i="0" kern="1200" dirty="0"/>
            <a:t> </a:t>
          </a:r>
          <a:r>
            <a:rPr lang="en-US" sz="1100" b="0" i="0" kern="1200" dirty="0" err="1"/>
            <a:t>iyileştirmeyi</a:t>
          </a:r>
          <a:r>
            <a:rPr lang="en-US" sz="1100" b="0" i="0" kern="1200" dirty="0"/>
            <a:t> </a:t>
          </a:r>
          <a:r>
            <a:rPr lang="en-US" sz="1100" b="0" i="0" kern="1200" dirty="0" err="1"/>
            <a:t>hedeflemelidir</a:t>
          </a:r>
          <a:r>
            <a:rPr lang="tr-TR" sz="1100" b="0" i="0" kern="1200" dirty="0"/>
            <a:t>.</a:t>
          </a:r>
          <a:endParaRPr sz="1100" kern="1200" dirty="0"/>
        </a:p>
      </dsp:txBody>
      <dsp:txXfrm>
        <a:off x="4928429" y="4209340"/>
        <a:ext cx="1453130" cy="2806226"/>
      </dsp:txXfrm>
    </dsp:sp>
    <dsp:sp modelId="{1D7F8AD3-858B-41BA-A39B-CD72D3D6E3C3}">
      <dsp:nvSpPr>
        <dsp:cNvPr id="0" name=""/>
        <dsp:cNvSpPr/>
      </dsp:nvSpPr>
      <dsp:spPr>
        <a:xfrm>
          <a:off x="5304216" y="3157005"/>
          <a:ext cx="701556" cy="701556"/>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75755C-E3E3-4F0B-89E0-9996AE162C46}">
      <dsp:nvSpPr>
        <dsp:cNvPr id="0" name=""/>
        <dsp:cNvSpPr/>
      </dsp:nvSpPr>
      <dsp:spPr>
        <a:xfrm>
          <a:off x="6454217" y="0"/>
          <a:ext cx="1453130" cy="28062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marL="0" lvl="0" indent="0" algn="ctr" defTabSz="488950">
            <a:lnSpc>
              <a:spcPct val="90000"/>
            </a:lnSpc>
            <a:spcBef>
              <a:spcPct val="0"/>
            </a:spcBef>
            <a:spcAft>
              <a:spcPct val="35000"/>
            </a:spcAft>
            <a:buNone/>
          </a:pPr>
          <a:r>
            <a:rPr sz="1100" kern="1200" dirty="0" err="1"/>
            <a:t>Sürdürülebilirlik</a:t>
          </a:r>
          <a:r>
            <a:rPr sz="1100" kern="1200" dirty="0"/>
            <a:t>: Ulaşım </a:t>
          </a:r>
          <a:r>
            <a:rPr sz="1100" kern="1200" dirty="0" err="1"/>
            <a:t>planlaması</a:t>
          </a:r>
          <a:r>
            <a:rPr sz="1100" kern="1200" dirty="0"/>
            <a:t>, </a:t>
          </a:r>
          <a:r>
            <a:rPr sz="1100" kern="1200" dirty="0" err="1"/>
            <a:t>karbon</a:t>
          </a:r>
          <a:r>
            <a:rPr sz="1100" kern="1200" dirty="0"/>
            <a:t> </a:t>
          </a:r>
          <a:r>
            <a:rPr sz="1100" kern="1200" dirty="0" err="1"/>
            <a:t>emisyonlarını</a:t>
          </a:r>
          <a:r>
            <a:rPr sz="1100" kern="1200" dirty="0"/>
            <a:t> </a:t>
          </a:r>
          <a:r>
            <a:rPr sz="1100" kern="1200" dirty="0" err="1"/>
            <a:t>azaltmak</a:t>
          </a:r>
          <a:r>
            <a:rPr sz="1100" kern="1200" dirty="0"/>
            <a:t> </a:t>
          </a:r>
          <a:r>
            <a:rPr sz="1100" kern="1200" dirty="0" err="1"/>
            <a:t>ve</a:t>
          </a:r>
          <a:r>
            <a:rPr sz="1100" kern="1200" dirty="0"/>
            <a:t> </a:t>
          </a:r>
          <a:r>
            <a:rPr sz="1100" kern="1200" dirty="0" err="1"/>
            <a:t>hava</a:t>
          </a:r>
          <a:r>
            <a:rPr sz="1100" kern="1200" dirty="0"/>
            <a:t> </a:t>
          </a:r>
          <a:r>
            <a:rPr sz="1100" kern="1200" dirty="0" err="1"/>
            <a:t>kalitesini</a:t>
          </a:r>
          <a:r>
            <a:rPr sz="1100" kern="1200" dirty="0"/>
            <a:t> </a:t>
          </a:r>
          <a:r>
            <a:rPr sz="1100" kern="1200" dirty="0" err="1"/>
            <a:t>iyileştirmek</a:t>
          </a:r>
          <a:r>
            <a:rPr sz="1100" kern="1200" dirty="0"/>
            <a:t> </a:t>
          </a:r>
          <a:r>
            <a:rPr sz="1100" kern="1200" dirty="0" err="1"/>
            <a:t>için</a:t>
          </a:r>
          <a:r>
            <a:rPr sz="1100" kern="1200" dirty="0"/>
            <a:t> </a:t>
          </a:r>
          <a:r>
            <a:rPr sz="1100" kern="1200" dirty="0" err="1"/>
            <a:t>toplu</a:t>
          </a:r>
          <a:r>
            <a:rPr sz="1100" kern="1200" dirty="0"/>
            <a:t> </a:t>
          </a:r>
          <a:r>
            <a:rPr sz="1100" kern="1200" dirty="0" err="1"/>
            <a:t>taşıma</a:t>
          </a:r>
          <a:r>
            <a:rPr sz="1100" kern="1200" dirty="0"/>
            <a:t>, </a:t>
          </a:r>
          <a:r>
            <a:rPr sz="1100" kern="1200" dirty="0" err="1"/>
            <a:t>bisiklet</a:t>
          </a:r>
          <a:r>
            <a:rPr sz="1100" kern="1200" dirty="0"/>
            <a:t> </a:t>
          </a:r>
          <a:r>
            <a:rPr sz="1100" kern="1200" dirty="0" err="1"/>
            <a:t>ve</a:t>
          </a:r>
          <a:r>
            <a:rPr sz="1100" kern="1200" dirty="0"/>
            <a:t> </a:t>
          </a:r>
          <a:r>
            <a:rPr sz="1100" kern="1200" dirty="0" err="1"/>
            <a:t>yürüyüş</a:t>
          </a:r>
          <a:r>
            <a:rPr sz="1100" kern="1200" dirty="0"/>
            <a:t> </a:t>
          </a:r>
          <a:r>
            <a:rPr sz="1100" kern="1200" dirty="0" err="1"/>
            <a:t>gibi</a:t>
          </a:r>
          <a:r>
            <a:rPr sz="1100" kern="1200" dirty="0"/>
            <a:t> </a:t>
          </a:r>
          <a:r>
            <a:rPr sz="1100" kern="1200" dirty="0" err="1"/>
            <a:t>sürdürülebilir</a:t>
          </a:r>
          <a:r>
            <a:rPr sz="1100" kern="1200" dirty="0"/>
            <a:t> </a:t>
          </a:r>
          <a:r>
            <a:rPr sz="1100" kern="1200" dirty="0" err="1"/>
            <a:t>ulaşım</a:t>
          </a:r>
          <a:r>
            <a:rPr sz="1100" kern="1200" dirty="0"/>
            <a:t> </a:t>
          </a:r>
          <a:r>
            <a:rPr sz="1100" kern="1200" dirty="0" err="1"/>
            <a:t>seçeneklerini</a:t>
          </a:r>
          <a:r>
            <a:rPr sz="1100" kern="1200" dirty="0"/>
            <a:t> </a:t>
          </a:r>
          <a:r>
            <a:rPr sz="1100" kern="1200" dirty="0" err="1"/>
            <a:t>teşvik</a:t>
          </a:r>
          <a:r>
            <a:rPr sz="1100" kern="1200" dirty="0"/>
            <a:t> </a:t>
          </a:r>
          <a:r>
            <a:rPr sz="1100" kern="1200" dirty="0" err="1"/>
            <a:t>etmelidir</a:t>
          </a:r>
          <a:r>
            <a:rPr sz="1100" kern="1200" dirty="0"/>
            <a:t>.</a:t>
          </a:r>
        </a:p>
      </dsp:txBody>
      <dsp:txXfrm>
        <a:off x="6454217" y="0"/>
        <a:ext cx="1453130" cy="2806226"/>
      </dsp:txXfrm>
    </dsp:sp>
    <dsp:sp modelId="{2BC62BA7-567A-484B-B8E6-21FA97F9414B}">
      <dsp:nvSpPr>
        <dsp:cNvPr id="0" name=""/>
        <dsp:cNvSpPr/>
      </dsp:nvSpPr>
      <dsp:spPr>
        <a:xfrm>
          <a:off x="6830004" y="3157005"/>
          <a:ext cx="701556" cy="701556"/>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4865FF7-FF34-40E1-A3F3-EBC15EF84694}">
      <dsp:nvSpPr>
        <dsp:cNvPr id="0" name=""/>
        <dsp:cNvSpPr/>
      </dsp:nvSpPr>
      <dsp:spPr>
        <a:xfrm>
          <a:off x="7980004" y="4209340"/>
          <a:ext cx="1453130" cy="28062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t" anchorCtr="0">
          <a:noAutofit/>
        </a:bodyPr>
        <a:lstStyle/>
        <a:p>
          <a:pPr marL="0" lvl="0" indent="0" algn="ctr" defTabSz="488950">
            <a:lnSpc>
              <a:spcPct val="90000"/>
            </a:lnSpc>
            <a:spcBef>
              <a:spcPct val="0"/>
            </a:spcBef>
            <a:spcAft>
              <a:spcPct val="35000"/>
            </a:spcAft>
            <a:buNone/>
          </a:pPr>
          <a:r>
            <a:rPr lang="tr-TR" sz="1100" b="0" i="0" kern="1200" dirty="0"/>
            <a:t>Eşitlik: </a:t>
          </a:r>
          <a:r>
            <a:rPr lang="en-US" sz="1100" b="0" i="0" kern="1200" dirty="0"/>
            <a:t>Ulaşım </a:t>
          </a:r>
          <a:r>
            <a:rPr lang="en-US" sz="1100" b="0" i="0" kern="1200" dirty="0" err="1"/>
            <a:t>planlaması</a:t>
          </a:r>
          <a:r>
            <a:rPr lang="en-US" sz="1100" b="0" i="0" kern="1200" dirty="0"/>
            <a:t> </a:t>
          </a:r>
          <a:r>
            <a:rPr lang="en-US" sz="1100" b="0" i="0" kern="1200" dirty="0" err="1"/>
            <a:t>adil</a:t>
          </a:r>
          <a:r>
            <a:rPr lang="en-US" sz="1100" b="0" i="0" kern="1200" dirty="0"/>
            <a:t> </a:t>
          </a:r>
          <a:r>
            <a:rPr lang="en-US" sz="1100" b="0" i="0" kern="1200" dirty="0" err="1"/>
            <a:t>olmalıdır</a:t>
          </a:r>
          <a:r>
            <a:rPr lang="en-US" sz="1100" b="0" i="0" kern="1200" dirty="0"/>
            <a:t>. </a:t>
          </a:r>
          <a:r>
            <a:rPr lang="en-US" sz="1100" b="0" i="0" kern="1200" dirty="0" err="1"/>
            <a:t>Kullanıcıların</a:t>
          </a:r>
          <a:r>
            <a:rPr lang="en-US" sz="1100" b="0" i="0" kern="1200" dirty="0"/>
            <a:t> </a:t>
          </a:r>
          <a:r>
            <a:rPr lang="en-US" sz="1100" b="0" i="0" kern="1200" dirty="0" err="1"/>
            <a:t>gelir</a:t>
          </a:r>
          <a:r>
            <a:rPr lang="en-US" sz="1100" b="0" i="0" kern="1200" dirty="0"/>
            <a:t> </a:t>
          </a:r>
          <a:r>
            <a:rPr lang="en-US" sz="1100" b="0" i="0" kern="1200" dirty="0" err="1"/>
            <a:t>düzeyleri</a:t>
          </a:r>
          <a:r>
            <a:rPr lang="en-US" sz="1100" b="0" i="0" kern="1200" dirty="0"/>
            <a:t>, </a:t>
          </a:r>
          <a:r>
            <a:rPr lang="en-US" sz="1100" b="0" i="0" kern="1200" dirty="0" err="1"/>
            <a:t>etnik</a:t>
          </a:r>
          <a:r>
            <a:rPr lang="en-US" sz="1100" b="0" i="0" kern="1200" dirty="0"/>
            <a:t> </a:t>
          </a:r>
          <a:r>
            <a:rPr lang="tr-TR" sz="1100" b="0" i="0" kern="1200" dirty="0"/>
            <a:t>veya ırksal </a:t>
          </a:r>
          <a:r>
            <a:rPr lang="en-US" sz="1100" b="0" i="0" kern="1200" dirty="0" err="1"/>
            <a:t>kökenleri</a:t>
          </a:r>
          <a:r>
            <a:rPr lang="en-US" sz="1100" b="0" i="0" kern="1200" dirty="0"/>
            <a:t> ne </a:t>
          </a:r>
          <a:r>
            <a:rPr lang="en-US" sz="1100" b="0" i="0" kern="1200" dirty="0" err="1"/>
            <a:t>olursa</a:t>
          </a:r>
          <a:r>
            <a:rPr lang="en-US" sz="1100" b="0" i="0" kern="1200" dirty="0"/>
            <a:t> </a:t>
          </a:r>
          <a:r>
            <a:rPr lang="en-US" sz="1100" b="0" i="0" kern="1200" dirty="0" err="1"/>
            <a:t>olsun</a:t>
          </a:r>
          <a:r>
            <a:rPr lang="en-US" sz="1100" b="0" i="0" kern="1200" dirty="0"/>
            <a:t>, </a:t>
          </a:r>
          <a:r>
            <a:rPr lang="en-US" sz="1100" b="0" i="0" kern="1200" dirty="0" err="1"/>
            <a:t>herkesin</a:t>
          </a:r>
          <a:r>
            <a:rPr lang="en-US" sz="1100" b="0" i="0" kern="1200" dirty="0"/>
            <a:t> </a:t>
          </a:r>
          <a:r>
            <a:rPr lang="en-US" sz="1100" b="0" i="0" kern="1200" dirty="0" err="1"/>
            <a:t>güvenli</a:t>
          </a:r>
          <a:r>
            <a:rPr lang="en-US" sz="1100" b="0" i="0" kern="1200" dirty="0"/>
            <a:t>, </a:t>
          </a:r>
          <a:r>
            <a:rPr lang="en-US" sz="1100" b="0" i="0" kern="1200" dirty="0" err="1"/>
            <a:t>uygun</a:t>
          </a:r>
          <a:r>
            <a:rPr lang="en-US" sz="1100" b="0" i="0" kern="1200" dirty="0"/>
            <a:t> </a:t>
          </a:r>
          <a:r>
            <a:rPr lang="en-US" sz="1100" b="0" i="0" kern="1200" dirty="0" err="1"/>
            <a:t>fiyatlı</a:t>
          </a:r>
          <a:r>
            <a:rPr lang="en-US" sz="1100" b="0" i="0" kern="1200" dirty="0"/>
            <a:t> </a:t>
          </a:r>
          <a:r>
            <a:rPr lang="en-US" sz="1100" b="0" i="0" kern="1200" dirty="0" err="1"/>
            <a:t>ve</a:t>
          </a:r>
          <a:r>
            <a:rPr lang="en-US" sz="1100" b="0" i="0" kern="1200" dirty="0"/>
            <a:t> </a:t>
          </a:r>
          <a:r>
            <a:rPr lang="en-US" sz="1100" b="0" i="0" kern="1200" dirty="0" err="1"/>
            <a:t>rahat</a:t>
          </a:r>
          <a:r>
            <a:rPr lang="en-US" sz="1100" b="0" i="0" kern="1200" dirty="0"/>
            <a:t> </a:t>
          </a:r>
          <a:r>
            <a:rPr lang="en-US" sz="1100" b="0" i="0" kern="1200" dirty="0" err="1"/>
            <a:t>ulaşım</a:t>
          </a:r>
          <a:r>
            <a:rPr lang="en-US" sz="1100" b="0" i="0" kern="1200" dirty="0"/>
            <a:t> </a:t>
          </a:r>
          <a:r>
            <a:rPr lang="en-US" sz="1100" b="0" i="0" kern="1200" dirty="0" err="1"/>
            <a:t>seçeneklerine</a:t>
          </a:r>
          <a:r>
            <a:rPr lang="en-US" sz="1100" b="0" i="0" kern="1200" dirty="0"/>
            <a:t> </a:t>
          </a:r>
          <a:r>
            <a:rPr lang="en-US" sz="1100" b="0" i="0" kern="1200" dirty="0" err="1"/>
            <a:t>erişimini</a:t>
          </a:r>
          <a:r>
            <a:rPr lang="en-US" sz="1100" b="0" i="0" kern="1200" dirty="0"/>
            <a:t> </a:t>
          </a:r>
          <a:r>
            <a:rPr lang="en-US" sz="1100" b="0" i="0" kern="1200" dirty="0" err="1"/>
            <a:t>garanti</a:t>
          </a:r>
          <a:r>
            <a:rPr lang="en-US" sz="1100" b="0" i="0" kern="1200" dirty="0"/>
            <a:t> </a:t>
          </a:r>
          <a:r>
            <a:rPr lang="en-US" sz="1100" b="0" i="0" kern="1200" dirty="0" err="1"/>
            <a:t>etmeli</a:t>
          </a:r>
          <a:r>
            <a:rPr lang="tr-TR" sz="1100" b="0" i="0" kern="1200" dirty="0"/>
            <a:t>dir.</a:t>
          </a:r>
          <a:endParaRPr sz="1100" kern="1200" dirty="0"/>
        </a:p>
      </dsp:txBody>
      <dsp:txXfrm>
        <a:off x="7980004" y="4209340"/>
        <a:ext cx="1453130" cy="2806226"/>
      </dsp:txXfrm>
    </dsp:sp>
    <dsp:sp modelId="{8FBEE752-7C08-4616-A3EF-614FA1520EFD}">
      <dsp:nvSpPr>
        <dsp:cNvPr id="0" name=""/>
        <dsp:cNvSpPr/>
      </dsp:nvSpPr>
      <dsp:spPr>
        <a:xfrm>
          <a:off x="8355791" y="3157005"/>
          <a:ext cx="701556" cy="701556"/>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78A6F56-3EE4-4732-BDC6-352C95E69607}">
      <dsp:nvSpPr>
        <dsp:cNvPr id="0" name=""/>
        <dsp:cNvSpPr/>
      </dsp:nvSpPr>
      <dsp:spPr>
        <a:xfrm>
          <a:off x="9505792" y="0"/>
          <a:ext cx="1453130" cy="280622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8232" tIns="78232" rIns="78232" bIns="78232" numCol="1" spcCol="1270" anchor="b" anchorCtr="0">
          <a:noAutofit/>
        </a:bodyPr>
        <a:lstStyle/>
        <a:p>
          <a:pPr marL="0" lvl="0" indent="0" algn="ctr" defTabSz="488950">
            <a:lnSpc>
              <a:spcPct val="90000"/>
            </a:lnSpc>
            <a:spcBef>
              <a:spcPct val="0"/>
            </a:spcBef>
            <a:spcAft>
              <a:spcPct val="35000"/>
            </a:spcAft>
            <a:buNone/>
          </a:pPr>
          <a:r>
            <a:rPr lang="en-US" sz="1100" b="0" i="0" kern="1200" dirty="0" err="1"/>
            <a:t>İşbirliği</a:t>
          </a:r>
          <a:r>
            <a:rPr lang="en-US" sz="1100" b="0" i="0" kern="1200" dirty="0"/>
            <a:t>: Ulaşım </a:t>
          </a:r>
          <a:r>
            <a:rPr lang="en-US" sz="1100" b="0" i="0" kern="1200" dirty="0" err="1"/>
            <a:t>planlamasının</a:t>
          </a:r>
          <a:r>
            <a:rPr lang="en-US" sz="1100" b="0" i="0" kern="1200" dirty="0"/>
            <a:t>, </a:t>
          </a:r>
          <a:r>
            <a:rPr lang="en-US" sz="1100" b="0" i="0" kern="1200" dirty="0" err="1"/>
            <a:t>devlet</a:t>
          </a:r>
          <a:r>
            <a:rPr lang="en-US" sz="1100" b="0" i="0" kern="1200" dirty="0"/>
            <a:t> </a:t>
          </a:r>
          <a:r>
            <a:rPr lang="en-US" sz="1100" b="0" i="0" kern="1200" dirty="0" err="1"/>
            <a:t>kurumları</a:t>
          </a:r>
          <a:r>
            <a:rPr lang="en-US" sz="1100" b="0" i="0" kern="1200" dirty="0"/>
            <a:t>, </a:t>
          </a:r>
          <a:r>
            <a:rPr lang="en-US" sz="1100" b="0" i="0" kern="1200" dirty="0" err="1"/>
            <a:t>ulaşım</a:t>
          </a:r>
          <a:r>
            <a:rPr lang="en-US" sz="1100" b="0" i="0" kern="1200" dirty="0"/>
            <a:t> </a:t>
          </a:r>
          <a:r>
            <a:rPr lang="en-US" sz="1100" b="0" i="0" kern="1200" dirty="0" err="1"/>
            <a:t>sağlayıcıları</a:t>
          </a:r>
          <a:r>
            <a:rPr lang="en-US" sz="1100" b="0" i="0" kern="1200" dirty="0"/>
            <a:t>, </a:t>
          </a:r>
          <a:r>
            <a:rPr lang="en-US" sz="1100" b="0" i="0" kern="1200" dirty="0" err="1"/>
            <a:t>topluluk</a:t>
          </a:r>
          <a:r>
            <a:rPr lang="en-US" sz="1100" b="0" i="0" kern="1200" dirty="0"/>
            <a:t> </a:t>
          </a:r>
          <a:r>
            <a:rPr lang="en-US" sz="1100" b="0" i="0" kern="1200" dirty="0" err="1"/>
            <a:t>grupları</a:t>
          </a:r>
          <a:r>
            <a:rPr lang="en-US" sz="1100" b="0" i="0" kern="1200" dirty="0"/>
            <a:t> </a:t>
          </a:r>
          <a:r>
            <a:rPr lang="en-US" sz="1100" b="0" i="0" kern="1200" dirty="0" err="1"/>
            <a:t>ve</a:t>
          </a:r>
          <a:r>
            <a:rPr lang="en-US" sz="1100" b="0" i="0" kern="1200" dirty="0"/>
            <a:t> </a:t>
          </a:r>
          <a:r>
            <a:rPr lang="en-US" sz="1100" b="0" i="0" kern="1200" dirty="0" err="1"/>
            <a:t>bireysel</a:t>
          </a:r>
          <a:r>
            <a:rPr lang="en-US" sz="1100" b="0" i="0" kern="1200" dirty="0"/>
            <a:t> </a:t>
          </a:r>
          <a:r>
            <a:rPr lang="en-US" sz="1100" b="0" i="0" kern="1200" dirty="0" err="1"/>
            <a:t>kullanıcılar</a:t>
          </a:r>
          <a:r>
            <a:rPr lang="en-US" sz="1100" b="0" i="0" kern="1200" dirty="0"/>
            <a:t> </a:t>
          </a:r>
          <a:r>
            <a:rPr lang="en-US" sz="1100" b="0" i="0" kern="1200" dirty="0" err="1"/>
            <a:t>gibi</a:t>
          </a:r>
          <a:r>
            <a:rPr lang="en-US" sz="1100" b="0" i="0" kern="1200" dirty="0"/>
            <a:t> </a:t>
          </a:r>
          <a:r>
            <a:rPr lang="en-US" sz="1100" b="0" i="0" kern="1200" dirty="0" err="1"/>
            <a:t>çeşitli</a:t>
          </a:r>
          <a:r>
            <a:rPr lang="en-US" sz="1100" b="0" i="0" kern="1200" dirty="0"/>
            <a:t> </a:t>
          </a:r>
          <a:r>
            <a:rPr lang="en-US" sz="1100" b="0" i="0" kern="1200" dirty="0" err="1"/>
            <a:t>paydaşların</a:t>
          </a:r>
          <a:r>
            <a:rPr lang="en-US" sz="1100" b="0" i="0" kern="1200" dirty="0"/>
            <a:t> </a:t>
          </a:r>
          <a:r>
            <a:rPr lang="en-US" sz="1100" b="0" i="0" kern="1200" dirty="0" err="1"/>
            <a:t>katılımını</a:t>
          </a:r>
          <a:r>
            <a:rPr lang="en-US" sz="1100" b="0" i="0" kern="1200" dirty="0"/>
            <a:t> </a:t>
          </a:r>
          <a:r>
            <a:rPr lang="en-US" sz="1100" b="0" i="0" kern="1200" dirty="0" err="1"/>
            <a:t>ve</a:t>
          </a:r>
          <a:r>
            <a:rPr lang="en-US" sz="1100" b="0" i="0" kern="1200" dirty="0"/>
            <a:t> </a:t>
          </a:r>
          <a:r>
            <a:rPr lang="en-US" sz="1100" b="0" i="0" kern="1200" dirty="0" err="1"/>
            <a:t>görüşlerini</a:t>
          </a:r>
          <a:r>
            <a:rPr lang="en-US" sz="1100" b="0" i="0" kern="1200" dirty="0"/>
            <a:t> </a:t>
          </a:r>
          <a:r>
            <a:rPr lang="en-US" sz="1100" b="0" i="0" kern="1200" dirty="0" err="1"/>
            <a:t>içeren</a:t>
          </a:r>
          <a:r>
            <a:rPr lang="en-US" sz="1100" b="0" i="0" kern="1200" dirty="0"/>
            <a:t> </a:t>
          </a:r>
          <a:r>
            <a:rPr lang="en-US" sz="1100" b="0" i="0" kern="1200" dirty="0" err="1"/>
            <a:t>bir</a:t>
          </a:r>
          <a:r>
            <a:rPr lang="en-US" sz="1100" b="0" i="0" kern="1200" dirty="0"/>
            <a:t> </a:t>
          </a:r>
          <a:r>
            <a:rPr lang="en-US" sz="1100" b="0" i="0" kern="1200" dirty="0" err="1"/>
            <a:t>işbirliği</a:t>
          </a:r>
          <a:r>
            <a:rPr lang="en-US" sz="1100" b="0" i="0" kern="1200" dirty="0"/>
            <a:t> </a:t>
          </a:r>
          <a:r>
            <a:rPr lang="en-US" sz="1100" b="0" i="0" kern="1200" dirty="0" err="1"/>
            <a:t>süreci</a:t>
          </a:r>
          <a:r>
            <a:rPr lang="en-US" sz="1100" b="0" i="0" kern="1200" dirty="0"/>
            <a:t> </a:t>
          </a:r>
          <a:r>
            <a:rPr lang="en-US" sz="1100" b="0" i="0" kern="1200" dirty="0" err="1"/>
            <a:t>olması</a:t>
          </a:r>
          <a:r>
            <a:rPr lang="en-US" sz="1100" b="0" i="0" kern="1200" dirty="0"/>
            <a:t> </a:t>
          </a:r>
          <a:r>
            <a:rPr lang="en-US" sz="1100" b="0" i="0" kern="1200" dirty="0" err="1"/>
            <a:t>gerekmektedir</a:t>
          </a:r>
          <a:r>
            <a:rPr lang="en-US" sz="1100" b="0" i="0" kern="1200" dirty="0"/>
            <a:t>.</a:t>
          </a:r>
          <a:endParaRPr sz="1100" kern="1200" dirty="0"/>
        </a:p>
      </dsp:txBody>
      <dsp:txXfrm>
        <a:off x="9505792" y="0"/>
        <a:ext cx="1453130" cy="2806226"/>
      </dsp:txXfrm>
    </dsp:sp>
    <dsp:sp modelId="{3504F73E-CA46-427D-BFA0-C01552FCF09B}">
      <dsp:nvSpPr>
        <dsp:cNvPr id="0" name=""/>
        <dsp:cNvSpPr/>
      </dsp:nvSpPr>
      <dsp:spPr>
        <a:xfrm>
          <a:off x="9881579" y="3157005"/>
          <a:ext cx="701556" cy="701556"/>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4790E2-8CB2-44C5-80F8-A8248AED1ACC}">
      <dsp:nvSpPr>
        <dsp:cNvPr id="0" name=""/>
        <dsp:cNvSpPr/>
      </dsp:nvSpPr>
      <dsp:spPr>
        <a:xfrm>
          <a:off x="0" y="0"/>
          <a:ext cx="8071167" cy="0"/>
        </a:xfrm>
        <a:prstGeom prst="lin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a:scene3d>
          <a:camera prst="orthographicFront"/>
          <a:lightRig rig="flat" dir="t"/>
        </a:scene3d>
        <a:sp3d prstMaterial="plastic">
          <a:bevelT w="120900" h="88900"/>
          <a:bevelB w="88900" h="31750" prst="angle"/>
        </a:sp3d>
      </dsp:spPr>
      <dsp:style>
        <a:lnRef idx="1">
          <a:scrgbClr r="0" g="0" b="0"/>
        </a:lnRef>
        <a:fillRef idx="3">
          <a:scrgbClr r="0" g="0" b="0"/>
        </a:fillRef>
        <a:effectRef idx="2">
          <a:scrgbClr r="0" g="0" b="0"/>
        </a:effectRef>
        <a:fontRef idx="minor">
          <a:schemeClr val="lt1"/>
        </a:fontRef>
      </dsp:style>
    </dsp:sp>
    <dsp:sp modelId="{DE01F3EE-9DEB-4B6B-B9C4-5CCFCF612614}">
      <dsp:nvSpPr>
        <dsp:cNvPr id="0" name=""/>
        <dsp:cNvSpPr/>
      </dsp:nvSpPr>
      <dsp:spPr>
        <a:xfrm>
          <a:off x="0" y="0"/>
          <a:ext cx="2507016" cy="41857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defRPr sz="2000"/>
          </a:pPr>
          <a:r>
            <a:rPr sz="1800" kern="1200" dirty="0" err="1"/>
            <a:t>Ankara'daki</a:t>
          </a:r>
          <a:r>
            <a:rPr sz="1800" kern="1200" dirty="0"/>
            <a:t> </a:t>
          </a:r>
          <a:r>
            <a:rPr sz="1800" kern="1200" dirty="0" err="1"/>
            <a:t>ulaşım</a:t>
          </a:r>
          <a:r>
            <a:rPr sz="1800" kern="1200" dirty="0"/>
            <a:t> </a:t>
          </a:r>
          <a:r>
            <a:rPr sz="1800" kern="1200" dirty="0" err="1"/>
            <a:t>planlamacıları</a:t>
          </a:r>
          <a:r>
            <a:rPr sz="1800" kern="1200" dirty="0"/>
            <a:t>, </a:t>
          </a:r>
          <a:r>
            <a:rPr sz="1800" kern="1200" dirty="0" err="1"/>
            <a:t>etkili</a:t>
          </a:r>
          <a:r>
            <a:rPr sz="1800" kern="1200" dirty="0"/>
            <a:t> </a:t>
          </a:r>
          <a:r>
            <a:rPr sz="1800" kern="1200" dirty="0" err="1"/>
            <a:t>ulaşım</a:t>
          </a:r>
          <a:r>
            <a:rPr sz="1800" kern="1200" dirty="0"/>
            <a:t> </a:t>
          </a:r>
          <a:r>
            <a:rPr sz="1800" kern="1200" dirty="0" err="1"/>
            <a:t>planları</a:t>
          </a:r>
          <a:r>
            <a:rPr sz="1800" kern="1200" dirty="0"/>
            <a:t> </a:t>
          </a:r>
          <a:r>
            <a:rPr sz="1800" kern="1200" dirty="0" err="1"/>
            <a:t>ve</a:t>
          </a:r>
          <a:r>
            <a:rPr sz="1800" kern="1200" dirty="0"/>
            <a:t> </a:t>
          </a:r>
          <a:r>
            <a:rPr sz="1800" kern="1200" dirty="0" err="1"/>
            <a:t>politikaları</a:t>
          </a:r>
          <a:r>
            <a:rPr sz="1800" kern="1200" dirty="0"/>
            <a:t> </a:t>
          </a:r>
          <a:r>
            <a:rPr sz="1800" kern="1200" dirty="0" err="1"/>
            <a:t>geliştirmek</a:t>
          </a:r>
          <a:r>
            <a:rPr sz="1800" kern="1200" dirty="0"/>
            <a:t> </a:t>
          </a:r>
          <a:r>
            <a:rPr sz="1800" kern="1200" dirty="0" err="1"/>
            <a:t>için</a:t>
          </a:r>
          <a:r>
            <a:rPr sz="1800" kern="1200" dirty="0"/>
            <a:t> </a:t>
          </a:r>
          <a:r>
            <a:rPr sz="1800" kern="1200" dirty="0" err="1"/>
            <a:t>gelecekteki</a:t>
          </a:r>
          <a:r>
            <a:rPr sz="1800" kern="1200" dirty="0"/>
            <a:t> </a:t>
          </a:r>
          <a:r>
            <a:rPr sz="1800" kern="1200" dirty="0" err="1"/>
            <a:t>seyahat</a:t>
          </a:r>
          <a:r>
            <a:rPr sz="1800" kern="1200" dirty="0"/>
            <a:t> </a:t>
          </a:r>
          <a:r>
            <a:rPr sz="1800" kern="1200" dirty="0" err="1"/>
            <a:t>talebini</a:t>
          </a:r>
          <a:r>
            <a:rPr sz="1800" kern="1200" dirty="0"/>
            <a:t> </a:t>
          </a:r>
          <a:r>
            <a:rPr sz="1800" kern="1200" dirty="0" err="1"/>
            <a:t>doğru</a:t>
          </a:r>
          <a:r>
            <a:rPr sz="1800" kern="1200" dirty="0"/>
            <a:t> </a:t>
          </a:r>
          <a:r>
            <a:rPr sz="1800" kern="1200" dirty="0" err="1"/>
            <a:t>bir</a:t>
          </a:r>
          <a:r>
            <a:rPr sz="1800" kern="1200" dirty="0"/>
            <a:t> </a:t>
          </a:r>
          <a:r>
            <a:rPr sz="1800" kern="1200" dirty="0" err="1"/>
            <a:t>şekilde</a:t>
          </a:r>
          <a:r>
            <a:rPr sz="1800" kern="1200" dirty="0"/>
            <a:t> </a:t>
          </a:r>
          <a:r>
            <a:rPr sz="1800" kern="1200" dirty="0" err="1"/>
            <a:t>tahmin</a:t>
          </a:r>
          <a:r>
            <a:rPr sz="1800" kern="1200" dirty="0"/>
            <a:t> </a:t>
          </a:r>
          <a:r>
            <a:rPr sz="1800" kern="1200" dirty="0" err="1"/>
            <a:t>etmelidir</a:t>
          </a:r>
          <a:r>
            <a:rPr sz="1800" kern="1200" dirty="0"/>
            <a:t>. </a:t>
          </a:r>
          <a:r>
            <a:rPr sz="1800" kern="1200" dirty="0" err="1"/>
            <a:t>Seyahat</a:t>
          </a:r>
          <a:r>
            <a:rPr sz="1800" kern="1200" dirty="0"/>
            <a:t> </a:t>
          </a:r>
          <a:r>
            <a:rPr sz="1800" kern="1200" dirty="0" err="1"/>
            <a:t>talebi</a:t>
          </a:r>
          <a:r>
            <a:rPr sz="1800" kern="1200" dirty="0"/>
            <a:t> </a:t>
          </a:r>
          <a:r>
            <a:rPr sz="1800" kern="1200" dirty="0" err="1"/>
            <a:t>analizi</a:t>
          </a:r>
          <a:r>
            <a:rPr sz="1800" kern="1200" dirty="0"/>
            <a:t> </a:t>
          </a:r>
          <a:r>
            <a:rPr sz="1800" kern="1200" dirty="0" err="1"/>
            <a:t>ve</a:t>
          </a:r>
          <a:r>
            <a:rPr sz="1800" kern="1200" dirty="0"/>
            <a:t> </a:t>
          </a:r>
          <a:r>
            <a:rPr sz="1800" kern="1200" dirty="0" err="1"/>
            <a:t>tahmininin</a:t>
          </a:r>
          <a:r>
            <a:rPr sz="1800" kern="1200" dirty="0"/>
            <a:t> </a:t>
          </a:r>
          <a:r>
            <a:rPr sz="1800" kern="1200" dirty="0" err="1"/>
            <a:t>bazı</a:t>
          </a:r>
          <a:r>
            <a:rPr sz="1800" kern="1200" dirty="0"/>
            <a:t> </a:t>
          </a:r>
          <a:r>
            <a:rPr sz="1800" kern="1200" dirty="0" err="1"/>
            <a:t>temel</a:t>
          </a:r>
          <a:r>
            <a:rPr sz="1800" kern="1200" dirty="0"/>
            <a:t> </a:t>
          </a:r>
          <a:r>
            <a:rPr sz="1800" kern="1200" dirty="0" err="1"/>
            <a:t>unsurları</a:t>
          </a:r>
          <a:r>
            <a:rPr sz="1800" kern="1200" dirty="0"/>
            <a:t> </a:t>
          </a:r>
          <a:r>
            <a:rPr sz="1800" kern="1200" dirty="0" err="1"/>
            <a:t>şunlardır</a:t>
          </a:r>
          <a:r>
            <a:rPr sz="1800" kern="1200" dirty="0"/>
            <a:t>:</a:t>
          </a:r>
        </a:p>
      </dsp:txBody>
      <dsp:txXfrm>
        <a:off x="0" y="0"/>
        <a:ext cx="2507016" cy="4185761"/>
      </dsp:txXfrm>
    </dsp:sp>
    <dsp:sp modelId="{90877CEA-810B-4EDA-AAE7-A8B4F714DCBB}">
      <dsp:nvSpPr>
        <dsp:cNvPr id="0" name=""/>
        <dsp:cNvSpPr/>
      </dsp:nvSpPr>
      <dsp:spPr>
        <a:xfrm>
          <a:off x="2611295" y="39445"/>
          <a:ext cx="5457259" cy="788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t" anchorCtr="0">
          <a:noAutofit/>
        </a:bodyPr>
        <a:lstStyle/>
        <a:p>
          <a:pPr marL="0" lvl="0" indent="0" algn="l" defTabSz="488950">
            <a:lnSpc>
              <a:spcPct val="90000"/>
            </a:lnSpc>
            <a:spcBef>
              <a:spcPct val="0"/>
            </a:spcBef>
            <a:spcAft>
              <a:spcPct val="35000"/>
            </a:spcAft>
            <a:buNone/>
          </a:pPr>
          <a:r>
            <a:rPr sz="1100" kern="1200" dirty="0" err="1"/>
            <a:t>Yolculuk</a:t>
          </a:r>
          <a:r>
            <a:rPr sz="1100" kern="1200" dirty="0"/>
            <a:t> </a:t>
          </a:r>
          <a:r>
            <a:rPr sz="1100" kern="1200" dirty="0" err="1"/>
            <a:t>Oluşturma</a:t>
          </a:r>
          <a:r>
            <a:rPr sz="1100" kern="1200" dirty="0"/>
            <a:t>: </a:t>
          </a:r>
          <a:r>
            <a:rPr sz="1100" kern="1200" dirty="0" err="1"/>
            <a:t>Yolculuk</a:t>
          </a:r>
          <a:r>
            <a:rPr sz="1100" kern="1200" dirty="0"/>
            <a:t> </a:t>
          </a:r>
          <a:r>
            <a:rPr sz="1100" kern="1200" dirty="0" err="1"/>
            <a:t>oluşturma</a:t>
          </a:r>
          <a:r>
            <a:rPr sz="1100" kern="1200" dirty="0"/>
            <a:t>, </a:t>
          </a:r>
          <a:r>
            <a:rPr sz="1100" kern="1200" dirty="0" err="1"/>
            <a:t>belirli</a:t>
          </a:r>
          <a:r>
            <a:rPr sz="1100" kern="1200" dirty="0"/>
            <a:t> </a:t>
          </a:r>
          <a:r>
            <a:rPr sz="1100" kern="1200" dirty="0" err="1"/>
            <a:t>bir</a:t>
          </a:r>
          <a:r>
            <a:rPr sz="1100" kern="1200" dirty="0"/>
            <a:t> </a:t>
          </a:r>
          <a:r>
            <a:rPr sz="1100" kern="1200" dirty="0" err="1"/>
            <a:t>arazi</a:t>
          </a:r>
          <a:r>
            <a:rPr sz="1100" kern="1200" dirty="0"/>
            <a:t> </a:t>
          </a:r>
          <a:r>
            <a:rPr sz="1100" kern="1200" dirty="0" err="1"/>
            <a:t>kullanımı</a:t>
          </a:r>
          <a:r>
            <a:rPr sz="1100" kern="1200" dirty="0"/>
            <a:t> </a:t>
          </a:r>
          <a:r>
            <a:rPr sz="1100" kern="1200" dirty="0" err="1"/>
            <a:t>veya</a:t>
          </a:r>
          <a:r>
            <a:rPr sz="1100" kern="1200" dirty="0"/>
            <a:t> </a:t>
          </a:r>
          <a:r>
            <a:rPr sz="1100" kern="1200" dirty="0" err="1"/>
            <a:t>geliştirme</a:t>
          </a:r>
          <a:r>
            <a:rPr sz="1100" kern="1200" dirty="0"/>
            <a:t> </a:t>
          </a:r>
          <a:r>
            <a:rPr sz="1100" kern="1200" dirty="0" err="1"/>
            <a:t>tarafından</a:t>
          </a:r>
          <a:r>
            <a:rPr sz="1100" kern="1200" dirty="0"/>
            <a:t> </a:t>
          </a:r>
          <a:r>
            <a:rPr sz="1100" kern="1200" dirty="0" err="1"/>
            <a:t>oluşturulan</a:t>
          </a:r>
          <a:r>
            <a:rPr sz="1100" kern="1200" dirty="0"/>
            <a:t> </a:t>
          </a:r>
          <a:r>
            <a:rPr sz="1100" kern="1200" dirty="0" err="1"/>
            <a:t>yolculuk</a:t>
          </a:r>
          <a:r>
            <a:rPr sz="1100" kern="1200" dirty="0"/>
            <a:t> </a:t>
          </a:r>
          <a:r>
            <a:rPr sz="1100" kern="1200" dirty="0" err="1"/>
            <a:t>sayısını</a:t>
          </a:r>
          <a:r>
            <a:rPr sz="1100" kern="1200" dirty="0"/>
            <a:t> </a:t>
          </a:r>
          <a:r>
            <a:rPr sz="1100" kern="1200" dirty="0" err="1"/>
            <a:t>tahmin</a:t>
          </a:r>
          <a:r>
            <a:rPr sz="1100" kern="1200" dirty="0"/>
            <a:t> </a:t>
          </a:r>
          <a:r>
            <a:rPr sz="1100" kern="1200" dirty="0" err="1"/>
            <a:t>etmeyi</a:t>
          </a:r>
          <a:r>
            <a:rPr sz="1100" kern="1200" dirty="0"/>
            <a:t> </a:t>
          </a:r>
          <a:r>
            <a:rPr sz="1100" kern="1200" dirty="0" err="1"/>
            <a:t>içerir</a:t>
          </a:r>
          <a:r>
            <a:rPr sz="1100" kern="1200" dirty="0"/>
            <a:t>. Bu, </a:t>
          </a:r>
          <a:r>
            <a:rPr sz="1100" kern="1200" dirty="0" err="1"/>
            <a:t>ulaşım</a:t>
          </a:r>
          <a:r>
            <a:rPr sz="1100" kern="1200" dirty="0"/>
            <a:t> </a:t>
          </a:r>
          <a:r>
            <a:rPr sz="1100" kern="1200" dirty="0" err="1"/>
            <a:t>planlamasının</a:t>
          </a:r>
          <a:r>
            <a:rPr sz="1100" kern="1200" dirty="0"/>
            <a:t> </a:t>
          </a:r>
          <a:r>
            <a:rPr sz="1100" kern="1200" dirty="0" err="1"/>
            <a:t>kritik</a:t>
          </a:r>
          <a:r>
            <a:rPr sz="1100" kern="1200" dirty="0"/>
            <a:t> </a:t>
          </a:r>
          <a:r>
            <a:rPr sz="1100" kern="1200" dirty="0" err="1"/>
            <a:t>bir</a:t>
          </a:r>
          <a:r>
            <a:rPr sz="1100" kern="1200" dirty="0"/>
            <a:t> </a:t>
          </a:r>
          <a:r>
            <a:rPr sz="1100" kern="1200" dirty="0" err="1"/>
            <a:t>bileşenidir</a:t>
          </a:r>
          <a:r>
            <a:rPr sz="1100" kern="1200" dirty="0"/>
            <a:t>, </a:t>
          </a:r>
          <a:r>
            <a:rPr sz="1100" kern="1200" dirty="0" err="1"/>
            <a:t>çünkü</a:t>
          </a:r>
          <a:r>
            <a:rPr sz="1100" kern="1200" dirty="0"/>
            <a:t> </a:t>
          </a:r>
          <a:r>
            <a:rPr sz="1100" kern="1200" dirty="0" err="1"/>
            <a:t>belirli</a:t>
          </a:r>
          <a:r>
            <a:rPr sz="1100" kern="1200" dirty="0"/>
            <a:t> </a:t>
          </a:r>
          <a:r>
            <a:rPr sz="1100" kern="1200" dirty="0" err="1"/>
            <a:t>bir</a:t>
          </a:r>
          <a:r>
            <a:rPr sz="1100" kern="1200" dirty="0"/>
            <a:t> </a:t>
          </a:r>
          <a:r>
            <a:rPr sz="1100" kern="1200" dirty="0" err="1"/>
            <a:t>alandaki</a:t>
          </a:r>
          <a:r>
            <a:rPr sz="1100" kern="1200" dirty="0"/>
            <a:t> </a:t>
          </a:r>
          <a:r>
            <a:rPr sz="1100" kern="1200" dirty="0" err="1"/>
            <a:t>genel</a:t>
          </a:r>
          <a:r>
            <a:rPr sz="1100" kern="1200" dirty="0"/>
            <a:t> </a:t>
          </a:r>
          <a:r>
            <a:rPr sz="1100" kern="1200" dirty="0" err="1"/>
            <a:t>seyahat</a:t>
          </a:r>
          <a:r>
            <a:rPr sz="1100" kern="1200" dirty="0"/>
            <a:t> </a:t>
          </a:r>
          <a:r>
            <a:rPr sz="1100" kern="1200" dirty="0" err="1"/>
            <a:t>talebinin</a:t>
          </a:r>
          <a:r>
            <a:rPr sz="1100" kern="1200" dirty="0"/>
            <a:t> </a:t>
          </a:r>
          <a:r>
            <a:rPr sz="1100" kern="1200" dirty="0" err="1"/>
            <a:t>bir</a:t>
          </a:r>
          <a:r>
            <a:rPr sz="1100" kern="1200" dirty="0"/>
            <a:t> </a:t>
          </a:r>
          <a:r>
            <a:rPr sz="1100" kern="1200" dirty="0" err="1"/>
            <a:t>tahminini</a:t>
          </a:r>
          <a:r>
            <a:rPr sz="1100" kern="1200" dirty="0"/>
            <a:t> </a:t>
          </a:r>
          <a:r>
            <a:rPr sz="1100" kern="1200" dirty="0" err="1"/>
            <a:t>sağlar</a:t>
          </a:r>
          <a:r>
            <a:rPr sz="1100" kern="1200" dirty="0"/>
            <a:t>.</a:t>
          </a:r>
        </a:p>
      </dsp:txBody>
      <dsp:txXfrm>
        <a:off x="2611295" y="39445"/>
        <a:ext cx="5457259" cy="788917"/>
      </dsp:txXfrm>
    </dsp:sp>
    <dsp:sp modelId="{7373EA3C-5A48-4F48-8488-2F385F13A65F}">
      <dsp:nvSpPr>
        <dsp:cNvPr id="0" name=""/>
        <dsp:cNvSpPr/>
      </dsp:nvSpPr>
      <dsp:spPr>
        <a:xfrm>
          <a:off x="2507016" y="828363"/>
          <a:ext cx="5561538"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a:sp3d z="127000" prstMaterial="matte"/>
      </dsp:spPr>
      <dsp:style>
        <a:lnRef idx="2">
          <a:scrgbClr r="0" g="0" b="0"/>
        </a:lnRef>
        <a:fillRef idx="1">
          <a:scrgbClr r="0" g="0" b="0"/>
        </a:fillRef>
        <a:effectRef idx="0">
          <a:scrgbClr r="0" g="0" b="0"/>
        </a:effectRef>
        <a:fontRef idx="minor"/>
      </dsp:style>
    </dsp:sp>
    <dsp:sp modelId="{BF8B33A4-8A8E-420E-9B16-E6EAC6C5893C}">
      <dsp:nvSpPr>
        <dsp:cNvPr id="0" name=""/>
        <dsp:cNvSpPr/>
      </dsp:nvSpPr>
      <dsp:spPr>
        <a:xfrm>
          <a:off x="2611295" y="867809"/>
          <a:ext cx="5457259" cy="788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t" anchorCtr="0">
          <a:noAutofit/>
        </a:bodyPr>
        <a:lstStyle/>
        <a:p>
          <a:pPr marL="0" lvl="0" indent="0" algn="l" defTabSz="488950">
            <a:lnSpc>
              <a:spcPct val="90000"/>
            </a:lnSpc>
            <a:spcBef>
              <a:spcPct val="0"/>
            </a:spcBef>
            <a:spcAft>
              <a:spcPct val="35000"/>
            </a:spcAft>
            <a:buNone/>
          </a:pPr>
          <a:r>
            <a:rPr sz="1100" kern="1200" dirty="0" err="1"/>
            <a:t>Yolculuk</a:t>
          </a:r>
          <a:r>
            <a:rPr sz="1100" kern="1200" dirty="0"/>
            <a:t> </a:t>
          </a:r>
          <a:r>
            <a:rPr sz="1100" kern="1200" dirty="0" err="1"/>
            <a:t>Dağılımı</a:t>
          </a:r>
          <a:r>
            <a:rPr sz="1100" kern="1200" dirty="0"/>
            <a:t>: </a:t>
          </a:r>
          <a:r>
            <a:rPr sz="1100" kern="1200" dirty="0" err="1"/>
            <a:t>Yolculuk</a:t>
          </a:r>
          <a:r>
            <a:rPr sz="1100" kern="1200" dirty="0"/>
            <a:t> </a:t>
          </a:r>
          <a:r>
            <a:rPr sz="1100" kern="1200" dirty="0" err="1"/>
            <a:t>dağılımı</a:t>
          </a:r>
          <a:r>
            <a:rPr sz="1100" kern="1200" dirty="0"/>
            <a:t>, </a:t>
          </a:r>
          <a:r>
            <a:rPr sz="1100" kern="1200" dirty="0" err="1"/>
            <a:t>oluşturulan</a:t>
          </a:r>
          <a:r>
            <a:rPr sz="1100" kern="1200" dirty="0"/>
            <a:t> her </a:t>
          </a:r>
          <a:r>
            <a:rPr sz="1100" kern="1200" dirty="0" err="1"/>
            <a:t>yolculuğun</a:t>
          </a:r>
          <a:r>
            <a:rPr sz="1100" kern="1200" dirty="0"/>
            <a:t> </a:t>
          </a:r>
          <a:r>
            <a:rPr sz="1100" kern="1200" dirty="0" err="1"/>
            <a:t>menşeini</a:t>
          </a:r>
          <a:r>
            <a:rPr sz="1100" kern="1200" dirty="0"/>
            <a:t> </a:t>
          </a:r>
          <a:r>
            <a:rPr sz="1100" kern="1200" dirty="0" err="1"/>
            <a:t>ve</a:t>
          </a:r>
          <a:r>
            <a:rPr sz="1100" kern="1200" dirty="0"/>
            <a:t> </a:t>
          </a:r>
          <a:r>
            <a:rPr sz="1100" kern="1200" dirty="0" err="1"/>
            <a:t>varış</a:t>
          </a:r>
          <a:r>
            <a:rPr sz="1100" kern="1200" dirty="0"/>
            <a:t> </a:t>
          </a:r>
          <a:r>
            <a:rPr sz="1100" kern="1200" dirty="0" err="1"/>
            <a:t>noktasını</a:t>
          </a:r>
          <a:r>
            <a:rPr sz="1100" kern="1200" dirty="0"/>
            <a:t> </a:t>
          </a:r>
          <a:r>
            <a:rPr sz="1100" kern="1200" dirty="0" err="1"/>
            <a:t>tahmin</a:t>
          </a:r>
          <a:r>
            <a:rPr sz="1100" kern="1200" dirty="0"/>
            <a:t> </a:t>
          </a:r>
          <a:r>
            <a:rPr sz="1100" kern="1200" dirty="0" err="1"/>
            <a:t>etmeyi</a:t>
          </a:r>
          <a:r>
            <a:rPr sz="1100" kern="1200" dirty="0"/>
            <a:t> </a:t>
          </a:r>
          <a:r>
            <a:rPr sz="1100" kern="1200" dirty="0" err="1"/>
            <a:t>içerir</a:t>
          </a:r>
          <a:r>
            <a:rPr sz="1100" kern="1200" dirty="0"/>
            <a:t>. Bu, </a:t>
          </a:r>
          <a:r>
            <a:rPr sz="1100" kern="1200" dirty="0" err="1"/>
            <a:t>planlamacıların</a:t>
          </a:r>
          <a:r>
            <a:rPr sz="1100" kern="1200" dirty="0"/>
            <a:t> </a:t>
          </a:r>
          <a:r>
            <a:rPr sz="1100" kern="1200" dirty="0" err="1"/>
            <a:t>seyahat</a:t>
          </a:r>
          <a:r>
            <a:rPr sz="1100" kern="1200" dirty="0"/>
            <a:t> </a:t>
          </a:r>
          <a:r>
            <a:rPr sz="1100" kern="1200" dirty="0" err="1"/>
            <a:t>talebinin</a:t>
          </a:r>
          <a:r>
            <a:rPr sz="1100" kern="1200" dirty="0"/>
            <a:t> </a:t>
          </a:r>
          <a:r>
            <a:rPr sz="1100" kern="1200" dirty="0" err="1"/>
            <a:t>mekansal</a:t>
          </a:r>
          <a:r>
            <a:rPr sz="1100" kern="1200" dirty="0"/>
            <a:t> </a:t>
          </a:r>
          <a:r>
            <a:rPr sz="1100" kern="1200" dirty="0" err="1"/>
            <a:t>dağılımını</a:t>
          </a:r>
          <a:r>
            <a:rPr sz="1100" kern="1200" dirty="0"/>
            <a:t> </a:t>
          </a:r>
          <a:r>
            <a:rPr sz="1100" kern="1200" dirty="0" err="1"/>
            <a:t>ve</a:t>
          </a:r>
          <a:r>
            <a:rPr sz="1100" kern="1200" dirty="0"/>
            <a:t> zaman </a:t>
          </a:r>
          <a:r>
            <a:rPr sz="1100" kern="1200" dirty="0" err="1"/>
            <a:t>içinde</a:t>
          </a:r>
          <a:r>
            <a:rPr sz="1100" kern="1200" dirty="0"/>
            <a:t> </a:t>
          </a:r>
          <a:r>
            <a:rPr sz="1100" kern="1200" dirty="0" err="1"/>
            <a:t>nasıl</a:t>
          </a:r>
          <a:r>
            <a:rPr sz="1100" kern="1200" dirty="0"/>
            <a:t> </a:t>
          </a:r>
          <a:r>
            <a:rPr sz="1100" kern="1200" dirty="0" err="1"/>
            <a:t>değişeceğini</a:t>
          </a:r>
          <a:r>
            <a:rPr sz="1100" kern="1200" dirty="0"/>
            <a:t> </a:t>
          </a:r>
          <a:r>
            <a:rPr sz="1100" kern="1200" dirty="0" err="1"/>
            <a:t>anlamalarına</a:t>
          </a:r>
          <a:r>
            <a:rPr sz="1100" kern="1200" dirty="0"/>
            <a:t> </a:t>
          </a:r>
          <a:r>
            <a:rPr sz="1100" kern="1200" dirty="0" err="1"/>
            <a:t>yardımcı</a:t>
          </a:r>
          <a:r>
            <a:rPr sz="1100" kern="1200" dirty="0"/>
            <a:t> </a:t>
          </a:r>
          <a:r>
            <a:rPr sz="1100" kern="1200" dirty="0" err="1"/>
            <a:t>olur</a:t>
          </a:r>
          <a:r>
            <a:rPr sz="1100" kern="1200" dirty="0"/>
            <a:t>.</a:t>
          </a:r>
        </a:p>
      </dsp:txBody>
      <dsp:txXfrm>
        <a:off x="2611295" y="867809"/>
        <a:ext cx="5457259" cy="788917"/>
      </dsp:txXfrm>
    </dsp:sp>
    <dsp:sp modelId="{83CDC1D8-802D-4AA5-9DEE-F59B03FAA6A3}">
      <dsp:nvSpPr>
        <dsp:cNvPr id="0" name=""/>
        <dsp:cNvSpPr/>
      </dsp:nvSpPr>
      <dsp:spPr>
        <a:xfrm>
          <a:off x="2507016" y="1656727"/>
          <a:ext cx="5561538"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a:sp3d z="127000" prstMaterial="matte"/>
      </dsp:spPr>
      <dsp:style>
        <a:lnRef idx="2">
          <a:scrgbClr r="0" g="0" b="0"/>
        </a:lnRef>
        <a:fillRef idx="1">
          <a:scrgbClr r="0" g="0" b="0"/>
        </a:fillRef>
        <a:effectRef idx="0">
          <a:scrgbClr r="0" g="0" b="0"/>
        </a:effectRef>
        <a:fontRef idx="minor"/>
      </dsp:style>
    </dsp:sp>
    <dsp:sp modelId="{0C6DD43A-A89D-49E8-9D63-6195EF66EF76}">
      <dsp:nvSpPr>
        <dsp:cNvPr id="0" name=""/>
        <dsp:cNvSpPr/>
      </dsp:nvSpPr>
      <dsp:spPr>
        <a:xfrm>
          <a:off x="2611295" y="1696173"/>
          <a:ext cx="5457259" cy="788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t" anchorCtr="0">
          <a:noAutofit/>
        </a:bodyPr>
        <a:lstStyle/>
        <a:p>
          <a:pPr marL="0" lvl="0" indent="0" algn="l" defTabSz="488950">
            <a:lnSpc>
              <a:spcPct val="90000"/>
            </a:lnSpc>
            <a:spcBef>
              <a:spcPct val="0"/>
            </a:spcBef>
            <a:spcAft>
              <a:spcPct val="35000"/>
            </a:spcAft>
            <a:buNone/>
          </a:pPr>
          <a:r>
            <a:rPr sz="1100" kern="1200" dirty="0"/>
            <a:t>Modal </a:t>
          </a:r>
          <a:r>
            <a:rPr sz="1100" kern="1200" dirty="0" err="1"/>
            <a:t>Seçim</a:t>
          </a:r>
          <a:r>
            <a:rPr sz="1100" kern="1200" dirty="0"/>
            <a:t>: Modal </a:t>
          </a:r>
          <a:r>
            <a:rPr sz="1100" kern="1200" dirty="0" err="1"/>
            <a:t>seçim</a:t>
          </a:r>
          <a:r>
            <a:rPr sz="1100" kern="1200" dirty="0"/>
            <a:t>, </a:t>
          </a:r>
          <a:r>
            <a:rPr sz="1100" kern="1200" dirty="0" err="1"/>
            <a:t>belirli</a:t>
          </a:r>
          <a:r>
            <a:rPr sz="1100" kern="1200" dirty="0"/>
            <a:t> </a:t>
          </a:r>
          <a:r>
            <a:rPr sz="1100" kern="1200" dirty="0" err="1"/>
            <a:t>bir</a:t>
          </a:r>
          <a:r>
            <a:rPr sz="1100" kern="1200" dirty="0"/>
            <a:t> </a:t>
          </a:r>
          <a:r>
            <a:rPr sz="1100" kern="1200" dirty="0" err="1"/>
            <a:t>yolculuk</a:t>
          </a:r>
          <a:r>
            <a:rPr sz="1100" kern="1200" dirty="0"/>
            <a:t> </a:t>
          </a:r>
          <a:r>
            <a:rPr sz="1100" kern="1200" dirty="0" err="1"/>
            <a:t>için</a:t>
          </a:r>
          <a:r>
            <a:rPr sz="1100" kern="1200" dirty="0"/>
            <a:t> </a:t>
          </a:r>
          <a:r>
            <a:rPr sz="1100" kern="1200" dirty="0" err="1"/>
            <a:t>belirli</a:t>
          </a:r>
          <a:r>
            <a:rPr sz="1100" kern="1200" dirty="0"/>
            <a:t> </a:t>
          </a:r>
          <a:r>
            <a:rPr sz="1100" kern="1200" dirty="0" err="1"/>
            <a:t>bir</a:t>
          </a:r>
          <a:r>
            <a:rPr sz="1100" kern="1200" dirty="0"/>
            <a:t> </a:t>
          </a:r>
          <a:r>
            <a:rPr sz="1100" kern="1200" dirty="0" err="1"/>
            <a:t>ulaşım</a:t>
          </a:r>
          <a:r>
            <a:rPr sz="1100" kern="1200" dirty="0"/>
            <a:t> </a:t>
          </a:r>
          <a:r>
            <a:rPr sz="1100" kern="1200" dirty="0" err="1"/>
            <a:t>modunun</a:t>
          </a:r>
          <a:r>
            <a:rPr sz="1100" kern="1200" dirty="0"/>
            <a:t> (</a:t>
          </a:r>
          <a:r>
            <a:rPr sz="1100" kern="1200" dirty="0" err="1"/>
            <a:t>örneğin</a:t>
          </a:r>
          <a:r>
            <a:rPr sz="1100" kern="1200" dirty="0"/>
            <a:t>, araba, </a:t>
          </a:r>
          <a:r>
            <a:rPr sz="1100" kern="1200" dirty="0" err="1"/>
            <a:t>otobüs</a:t>
          </a:r>
          <a:r>
            <a:rPr sz="1100" kern="1200" dirty="0"/>
            <a:t>, </a:t>
          </a:r>
          <a:r>
            <a:rPr sz="1100" kern="1200" dirty="0" err="1"/>
            <a:t>bisiklet</a:t>
          </a:r>
          <a:r>
            <a:rPr sz="1100" kern="1200" dirty="0"/>
            <a:t>) </a:t>
          </a:r>
          <a:r>
            <a:rPr sz="1100" kern="1200" dirty="0" err="1"/>
            <a:t>seçilmesini</a:t>
          </a:r>
          <a:r>
            <a:rPr sz="1100" kern="1200" dirty="0"/>
            <a:t> </a:t>
          </a:r>
          <a:r>
            <a:rPr sz="1100" kern="1200" dirty="0" err="1"/>
            <a:t>ifade</a:t>
          </a:r>
          <a:r>
            <a:rPr sz="1100" kern="1200" dirty="0"/>
            <a:t> </a:t>
          </a:r>
          <a:r>
            <a:rPr sz="1100" kern="1200" dirty="0" err="1"/>
            <a:t>eder</a:t>
          </a:r>
          <a:r>
            <a:rPr sz="1100" kern="1200" dirty="0"/>
            <a:t>. Modal </a:t>
          </a:r>
          <a:r>
            <a:rPr sz="1100" kern="1200" dirty="0" err="1"/>
            <a:t>seçimi</a:t>
          </a:r>
          <a:r>
            <a:rPr sz="1100" kern="1200" dirty="0"/>
            <a:t> </a:t>
          </a:r>
          <a:r>
            <a:rPr sz="1100" kern="1200" dirty="0" err="1"/>
            <a:t>anlamak</a:t>
          </a:r>
          <a:r>
            <a:rPr sz="1100" kern="1200" dirty="0"/>
            <a:t>, </a:t>
          </a:r>
          <a:r>
            <a:rPr sz="1100" kern="1200" dirty="0" err="1"/>
            <a:t>verimli</a:t>
          </a:r>
          <a:r>
            <a:rPr sz="1100" kern="1200" dirty="0"/>
            <a:t> </a:t>
          </a:r>
          <a:r>
            <a:rPr sz="1100" kern="1200" dirty="0" err="1"/>
            <a:t>ve</a:t>
          </a:r>
          <a:r>
            <a:rPr sz="1100" kern="1200" dirty="0"/>
            <a:t> </a:t>
          </a:r>
          <a:r>
            <a:rPr sz="1100" kern="1200" dirty="0" err="1"/>
            <a:t>sürdürülebilir</a:t>
          </a:r>
          <a:r>
            <a:rPr sz="1100" kern="1200" dirty="0"/>
            <a:t> </a:t>
          </a:r>
          <a:r>
            <a:rPr sz="1100" kern="1200" dirty="0" err="1"/>
            <a:t>ulaşım</a:t>
          </a:r>
          <a:r>
            <a:rPr sz="1100" kern="1200" dirty="0"/>
            <a:t> </a:t>
          </a:r>
          <a:r>
            <a:rPr sz="1100" kern="1200" dirty="0" err="1"/>
            <a:t>planları</a:t>
          </a:r>
          <a:r>
            <a:rPr sz="1100" kern="1200" dirty="0"/>
            <a:t> </a:t>
          </a:r>
          <a:r>
            <a:rPr sz="1100" kern="1200" dirty="0" err="1"/>
            <a:t>geliştirmek</a:t>
          </a:r>
          <a:r>
            <a:rPr sz="1100" kern="1200" dirty="0"/>
            <a:t> </a:t>
          </a:r>
          <a:r>
            <a:rPr sz="1100" kern="1200" dirty="0" err="1"/>
            <a:t>için</a:t>
          </a:r>
          <a:r>
            <a:rPr sz="1100" kern="1200" dirty="0"/>
            <a:t> </a:t>
          </a:r>
          <a:r>
            <a:rPr sz="1100" kern="1200" dirty="0" err="1"/>
            <a:t>esastır</a:t>
          </a:r>
          <a:r>
            <a:rPr sz="1100" kern="1200" dirty="0"/>
            <a:t>.</a:t>
          </a:r>
        </a:p>
      </dsp:txBody>
      <dsp:txXfrm>
        <a:off x="2611295" y="1696173"/>
        <a:ext cx="5457259" cy="788917"/>
      </dsp:txXfrm>
    </dsp:sp>
    <dsp:sp modelId="{317B7B48-02F8-4D1E-A7A0-F08D047AC76D}">
      <dsp:nvSpPr>
        <dsp:cNvPr id="0" name=""/>
        <dsp:cNvSpPr/>
      </dsp:nvSpPr>
      <dsp:spPr>
        <a:xfrm>
          <a:off x="2507016" y="2485091"/>
          <a:ext cx="5561538"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a:sp3d z="127000" prstMaterial="matte"/>
      </dsp:spPr>
      <dsp:style>
        <a:lnRef idx="2">
          <a:scrgbClr r="0" g="0" b="0"/>
        </a:lnRef>
        <a:fillRef idx="1">
          <a:scrgbClr r="0" g="0" b="0"/>
        </a:fillRef>
        <a:effectRef idx="0">
          <a:scrgbClr r="0" g="0" b="0"/>
        </a:effectRef>
        <a:fontRef idx="minor"/>
      </dsp:style>
    </dsp:sp>
    <dsp:sp modelId="{381C0118-5AD9-4746-BC4C-6F3E82A6FF2E}">
      <dsp:nvSpPr>
        <dsp:cNvPr id="0" name=""/>
        <dsp:cNvSpPr/>
      </dsp:nvSpPr>
      <dsp:spPr>
        <a:xfrm>
          <a:off x="2611295" y="2524537"/>
          <a:ext cx="5457259" cy="788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t" anchorCtr="0">
          <a:noAutofit/>
        </a:bodyPr>
        <a:lstStyle/>
        <a:p>
          <a:pPr marL="0" lvl="0" indent="0" algn="l" defTabSz="488950">
            <a:lnSpc>
              <a:spcPct val="90000"/>
            </a:lnSpc>
            <a:spcBef>
              <a:spcPct val="0"/>
            </a:spcBef>
            <a:spcAft>
              <a:spcPct val="35000"/>
            </a:spcAft>
            <a:buNone/>
          </a:pPr>
          <a:r>
            <a:rPr sz="1100" kern="1200" dirty="0"/>
            <a:t>Atama: </a:t>
          </a:r>
          <a:r>
            <a:rPr sz="1100" kern="1200" dirty="0" err="1"/>
            <a:t>Yolculuk</a:t>
          </a:r>
          <a:r>
            <a:rPr sz="1100" kern="1200" dirty="0"/>
            <a:t> </a:t>
          </a:r>
          <a:r>
            <a:rPr sz="1100" kern="1200" dirty="0" err="1"/>
            <a:t>ataması</a:t>
          </a:r>
          <a:r>
            <a:rPr sz="1100" kern="1200" dirty="0"/>
            <a:t>, </a:t>
          </a:r>
          <a:r>
            <a:rPr sz="1100" kern="1200" dirty="0" err="1"/>
            <a:t>tahmini</a:t>
          </a:r>
          <a:r>
            <a:rPr sz="1100" kern="1200" dirty="0"/>
            <a:t> </a:t>
          </a:r>
          <a:r>
            <a:rPr sz="1100" kern="1200" dirty="0" err="1"/>
            <a:t>seyahat</a:t>
          </a:r>
          <a:r>
            <a:rPr sz="1100" kern="1200" dirty="0"/>
            <a:t> </a:t>
          </a:r>
          <a:r>
            <a:rPr sz="1100" kern="1200" dirty="0" err="1"/>
            <a:t>talebinin</a:t>
          </a:r>
          <a:r>
            <a:rPr sz="1100" kern="1200" dirty="0"/>
            <a:t> </a:t>
          </a:r>
          <a:r>
            <a:rPr sz="1100" kern="1200" dirty="0" err="1"/>
            <a:t>belirli</a:t>
          </a:r>
          <a:r>
            <a:rPr sz="1100" kern="1200" dirty="0"/>
            <a:t> </a:t>
          </a:r>
          <a:r>
            <a:rPr sz="1100" kern="1200" dirty="0" err="1"/>
            <a:t>ulaşım</a:t>
          </a:r>
          <a:r>
            <a:rPr sz="1100" kern="1200" dirty="0"/>
            <a:t> </a:t>
          </a:r>
          <a:r>
            <a:rPr sz="1100" kern="1200" dirty="0" err="1"/>
            <a:t>ağlarına</a:t>
          </a:r>
          <a:r>
            <a:rPr sz="1100" kern="1200" dirty="0"/>
            <a:t> </a:t>
          </a:r>
          <a:r>
            <a:rPr sz="1100" kern="1200" dirty="0" err="1"/>
            <a:t>tahsis</a:t>
          </a:r>
          <a:r>
            <a:rPr sz="1100" kern="1200" dirty="0"/>
            <a:t> </a:t>
          </a:r>
          <a:r>
            <a:rPr sz="1100" kern="1200" dirty="0" err="1"/>
            <a:t>edilmesini</a:t>
          </a:r>
          <a:r>
            <a:rPr sz="1100" kern="1200" dirty="0"/>
            <a:t> </a:t>
          </a:r>
          <a:r>
            <a:rPr sz="1100" kern="1200" dirty="0" err="1"/>
            <a:t>içerir</a:t>
          </a:r>
          <a:r>
            <a:rPr sz="1100" kern="1200" dirty="0"/>
            <a:t>. Bu, </a:t>
          </a:r>
          <a:r>
            <a:rPr sz="1100" kern="1200" dirty="0" err="1"/>
            <a:t>planlamacıların</a:t>
          </a:r>
          <a:r>
            <a:rPr sz="1100" kern="1200" dirty="0"/>
            <a:t> </a:t>
          </a:r>
          <a:r>
            <a:rPr sz="1100" kern="1200" dirty="0" err="1"/>
            <a:t>farklı</a:t>
          </a:r>
          <a:r>
            <a:rPr sz="1100" kern="1200" dirty="0"/>
            <a:t> </a:t>
          </a:r>
          <a:r>
            <a:rPr sz="1100" kern="1200" dirty="0" err="1"/>
            <a:t>ulaşım</a:t>
          </a:r>
          <a:r>
            <a:rPr sz="1100" kern="1200" dirty="0"/>
            <a:t> </a:t>
          </a:r>
          <a:r>
            <a:rPr sz="1100" kern="1200" dirty="0" err="1"/>
            <a:t>senaryolarının</a:t>
          </a:r>
          <a:r>
            <a:rPr sz="1100" kern="1200" dirty="0"/>
            <a:t> </a:t>
          </a:r>
          <a:r>
            <a:rPr sz="1100" kern="1200" dirty="0" err="1"/>
            <a:t>etkilerini</a:t>
          </a:r>
          <a:r>
            <a:rPr sz="1100" kern="1200" dirty="0"/>
            <a:t> </a:t>
          </a:r>
          <a:r>
            <a:rPr sz="1100" kern="1200" dirty="0" err="1"/>
            <a:t>anlamalarına</a:t>
          </a:r>
          <a:r>
            <a:rPr sz="1100" kern="1200" dirty="0"/>
            <a:t> </a:t>
          </a:r>
          <a:r>
            <a:rPr sz="1100" kern="1200" dirty="0" err="1"/>
            <a:t>ve</a:t>
          </a:r>
          <a:r>
            <a:rPr sz="1100" kern="1200" dirty="0"/>
            <a:t> </a:t>
          </a:r>
          <a:r>
            <a:rPr sz="1100" kern="1200" dirty="0" err="1"/>
            <a:t>farklı</a:t>
          </a:r>
          <a:r>
            <a:rPr sz="1100" kern="1200" dirty="0"/>
            <a:t> </a:t>
          </a:r>
          <a:r>
            <a:rPr sz="1100" kern="1200" dirty="0" err="1"/>
            <a:t>politika</a:t>
          </a:r>
          <a:r>
            <a:rPr sz="1100" kern="1200" dirty="0"/>
            <a:t> </a:t>
          </a:r>
          <a:r>
            <a:rPr sz="1100" kern="1200" dirty="0" err="1"/>
            <a:t>ve</a:t>
          </a:r>
          <a:r>
            <a:rPr sz="1100" kern="1200" dirty="0"/>
            <a:t> </a:t>
          </a:r>
          <a:r>
            <a:rPr sz="1100" kern="1200" dirty="0" err="1"/>
            <a:t>projelerin</a:t>
          </a:r>
          <a:r>
            <a:rPr sz="1100" kern="1200" dirty="0"/>
            <a:t> </a:t>
          </a:r>
          <a:r>
            <a:rPr sz="1100" kern="1200" dirty="0" err="1"/>
            <a:t>etkinliğini</a:t>
          </a:r>
          <a:r>
            <a:rPr sz="1100" kern="1200" dirty="0"/>
            <a:t> </a:t>
          </a:r>
          <a:r>
            <a:rPr sz="1100" kern="1200" dirty="0" err="1"/>
            <a:t>değerlendirmelerine</a:t>
          </a:r>
          <a:r>
            <a:rPr sz="1100" kern="1200" dirty="0"/>
            <a:t> </a:t>
          </a:r>
          <a:r>
            <a:rPr sz="1100" kern="1200" dirty="0" err="1"/>
            <a:t>yardımcı</a:t>
          </a:r>
          <a:r>
            <a:rPr sz="1100" kern="1200" dirty="0"/>
            <a:t> </a:t>
          </a:r>
          <a:r>
            <a:rPr sz="1100" kern="1200" dirty="0" err="1"/>
            <a:t>olur</a:t>
          </a:r>
          <a:r>
            <a:rPr sz="1100" kern="1200" dirty="0"/>
            <a:t>.</a:t>
          </a:r>
        </a:p>
      </dsp:txBody>
      <dsp:txXfrm>
        <a:off x="2611295" y="2524537"/>
        <a:ext cx="5457259" cy="788917"/>
      </dsp:txXfrm>
    </dsp:sp>
    <dsp:sp modelId="{35F51FF9-8552-4810-9DAD-0DDF7D3C7F29}">
      <dsp:nvSpPr>
        <dsp:cNvPr id="0" name=""/>
        <dsp:cNvSpPr/>
      </dsp:nvSpPr>
      <dsp:spPr>
        <a:xfrm>
          <a:off x="2507016" y="3313454"/>
          <a:ext cx="5561538"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a:sp3d z="127000" prstMaterial="matte"/>
      </dsp:spPr>
      <dsp:style>
        <a:lnRef idx="2">
          <a:scrgbClr r="0" g="0" b="0"/>
        </a:lnRef>
        <a:fillRef idx="1">
          <a:scrgbClr r="0" g="0" b="0"/>
        </a:fillRef>
        <a:effectRef idx="0">
          <a:scrgbClr r="0" g="0" b="0"/>
        </a:effectRef>
        <a:fontRef idx="minor"/>
      </dsp:style>
    </dsp:sp>
    <dsp:sp modelId="{6F954099-205C-425D-9404-B7C249D0C6C8}">
      <dsp:nvSpPr>
        <dsp:cNvPr id="0" name=""/>
        <dsp:cNvSpPr/>
      </dsp:nvSpPr>
      <dsp:spPr>
        <a:xfrm>
          <a:off x="2611295" y="3352900"/>
          <a:ext cx="5457259" cy="7889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t" anchorCtr="0">
          <a:noAutofit/>
        </a:bodyPr>
        <a:lstStyle/>
        <a:p>
          <a:pPr marL="0" lvl="0" indent="0" algn="l" defTabSz="488950">
            <a:lnSpc>
              <a:spcPct val="90000"/>
            </a:lnSpc>
            <a:spcBef>
              <a:spcPct val="0"/>
            </a:spcBef>
            <a:spcAft>
              <a:spcPct val="35000"/>
            </a:spcAft>
            <a:buNone/>
          </a:pPr>
          <a:r>
            <a:rPr sz="1100" kern="1200" dirty="0" err="1"/>
            <a:t>Seyahat</a:t>
          </a:r>
          <a:r>
            <a:rPr sz="1100" kern="1200" dirty="0"/>
            <a:t> </a:t>
          </a:r>
          <a:r>
            <a:rPr sz="1100" kern="1200" dirty="0" err="1"/>
            <a:t>Talebi</a:t>
          </a:r>
          <a:r>
            <a:rPr sz="1100" kern="1200" dirty="0"/>
            <a:t> </a:t>
          </a:r>
          <a:r>
            <a:rPr sz="1100" kern="1200" dirty="0" err="1"/>
            <a:t>Tahmin</a:t>
          </a:r>
          <a:r>
            <a:rPr sz="1100" kern="1200" dirty="0"/>
            <a:t> </a:t>
          </a:r>
          <a:r>
            <a:rPr sz="1100" kern="1200" dirty="0" err="1"/>
            <a:t>Modelleri</a:t>
          </a:r>
          <a:r>
            <a:rPr sz="1100" kern="1200" dirty="0"/>
            <a:t>: </a:t>
          </a:r>
          <a:r>
            <a:rPr sz="1100" kern="1200" dirty="0" err="1"/>
            <a:t>Seyahat</a:t>
          </a:r>
          <a:r>
            <a:rPr sz="1100" kern="1200" dirty="0"/>
            <a:t> </a:t>
          </a:r>
          <a:r>
            <a:rPr sz="1100" kern="1200" dirty="0" err="1"/>
            <a:t>talebi</a:t>
          </a:r>
          <a:r>
            <a:rPr sz="1100" kern="1200" dirty="0"/>
            <a:t> </a:t>
          </a:r>
          <a:r>
            <a:rPr sz="1100" kern="1200" dirty="0" err="1"/>
            <a:t>tahmin</a:t>
          </a:r>
          <a:r>
            <a:rPr sz="1100" kern="1200" dirty="0"/>
            <a:t> </a:t>
          </a:r>
          <a:r>
            <a:rPr sz="1100" kern="1200" dirty="0" err="1"/>
            <a:t>modelleri</a:t>
          </a:r>
          <a:r>
            <a:rPr sz="1100" kern="1200" dirty="0"/>
            <a:t>, </a:t>
          </a:r>
          <a:r>
            <a:rPr sz="1100" kern="1200" dirty="0" err="1"/>
            <a:t>planlamacıların</a:t>
          </a:r>
          <a:r>
            <a:rPr sz="1100" kern="1200" dirty="0"/>
            <a:t> </a:t>
          </a:r>
          <a:r>
            <a:rPr sz="1100" kern="1200" dirty="0" err="1"/>
            <a:t>mevcut</a:t>
          </a:r>
          <a:r>
            <a:rPr sz="1100" kern="1200" dirty="0"/>
            <a:t> </a:t>
          </a:r>
          <a:r>
            <a:rPr sz="1100" kern="1200" dirty="0" err="1"/>
            <a:t>ve</a:t>
          </a:r>
          <a:r>
            <a:rPr sz="1100" kern="1200" dirty="0"/>
            <a:t> </a:t>
          </a:r>
          <a:r>
            <a:rPr sz="1100" kern="1200" dirty="0" err="1"/>
            <a:t>öngörülen</a:t>
          </a:r>
          <a:r>
            <a:rPr sz="1100" kern="1200" dirty="0"/>
            <a:t> </a:t>
          </a:r>
          <a:r>
            <a:rPr sz="1100" kern="1200" dirty="0" err="1"/>
            <a:t>demografik</a:t>
          </a:r>
          <a:r>
            <a:rPr sz="1100" kern="1200" dirty="0"/>
            <a:t> </a:t>
          </a:r>
          <a:r>
            <a:rPr sz="1100" kern="1200" dirty="0" err="1"/>
            <a:t>ve</a:t>
          </a:r>
          <a:r>
            <a:rPr sz="1100" kern="1200" dirty="0"/>
            <a:t> </a:t>
          </a:r>
          <a:r>
            <a:rPr sz="1100" kern="1200" dirty="0" err="1"/>
            <a:t>ekonomik</a:t>
          </a:r>
          <a:r>
            <a:rPr sz="1100" kern="1200" dirty="0"/>
            <a:t> </a:t>
          </a:r>
          <a:r>
            <a:rPr sz="1100" kern="1200" dirty="0" err="1"/>
            <a:t>verilere</a:t>
          </a:r>
          <a:r>
            <a:rPr sz="1100" kern="1200" dirty="0"/>
            <a:t> </a:t>
          </a:r>
          <a:r>
            <a:rPr sz="1100" kern="1200" dirty="0" err="1"/>
            <a:t>dayanarak</a:t>
          </a:r>
          <a:r>
            <a:rPr sz="1100" kern="1200" dirty="0"/>
            <a:t> </a:t>
          </a:r>
          <a:r>
            <a:rPr sz="1100" kern="1200" dirty="0" err="1"/>
            <a:t>gelecekteki</a:t>
          </a:r>
          <a:r>
            <a:rPr sz="1100" kern="1200" dirty="0"/>
            <a:t> </a:t>
          </a:r>
          <a:r>
            <a:rPr sz="1100" kern="1200" dirty="0" err="1"/>
            <a:t>seyahat</a:t>
          </a:r>
          <a:r>
            <a:rPr sz="1100" kern="1200" dirty="0"/>
            <a:t> </a:t>
          </a:r>
          <a:r>
            <a:rPr sz="1100" kern="1200" dirty="0" err="1"/>
            <a:t>talebini</a:t>
          </a:r>
          <a:r>
            <a:rPr sz="1100" kern="1200" dirty="0"/>
            <a:t> </a:t>
          </a:r>
          <a:r>
            <a:rPr sz="1100" kern="1200" dirty="0" err="1"/>
            <a:t>tahmin</a:t>
          </a:r>
          <a:r>
            <a:rPr sz="1100" kern="1200" dirty="0"/>
            <a:t> </a:t>
          </a:r>
          <a:r>
            <a:rPr sz="1100" kern="1200" dirty="0" err="1"/>
            <a:t>etmelerine</a:t>
          </a:r>
          <a:r>
            <a:rPr sz="1100" kern="1200" dirty="0"/>
            <a:t> </a:t>
          </a:r>
          <a:r>
            <a:rPr sz="1100" kern="1200" dirty="0" err="1"/>
            <a:t>yardımcı</a:t>
          </a:r>
          <a:r>
            <a:rPr sz="1100" kern="1200" dirty="0"/>
            <a:t> </a:t>
          </a:r>
          <a:r>
            <a:rPr sz="1100" kern="1200" dirty="0" err="1"/>
            <a:t>olan</a:t>
          </a:r>
          <a:r>
            <a:rPr sz="1100" kern="1200" dirty="0"/>
            <a:t> </a:t>
          </a:r>
          <a:r>
            <a:rPr sz="1100" kern="1200" dirty="0" err="1"/>
            <a:t>bilgisayar</a:t>
          </a:r>
          <a:r>
            <a:rPr sz="1100" kern="1200" dirty="0"/>
            <a:t> </a:t>
          </a:r>
          <a:r>
            <a:rPr sz="1100" kern="1200" dirty="0" err="1"/>
            <a:t>tabanlı</a:t>
          </a:r>
          <a:r>
            <a:rPr sz="1100" kern="1200" dirty="0"/>
            <a:t> </a:t>
          </a:r>
          <a:r>
            <a:rPr sz="1100" kern="1200" dirty="0" err="1"/>
            <a:t>araçlardır</a:t>
          </a:r>
          <a:r>
            <a:rPr sz="1100" kern="1200" dirty="0"/>
            <a:t>. Bu </a:t>
          </a:r>
          <a:r>
            <a:rPr sz="1100" kern="1200" dirty="0" err="1"/>
            <a:t>modeller</a:t>
          </a:r>
          <a:r>
            <a:rPr sz="1100" kern="1200" dirty="0"/>
            <a:t>, </a:t>
          </a:r>
          <a:r>
            <a:rPr sz="1100" kern="1200" dirty="0" err="1"/>
            <a:t>uzun</a:t>
          </a:r>
          <a:r>
            <a:rPr sz="1100" kern="1200" dirty="0"/>
            <a:t> </a:t>
          </a:r>
          <a:r>
            <a:rPr sz="1100" kern="1200" dirty="0" err="1"/>
            <a:t>vadeli</a:t>
          </a:r>
          <a:r>
            <a:rPr sz="1100" kern="1200" dirty="0"/>
            <a:t> </a:t>
          </a:r>
          <a:r>
            <a:rPr sz="1100" kern="1200" dirty="0" err="1"/>
            <a:t>ulaşım</a:t>
          </a:r>
          <a:r>
            <a:rPr sz="1100" kern="1200" dirty="0"/>
            <a:t> </a:t>
          </a:r>
          <a:r>
            <a:rPr sz="1100" kern="1200" dirty="0" err="1"/>
            <a:t>planları</a:t>
          </a:r>
          <a:r>
            <a:rPr sz="1100" kern="1200" dirty="0"/>
            <a:t> </a:t>
          </a:r>
          <a:r>
            <a:rPr sz="1100" kern="1200" dirty="0" err="1"/>
            <a:t>geliştirmek</a:t>
          </a:r>
          <a:r>
            <a:rPr sz="1100" kern="1200" dirty="0"/>
            <a:t> </a:t>
          </a:r>
          <a:r>
            <a:rPr sz="1100" kern="1200" dirty="0" err="1"/>
            <a:t>ve</a:t>
          </a:r>
          <a:r>
            <a:rPr sz="1100" kern="1200" dirty="0"/>
            <a:t> </a:t>
          </a:r>
          <a:r>
            <a:rPr sz="1100" kern="1200" dirty="0" err="1"/>
            <a:t>farklı</a:t>
          </a:r>
          <a:r>
            <a:rPr sz="1100" kern="1200" dirty="0"/>
            <a:t> </a:t>
          </a:r>
          <a:r>
            <a:rPr sz="1100" kern="1200" dirty="0" err="1"/>
            <a:t>politika</a:t>
          </a:r>
          <a:r>
            <a:rPr sz="1100" kern="1200" dirty="0"/>
            <a:t> </a:t>
          </a:r>
          <a:r>
            <a:rPr sz="1100" kern="1200" dirty="0" err="1"/>
            <a:t>ve</a:t>
          </a:r>
          <a:r>
            <a:rPr sz="1100" kern="1200" dirty="0"/>
            <a:t> </a:t>
          </a:r>
          <a:r>
            <a:rPr sz="1100" kern="1200" dirty="0" err="1"/>
            <a:t>projelerin</a:t>
          </a:r>
          <a:r>
            <a:rPr sz="1100" kern="1200" dirty="0"/>
            <a:t> </a:t>
          </a:r>
          <a:r>
            <a:rPr sz="1100" kern="1200" dirty="0" err="1"/>
            <a:t>etkilerini</a:t>
          </a:r>
          <a:r>
            <a:rPr sz="1100" kern="1200" dirty="0"/>
            <a:t> </a:t>
          </a:r>
          <a:r>
            <a:rPr sz="1100" kern="1200" dirty="0" err="1"/>
            <a:t>değerlendirmek</a:t>
          </a:r>
          <a:r>
            <a:rPr sz="1100" kern="1200" dirty="0"/>
            <a:t> </a:t>
          </a:r>
          <a:r>
            <a:rPr sz="1100" kern="1200" dirty="0" err="1"/>
            <a:t>için</a:t>
          </a:r>
          <a:r>
            <a:rPr sz="1100" kern="1200" dirty="0"/>
            <a:t> </a:t>
          </a:r>
          <a:r>
            <a:rPr sz="1100" kern="1200" dirty="0" err="1"/>
            <a:t>gereklidir</a:t>
          </a:r>
          <a:r>
            <a:rPr sz="1100" kern="1200" dirty="0"/>
            <a:t>.</a:t>
          </a:r>
        </a:p>
      </dsp:txBody>
      <dsp:txXfrm>
        <a:off x="2611295" y="3352900"/>
        <a:ext cx="5457259" cy="788917"/>
      </dsp:txXfrm>
    </dsp:sp>
    <dsp:sp modelId="{E9798C0F-478F-4A8D-9E9D-1F5C9254824B}">
      <dsp:nvSpPr>
        <dsp:cNvPr id="0" name=""/>
        <dsp:cNvSpPr/>
      </dsp:nvSpPr>
      <dsp:spPr>
        <a:xfrm>
          <a:off x="2507016" y="4141818"/>
          <a:ext cx="5561538"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a:sp3d z="127000" prstMaterial="matte"/>
      </dsp:spPr>
      <dsp:style>
        <a:lnRef idx="2">
          <a:scrgbClr r="0" g="0" b="0"/>
        </a:lnRef>
        <a:fillRef idx="1">
          <a:scrgbClr r="0" g="0" b="0"/>
        </a:fillRef>
        <a:effectRef idx="0">
          <a:scrgbClr r="0" g="0" b="0"/>
        </a:effectRef>
        <a:fontRef idx="minor"/>
      </dsp:style>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385688-240C-4737-AD85-32C89339F9B2}">
      <dsp:nvSpPr>
        <dsp:cNvPr id="0" name=""/>
        <dsp:cNvSpPr/>
      </dsp:nvSpPr>
      <dsp:spPr>
        <a:xfrm>
          <a:off x="115425" y="83344"/>
          <a:ext cx="6902538" cy="6275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444500">
            <a:lnSpc>
              <a:spcPct val="90000"/>
            </a:lnSpc>
            <a:spcBef>
              <a:spcPct val="0"/>
            </a:spcBef>
            <a:spcAft>
              <a:spcPct val="35000"/>
            </a:spcAft>
            <a:buNone/>
          </a:pPr>
          <a:r>
            <a:rPr sz="1000" kern="1200"/>
            <a:t>Trafik simülasyonu ve modelleme, Ankara'daki ulaşım planlamacılarının ulaşım ağlarının performansını değerlendirmeleri ve iyileştirilecek alanları belirlemeleri için gerekli araçlardır. PTV Visum, dinamik trafik ataması ve toplu taşıma simülasyonu gibi gelişmiş özellikleri nedeniyle trafik simülasyonu ve modellemesi için en iyi programlardan biridir.</a:t>
          </a:r>
        </a:p>
      </dsp:txBody>
      <dsp:txXfrm>
        <a:off x="115425" y="83344"/>
        <a:ext cx="6902538" cy="627503"/>
      </dsp:txXfrm>
    </dsp:sp>
    <dsp:sp modelId="{38B42A48-3EC1-4A33-AFAD-C8FFD9DED6C8}">
      <dsp:nvSpPr>
        <dsp:cNvPr id="0" name=""/>
        <dsp:cNvSpPr/>
      </dsp:nvSpPr>
      <dsp:spPr>
        <a:xfrm>
          <a:off x="115425" y="710847"/>
          <a:ext cx="920338" cy="153389"/>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EF91DAF-C792-453F-99EA-BEBEF4A32661}">
      <dsp:nvSpPr>
        <dsp:cNvPr id="0" name=""/>
        <dsp:cNvSpPr/>
      </dsp:nvSpPr>
      <dsp:spPr>
        <a:xfrm>
          <a:off x="1089450" y="710847"/>
          <a:ext cx="920338" cy="153389"/>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7471746-95FE-4DFA-877A-897C6124FEBC}">
      <dsp:nvSpPr>
        <dsp:cNvPr id="0" name=""/>
        <dsp:cNvSpPr/>
      </dsp:nvSpPr>
      <dsp:spPr>
        <a:xfrm>
          <a:off x="2063475" y="710847"/>
          <a:ext cx="920338" cy="153389"/>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61F917B-767D-43A7-8DAF-CEF9662DAEEC}">
      <dsp:nvSpPr>
        <dsp:cNvPr id="0" name=""/>
        <dsp:cNvSpPr/>
      </dsp:nvSpPr>
      <dsp:spPr>
        <a:xfrm>
          <a:off x="3037500" y="710847"/>
          <a:ext cx="920338" cy="153389"/>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D14FAB1-DEE9-4624-A6C5-1F6AC5AE539A}">
      <dsp:nvSpPr>
        <dsp:cNvPr id="0" name=""/>
        <dsp:cNvSpPr/>
      </dsp:nvSpPr>
      <dsp:spPr>
        <a:xfrm>
          <a:off x="4011525" y="710847"/>
          <a:ext cx="920338" cy="153389"/>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8663DBE-D70A-4E70-8A1C-E0C42C55A7B2}">
      <dsp:nvSpPr>
        <dsp:cNvPr id="0" name=""/>
        <dsp:cNvSpPr/>
      </dsp:nvSpPr>
      <dsp:spPr>
        <a:xfrm>
          <a:off x="4985550" y="710847"/>
          <a:ext cx="920338" cy="153389"/>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04448E3-88DF-4790-ABA0-419DCD12FDD0}">
      <dsp:nvSpPr>
        <dsp:cNvPr id="0" name=""/>
        <dsp:cNvSpPr/>
      </dsp:nvSpPr>
      <dsp:spPr>
        <a:xfrm>
          <a:off x="5959574" y="710847"/>
          <a:ext cx="920338" cy="153389"/>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0016F27-2985-4914-AF0F-64F31E0D2944}">
      <dsp:nvSpPr>
        <dsp:cNvPr id="0" name=""/>
        <dsp:cNvSpPr/>
      </dsp:nvSpPr>
      <dsp:spPr>
        <a:xfrm>
          <a:off x="115425" y="939950"/>
          <a:ext cx="6902538" cy="6275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444500">
            <a:lnSpc>
              <a:spcPct val="90000"/>
            </a:lnSpc>
            <a:spcBef>
              <a:spcPct val="0"/>
            </a:spcBef>
            <a:spcAft>
              <a:spcPct val="35000"/>
            </a:spcAft>
            <a:buNone/>
          </a:pPr>
          <a:r>
            <a:rPr sz="1000" kern="1200"/>
            <a:t>Ankara'da trafik simülasyonu ve modelleme araçlarını kullanmanın temel hususları şunlardır:</a:t>
          </a:r>
        </a:p>
      </dsp:txBody>
      <dsp:txXfrm>
        <a:off x="115425" y="939950"/>
        <a:ext cx="6902538" cy="627503"/>
      </dsp:txXfrm>
    </dsp:sp>
    <dsp:sp modelId="{F3AA3B35-7D97-4A56-88C4-D11A243CE8B5}">
      <dsp:nvSpPr>
        <dsp:cNvPr id="0" name=""/>
        <dsp:cNvSpPr/>
      </dsp:nvSpPr>
      <dsp:spPr>
        <a:xfrm>
          <a:off x="115425" y="1567453"/>
          <a:ext cx="1615193" cy="1278247"/>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0D08E7F-4473-43EE-99F1-624138E5B0D8}">
      <dsp:nvSpPr>
        <dsp:cNvPr id="0" name=""/>
        <dsp:cNvSpPr/>
      </dsp:nvSpPr>
      <dsp:spPr>
        <a:xfrm>
          <a:off x="1085615" y="1567453"/>
          <a:ext cx="1615193" cy="1278247"/>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FFABD47-23FF-44E1-94D1-85429E07384E}">
      <dsp:nvSpPr>
        <dsp:cNvPr id="0" name=""/>
        <dsp:cNvSpPr/>
      </dsp:nvSpPr>
      <dsp:spPr>
        <a:xfrm>
          <a:off x="2056572" y="1567453"/>
          <a:ext cx="1615193" cy="1278247"/>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2A3AB31-4C23-4273-8616-6AF43EB33198}">
      <dsp:nvSpPr>
        <dsp:cNvPr id="0" name=""/>
        <dsp:cNvSpPr/>
      </dsp:nvSpPr>
      <dsp:spPr>
        <a:xfrm>
          <a:off x="3026763" y="1567453"/>
          <a:ext cx="1615193" cy="1278247"/>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C7500A4-0214-402B-BA79-A10802F328B6}">
      <dsp:nvSpPr>
        <dsp:cNvPr id="0" name=""/>
        <dsp:cNvSpPr/>
      </dsp:nvSpPr>
      <dsp:spPr>
        <a:xfrm>
          <a:off x="3997720" y="1567453"/>
          <a:ext cx="1615193" cy="1278247"/>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821D3A-78C3-43D0-852C-9BBB94F8129F}">
      <dsp:nvSpPr>
        <dsp:cNvPr id="0" name=""/>
        <dsp:cNvSpPr/>
      </dsp:nvSpPr>
      <dsp:spPr>
        <a:xfrm>
          <a:off x="4967910" y="1567453"/>
          <a:ext cx="1615193" cy="1278247"/>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80BA2FE-DC4B-4416-99C4-3C4F495388B5}">
      <dsp:nvSpPr>
        <dsp:cNvPr id="0" name=""/>
        <dsp:cNvSpPr/>
      </dsp:nvSpPr>
      <dsp:spPr>
        <a:xfrm>
          <a:off x="5938867" y="1567453"/>
          <a:ext cx="1615193" cy="1278247"/>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901AEBB-44EB-4520-9443-43B730AA7FB1}">
      <dsp:nvSpPr>
        <dsp:cNvPr id="0" name=""/>
        <dsp:cNvSpPr/>
      </dsp:nvSpPr>
      <dsp:spPr>
        <a:xfrm>
          <a:off x="115425" y="1695278"/>
          <a:ext cx="6992271" cy="1022598"/>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l" defTabSz="444500">
            <a:lnSpc>
              <a:spcPct val="90000"/>
            </a:lnSpc>
            <a:spcBef>
              <a:spcPct val="0"/>
            </a:spcBef>
            <a:spcAft>
              <a:spcPct val="35000"/>
            </a:spcAft>
            <a:buNone/>
          </a:pPr>
          <a:r>
            <a:rPr sz="1000" kern="1200"/>
            <a:t>Ağ tasarımı: Ulaşım ağının Ankara'daki gerçek dünya koşullarını doğru bir şekilde yansıtmasını sağlamak</a:t>
          </a:r>
        </a:p>
        <a:p>
          <a:pPr marL="0" lvl="0" indent="0" algn="l" defTabSz="444500">
            <a:lnSpc>
              <a:spcPct val="90000"/>
            </a:lnSpc>
            <a:spcBef>
              <a:spcPct val="0"/>
            </a:spcBef>
            <a:spcAft>
              <a:spcPct val="35000"/>
            </a:spcAft>
            <a:buNone/>
          </a:pPr>
          <a:r>
            <a:rPr sz="1000" kern="1200"/>
            <a:t>Trafik akışı analizi: Trafik sıkışıklığı sıcak noktalarını ve darboğazları belirleme</a:t>
          </a:r>
        </a:p>
        <a:p>
          <a:pPr marL="0" lvl="0" indent="0" algn="l" defTabSz="444500">
            <a:lnSpc>
              <a:spcPct val="90000"/>
            </a:lnSpc>
            <a:spcBef>
              <a:spcPct val="0"/>
            </a:spcBef>
            <a:spcAft>
              <a:spcPct val="35000"/>
            </a:spcAft>
            <a:buNone/>
          </a:pPr>
          <a:r>
            <a:rPr sz="1000" kern="1200"/>
            <a:t>Senaryo analizi: Ulaşım projelerinin etkilerini değerlendirmek ve etkili çözümler geliştirmek için çeşitli senaryoların simüle edilmesi</a:t>
          </a:r>
        </a:p>
      </dsp:txBody>
      <dsp:txXfrm>
        <a:off x="115425" y="1695278"/>
        <a:ext cx="6992271" cy="1022598"/>
      </dsp:txXfrm>
    </dsp:sp>
    <dsp:sp modelId="{E9D7E07A-4A2B-4023-B369-F3AB248C0404}">
      <dsp:nvSpPr>
        <dsp:cNvPr id="0" name=""/>
        <dsp:cNvSpPr/>
      </dsp:nvSpPr>
      <dsp:spPr>
        <a:xfrm>
          <a:off x="115425" y="2921414"/>
          <a:ext cx="6902538" cy="62750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b" anchorCtr="0">
          <a:noAutofit/>
        </a:bodyPr>
        <a:lstStyle/>
        <a:p>
          <a:pPr marL="0" lvl="0" indent="0" algn="l" defTabSz="444500">
            <a:lnSpc>
              <a:spcPct val="90000"/>
            </a:lnSpc>
            <a:spcBef>
              <a:spcPct val="0"/>
            </a:spcBef>
            <a:spcAft>
              <a:spcPct val="35000"/>
            </a:spcAft>
            <a:buNone/>
          </a:pPr>
          <a:r>
            <a:rPr sz="1000" kern="1200"/>
            <a:t>PTV Visum gibi trafik simülasyon ve modelleme araçlarını kullanarak, Ankara'daki ulaşım planlamacıları trafik akışını iyileştirmek, tıkanıklığı azaltmak ve ulaşım ağının genel performansını artırmak için stratejiler geliştirebilir ve test edebilir.</a:t>
          </a:r>
        </a:p>
      </dsp:txBody>
      <dsp:txXfrm>
        <a:off x="115425" y="2921414"/>
        <a:ext cx="6902538" cy="627503"/>
      </dsp:txXfrm>
    </dsp:sp>
    <dsp:sp modelId="{4A4D91F6-96C9-4DF0-BC56-CAF7A291CEA4}">
      <dsp:nvSpPr>
        <dsp:cNvPr id="0" name=""/>
        <dsp:cNvSpPr/>
      </dsp:nvSpPr>
      <dsp:spPr>
        <a:xfrm>
          <a:off x="115425" y="3548918"/>
          <a:ext cx="920338" cy="153389"/>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C27C2A6-5F31-4016-8356-B78345E64F49}">
      <dsp:nvSpPr>
        <dsp:cNvPr id="0" name=""/>
        <dsp:cNvSpPr/>
      </dsp:nvSpPr>
      <dsp:spPr>
        <a:xfrm>
          <a:off x="1089450" y="3548918"/>
          <a:ext cx="920338" cy="153389"/>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B965186-AF27-4E6B-9ADA-BF6E50F04C93}">
      <dsp:nvSpPr>
        <dsp:cNvPr id="0" name=""/>
        <dsp:cNvSpPr/>
      </dsp:nvSpPr>
      <dsp:spPr>
        <a:xfrm>
          <a:off x="2063475" y="3548918"/>
          <a:ext cx="920338" cy="153389"/>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6C9C142-42EF-4391-A7B0-4DB8469771E6}">
      <dsp:nvSpPr>
        <dsp:cNvPr id="0" name=""/>
        <dsp:cNvSpPr/>
      </dsp:nvSpPr>
      <dsp:spPr>
        <a:xfrm>
          <a:off x="3037500" y="3548918"/>
          <a:ext cx="920338" cy="153389"/>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0379157-C439-4F6C-8ADB-63CCB4C90C6A}">
      <dsp:nvSpPr>
        <dsp:cNvPr id="0" name=""/>
        <dsp:cNvSpPr/>
      </dsp:nvSpPr>
      <dsp:spPr>
        <a:xfrm>
          <a:off x="4011525" y="3548918"/>
          <a:ext cx="920338" cy="153389"/>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49BBE4-DAF7-4484-8304-E86E08FB19B0}">
      <dsp:nvSpPr>
        <dsp:cNvPr id="0" name=""/>
        <dsp:cNvSpPr/>
      </dsp:nvSpPr>
      <dsp:spPr>
        <a:xfrm>
          <a:off x="4985550" y="3548918"/>
          <a:ext cx="920338" cy="153389"/>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3C27137-1891-440D-8259-6AF953515CB7}">
      <dsp:nvSpPr>
        <dsp:cNvPr id="0" name=""/>
        <dsp:cNvSpPr/>
      </dsp:nvSpPr>
      <dsp:spPr>
        <a:xfrm>
          <a:off x="5959574" y="3548918"/>
          <a:ext cx="920338" cy="153389"/>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7A0BD3-71BF-4C47-A3F6-A906474A6116}">
      <dsp:nvSpPr>
        <dsp:cNvPr id="0" name=""/>
        <dsp:cNvSpPr/>
      </dsp:nvSpPr>
      <dsp:spPr>
        <a:xfrm>
          <a:off x="2806847" y="2508378"/>
          <a:ext cx="560766" cy="1205648"/>
        </a:xfrm>
        <a:custGeom>
          <a:avLst/>
          <a:gdLst/>
          <a:ahLst/>
          <a:cxnLst/>
          <a:rect l="0" t="0" r="0" b="0"/>
          <a:pathLst>
            <a:path>
              <a:moveTo>
                <a:pt x="0" y="0"/>
              </a:moveTo>
              <a:lnTo>
                <a:pt x="280383" y="0"/>
              </a:lnTo>
              <a:lnTo>
                <a:pt x="280383" y="1205648"/>
              </a:lnTo>
              <a:lnTo>
                <a:pt x="560766" y="1205648"/>
              </a:lnTo>
            </a:path>
          </a:pathLst>
        </a:cu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9A597FB-48BF-4437-8428-2D3BF60F84D1}">
      <dsp:nvSpPr>
        <dsp:cNvPr id="0" name=""/>
        <dsp:cNvSpPr/>
      </dsp:nvSpPr>
      <dsp:spPr>
        <a:xfrm>
          <a:off x="2806847" y="2462659"/>
          <a:ext cx="560766" cy="91440"/>
        </a:xfrm>
        <a:custGeom>
          <a:avLst/>
          <a:gdLst/>
          <a:ahLst/>
          <a:cxnLst/>
          <a:rect l="0" t="0" r="0" b="0"/>
          <a:pathLst>
            <a:path>
              <a:moveTo>
                <a:pt x="0" y="45720"/>
              </a:moveTo>
              <a:lnTo>
                <a:pt x="560766" y="45720"/>
              </a:lnTo>
            </a:path>
          </a:pathLst>
        </a:cu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79F2A1E-4A40-429C-A690-668A8B06A6F7}">
      <dsp:nvSpPr>
        <dsp:cNvPr id="0" name=""/>
        <dsp:cNvSpPr/>
      </dsp:nvSpPr>
      <dsp:spPr>
        <a:xfrm>
          <a:off x="2806847" y="1302730"/>
          <a:ext cx="560766" cy="1205648"/>
        </a:xfrm>
        <a:custGeom>
          <a:avLst/>
          <a:gdLst/>
          <a:ahLst/>
          <a:cxnLst/>
          <a:rect l="0" t="0" r="0" b="0"/>
          <a:pathLst>
            <a:path>
              <a:moveTo>
                <a:pt x="0" y="1205648"/>
              </a:moveTo>
              <a:lnTo>
                <a:pt x="280383" y="1205648"/>
              </a:lnTo>
              <a:lnTo>
                <a:pt x="280383" y="0"/>
              </a:lnTo>
              <a:lnTo>
                <a:pt x="560766" y="0"/>
              </a:lnTo>
            </a:path>
          </a:pathLst>
        </a:custGeom>
        <a:noFill/>
        <a:ln w="12700" cap="flat" cmpd="sng" algn="ctr">
          <a:solidFill>
            <a:schemeClr val="accent6">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BF8F783-778E-4BB7-B1C8-0D897F7EF1C1}">
      <dsp:nvSpPr>
        <dsp:cNvPr id="0" name=""/>
        <dsp:cNvSpPr/>
      </dsp:nvSpPr>
      <dsp:spPr>
        <a:xfrm>
          <a:off x="3014" y="875146"/>
          <a:ext cx="2803832" cy="855169"/>
        </a:xfrm>
        <a:prstGeom prst="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sz="800" kern="1200"/>
            <a:t>Ankara'daki ulaşım projeleri ekonomik, sosyal ve çevresel etkilerine göre değerlendirilmelidir. Maliyet - fayda analizi, ulaşım planlamacılarının bir projenin yatırım yapmaya değer olup olmadığını belirlemesine yardımcı olan önemli bir değerlendirme aracıdır. Eşitlik değerlendirmesi, ulaşım projelerinin toplumun tüm üyelerine, özellikle de dezavantajlı gruplara fayda sağlamasını sağlamak için de kritik öneme sahiptir.</a:t>
          </a:r>
        </a:p>
      </dsp:txBody>
      <dsp:txXfrm>
        <a:off x="3014" y="875146"/>
        <a:ext cx="2803832" cy="855169"/>
      </dsp:txXfrm>
    </dsp:sp>
    <dsp:sp modelId="{6BA89329-4190-4C8E-A968-8484798C8A4F}">
      <dsp:nvSpPr>
        <dsp:cNvPr id="0" name=""/>
        <dsp:cNvSpPr/>
      </dsp:nvSpPr>
      <dsp:spPr>
        <a:xfrm>
          <a:off x="3014" y="2080794"/>
          <a:ext cx="2803832" cy="855169"/>
        </a:xfrm>
        <a:prstGeom prst="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sz="800" kern="1200"/>
            <a:t>Ankara'da fayda - maliyet analizi ve özkaynak değerlendirmesinin kullanılmasına ilişkin temel hususlar şunlardır:</a:t>
          </a:r>
        </a:p>
      </dsp:txBody>
      <dsp:txXfrm>
        <a:off x="3014" y="2080794"/>
        <a:ext cx="2803832" cy="855169"/>
      </dsp:txXfrm>
    </dsp:sp>
    <dsp:sp modelId="{15646CC0-CE1E-48A8-99ED-A98C288A2A5B}">
      <dsp:nvSpPr>
        <dsp:cNvPr id="0" name=""/>
        <dsp:cNvSpPr/>
      </dsp:nvSpPr>
      <dsp:spPr>
        <a:xfrm>
          <a:off x="3367614" y="875146"/>
          <a:ext cx="2803832" cy="855169"/>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sz="800" kern="1200"/>
            <a:t>Kapsamlı analiz: Bir dizi ekonomik, sosyal ve çevresel etkinin değerlendirilmesi</a:t>
          </a:r>
        </a:p>
      </dsp:txBody>
      <dsp:txXfrm>
        <a:off x="3367614" y="875146"/>
        <a:ext cx="2803832" cy="855169"/>
      </dsp:txXfrm>
    </dsp:sp>
    <dsp:sp modelId="{F329937F-2611-47DB-952B-9A6C0A5405E2}">
      <dsp:nvSpPr>
        <dsp:cNvPr id="0" name=""/>
        <dsp:cNvSpPr/>
      </dsp:nvSpPr>
      <dsp:spPr>
        <a:xfrm>
          <a:off x="3367614" y="2080794"/>
          <a:ext cx="2803832" cy="855169"/>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sz="800" kern="1200"/>
            <a:t>Veri girdileri: Analizi yapmak için kullanılan verilerin doğru ve güncel olmasının sağlanması</a:t>
          </a:r>
        </a:p>
      </dsp:txBody>
      <dsp:txXfrm>
        <a:off x="3367614" y="2080794"/>
        <a:ext cx="2803832" cy="855169"/>
      </dsp:txXfrm>
    </dsp:sp>
    <dsp:sp modelId="{8A281E5E-35FD-43D3-8E9D-A7017399D360}">
      <dsp:nvSpPr>
        <dsp:cNvPr id="0" name=""/>
        <dsp:cNvSpPr/>
      </dsp:nvSpPr>
      <dsp:spPr>
        <a:xfrm>
          <a:off x="3367614" y="3286442"/>
          <a:ext cx="2803832" cy="855169"/>
        </a:xfrm>
        <a:prstGeom prst="rect">
          <a:avLst/>
        </a:prstGeom>
        <a:gradFill rotWithShape="0">
          <a:gsLst>
            <a:gs pos="0">
              <a:schemeClr val="accent6">
                <a:hueOff val="0"/>
                <a:satOff val="0"/>
                <a:lumOff val="0"/>
                <a:alphaOff val="0"/>
                <a:satMod val="103000"/>
                <a:lumMod val="102000"/>
                <a:tint val="94000"/>
              </a:schemeClr>
            </a:gs>
            <a:gs pos="50000">
              <a:schemeClr val="accent6">
                <a:hueOff val="0"/>
                <a:satOff val="0"/>
                <a:lumOff val="0"/>
                <a:alphaOff val="0"/>
                <a:satMod val="110000"/>
                <a:lumMod val="100000"/>
                <a:shade val="100000"/>
              </a:schemeClr>
            </a:gs>
            <a:gs pos="100000">
              <a:schemeClr val="accent6">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sz="800" kern="1200"/>
            <a:t>Paydaş katılımı: Değerlendirmenin ihtiyaç ve endişelerini yansıtmasını sağlamak için paydaşlardan geri bildirim istemek</a:t>
          </a:r>
        </a:p>
      </dsp:txBody>
      <dsp:txXfrm>
        <a:off x="3367614" y="3286442"/>
        <a:ext cx="2803832" cy="855169"/>
      </dsp:txXfrm>
    </dsp:sp>
    <dsp:sp modelId="{80DC2461-49A5-4E6E-8896-C6D4574865BD}">
      <dsp:nvSpPr>
        <dsp:cNvPr id="0" name=""/>
        <dsp:cNvSpPr/>
      </dsp:nvSpPr>
      <dsp:spPr>
        <a:xfrm>
          <a:off x="3014" y="3286442"/>
          <a:ext cx="2803832" cy="855169"/>
        </a:xfrm>
        <a:prstGeom prst="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txBody>
        <a:bodyPr spcFirstLastPara="0" vert="horz" wrap="square" lIns="5080" tIns="5080" rIns="5080" bIns="5080" numCol="1" spcCol="1270" anchor="ctr" anchorCtr="0">
          <a:noAutofit/>
        </a:bodyPr>
        <a:lstStyle/>
        <a:p>
          <a:pPr marL="0" lvl="0" indent="0" algn="ctr" defTabSz="355600">
            <a:lnSpc>
              <a:spcPct val="90000"/>
            </a:lnSpc>
            <a:spcBef>
              <a:spcPct val="0"/>
            </a:spcBef>
            <a:spcAft>
              <a:spcPct val="35000"/>
            </a:spcAft>
            <a:buNone/>
          </a:pPr>
          <a:r>
            <a:rPr sz="800" kern="1200"/>
            <a:t>ankara'daki ulaşım planlamacıları, maliyet - fayda analizi ve eşitlik değerlendirme araçlarını kullanarak ulaşım projeleri hakkında bilinçli kararlar alabilir, toplumun tüm üyelerine fayda sağlamalarını sağlayabilir ve kentin ulaşım hedeflerine ulaşabilir.</a:t>
          </a:r>
        </a:p>
      </dsp:txBody>
      <dsp:txXfrm>
        <a:off x="3014" y="3286442"/>
        <a:ext cx="2803832" cy="855169"/>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3FAE8A-3200-438D-8660-AAB3E1E8CBEF}">
      <dsp:nvSpPr>
        <dsp:cNvPr id="0" name=""/>
        <dsp:cNvSpPr/>
      </dsp:nvSpPr>
      <dsp:spPr>
        <a:xfrm>
          <a:off x="5229107" y="487943"/>
          <a:ext cx="2247688" cy="2248104"/>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950B0C3-527D-47DC-AAEC-A85C7383ED41}">
      <dsp:nvSpPr>
        <dsp:cNvPr id="0" name=""/>
        <dsp:cNvSpPr/>
      </dsp:nvSpPr>
      <dsp:spPr>
        <a:xfrm>
          <a:off x="5303737" y="562893"/>
          <a:ext cx="2098427" cy="2098204"/>
        </a:xfrm>
        <a:prstGeom prst="ellipse">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sz="800" kern="1200"/>
            <a:t>Ankara'daki ulaşım planlamacıları, güvenli ve kullanışlı yaya altyapısını teşvik ederek ve uygun fiyatlı paylaşımlı hareketlilik seçenekleri sunarak trafik sıkışıklığını azaltabilir, sürdürülebilir hareketliliği teşvik edebilir ve tüm sakinler için yaşam kalitesini artırabilir.</a:t>
          </a:r>
        </a:p>
      </dsp:txBody>
      <dsp:txXfrm>
        <a:off x="5603722" y="862693"/>
        <a:ext cx="1498458" cy="1498604"/>
      </dsp:txXfrm>
    </dsp:sp>
    <dsp:sp modelId="{8A1C5D8C-5F5D-4FEC-937B-9F0AA2A9689C}">
      <dsp:nvSpPr>
        <dsp:cNvPr id="0" name=""/>
        <dsp:cNvSpPr/>
      </dsp:nvSpPr>
      <dsp:spPr>
        <a:xfrm rot="2700000">
          <a:off x="2908764" y="490661"/>
          <a:ext cx="2242274" cy="2242274"/>
        </a:xfrm>
        <a:prstGeom prst="teardrop">
          <a:avLst>
            <a:gd name="adj" fmla="val 100000"/>
          </a:avLst>
        </a:prstGeom>
        <a:solidFill>
          <a:schemeClr val="accent3">
            <a:hueOff val="1355300"/>
            <a:satOff val="50000"/>
            <a:lumOff val="-735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4EFAAB4-B993-4E92-96FE-73CFB74FFC15}">
      <dsp:nvSpPr>
        <dsp:cNvPr id="0" name=""/>
        <dsp:cNvSpPr/>
      </dsp:nvSpPr>
      <dsp:spPr>
        <a:xfrm>
          <a:off x="2980687" y="562893"/>
          <a:ext cx="2098427" cy="2098204"/>
        </a:xfrm>
        <a:prstGeom prst="ellipse">
          <a:avLst/>
        </a:prstGeom>
        <a:solidFill>
          <a:schemeClr val="lt1">
            <a:alpha val="90000"/>
            <a:hueOff val="0"/>
            <a:satOff val="0"/>
            <a:lumOff val="0"/>
            <a:alphaOff val="0"/>
          </a:schemeClr>
        </a:solidFill>
        <a:ln w="12700" cap="flat" cmpd="sng" algn="ctr">
          <a:solidFill>
            <a:schemeClr val="accent3">
              <a:hueOff val="1355300"/>
              <a:satOff val="50000"/>
              <a:lumOff val="-7353"/>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sz="800" kern="1200"/>
            <a:t>Ankara'da yaya altyapısını ve ortak hareketliliği teşvik etmek için önemli hususlar şunlardır:</a:t>
          </a:r>
        </a:p>
      </dsp:txBody>
      <dsp:txXfrm>
        <a:off x="3280672" y="862693"/>
        <a:ext cx="1498458" cy="1498604"/>
      </dsp:txXfrm>
    </dsp:sp>
    <dsp:sp modelId="{C783C160-E28F-41F6-892C-8E40F2B11FE2}">
      <dsp:nvSpPr>
        <dsp:cNvPr id="0" name=""/>
        <dsp:cNvSpPr/>
      </dsp:nvSpPr>
      <dsp:spPr>
        <a:xfrm>
          <a:off x="2980687" y="2777467"/>
          <a:ext cx="2098427" cy="123233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t" anchorCtr="0">
          <a:noAutofit/>
        </a:bodyPr>
        <a:lstStyle/>
        <a:p>
          <a:pPr marL="285750" lvl="1" indent="-285750" algn="l" defTabSz="1600200">
            <a:lnSpc>
              <a:spcPct val="90000"/>
            </a:lnSpc>
            <a:spcBef>
              <a:spcPct val="0"/>
            </a:spcBef>
            <a:spcAft>
              <a:spcPct val="15000"/>
            </a:spcAft>
            <a:buChar char="•"/>
            <a:defRPr sz="800"/>
          </a:pPr>
          <a:r>
            <a:rPr sz="3600" kern="1200"/>
            <a:t>Altyapı tasarımı: Yaya altyapısının güvenli, kullanışlı ve erişilebilir olmasını sağlamak</a:t>
          </a:r>
        </a:p>
        <a:p>
          <a:pPr marL="285750" lvl="1" indent="-285750" algn="l" defTabSz="1600200">
            <a:lnSpc>
              <a:spcPct val="90000"/>
            </a:lnSpc>
            <a:spcBef>
              <a:spcPct val="0"/>
            </a:spcBef>
            <a:spcAft>
              <a:spcPct val="15000"/>
            </a:spcAft>
            <a:buChar char="•"/>
            <a:defRPr sz="800"/>
          </a:pPr>
          <a:r>
            <a:rPr sz="3600" kern="1200"/>
            <a:t>Hizmet kalitesi: Paylaşılan mobilite hizmetlerinin kullanıcılar için güvenilir ve uygun olmasını sağlamak</a:t>
          </a:r>
        </a:p>
        <a:p>
          <a:pPr marL="285750" lvl="1" indent="-285750" algn="l" defTabSz="1600200">
            <a:lnSpc>
              <a:spcPct val="90000"/>
            </a:lnSpc>
            <a:spcBef>
              <a:spcPct val="0"/>
            </a:spcBef>
            <a:spcAft>
              <a:spcPct val="15000"/>
            </a:spcAft>
            <a:buChar char="•"/>
            <a:defRPr sz="800"/>
          </a:pPr>
          <a:r>
            <a:rPr sz="3600" kern="1200"/>
            <a:t>Kamu bilinci ve eğitimi: Sakinleri yaya altyapısının ve paylaşılan hareketliliğin yararları konusunda eğitmek ve kullanımlarını teşvik etmek</a:t>
          </a:r>
        </a:p>
      </dsp:txBody>
      <dsp:txXfrm>
        <a:off x="2980687" y="2777467"/>
        <a:ext cx="2098427" cy="1232334"/>
      </dsp:txXfrm>
    </dsp:sp>
    <dsp:sp modelId="{13A609EC-5DCD-4E75-BD19-61B73498B7BA}">
      <dsp:nvSpPr>
        <dsp:cNvPr id="0" name=""/>
        <dsp:cNvSpPr/>
      </dsp:nvSpPr>
      <dsp:spPr>
        <a:xfrm rot="2700000">
          <a:off x="585714" y="490661"/>
          <a:ext cx="2242274" cy="2242274"/>
        </a:xfrm>
        <a:prstGeom prst="teardrop">
          <a:avLst>
            <a:gd name="adj" fmla="val 100000"/>
          </a:avLst>
        </a:prstGeom>
        <a:solidFill>
          <a:schemeClr val="accent3">
            <a:hueOff val="2710599"/>
            <a:satOff val="100000"/>
            <a:lumOff val="-147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09F96CA-36D2-4061-ABDB-61CC913D5903}">
      <dsp:nvSpPr>
        <dsp:cNvPr id="0" name=""/>
        <dsp:cNvSpPr/>
      </dsp:nvSpPr>
      <dsp:spPr>
        <a:xfrm>
          <a:off x="657637" y="562893"/>
          <a:ext cx="2098427" cy="2098204"/>
        </a:xfrm>
        <a:prstGeom prst="ellipse">
          <a:avLst/>
        </a:prstGeom>
        <a:solidFill>
          <a:schemeClr val="lt1">
            <a:alpha val="90000"/>
            <a:hueOff val="0"/>
            <a:satOff val="0"/>
            <a:lumOff val="0"/>
            <a:alphaOff val="0"/>
          </a:schemeClr>
        </a:solidFill>
        <a:ln w="12700" cap="flat" cmpd="sng" algn="ctr">
          <a:solidFill>
            <a:schemeClr val="accent3">
              <a:hueOff val="2710599"/>
              <a:satOff val="100000"/>
              <a:lumOff val="-1470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160" tIns="10160" rIns="10160" bIns="10160" numCol="1" spcCol="1270" anchor="ctr" anchorCtr="0">
          <a:noAutofit/>
        </a:bodyPr>
        <a:lstStyle/>
        <a:p>
          <a:pPr marL="0" lvl="0" indent="0" algn="ctr" defTabSz="355600">
            <a:lnSpc>
              <a:spcPct val="90000"/>
            </a:lnSpc>
            <a:spcBef>
              <a:spcPct val="0"/>
            </a:spcBef>
            <a:spcAft>
              <a:spcPct val="35000"/>
            </a:spcAft>
            <a:buNone/>
          </a:pPr>
          <a:r>
            <a:rPr sz="800" kern="1200"/>
            <a:t>Ankara'da yaya altyapısı ve paylaşımlı hareketlilik ulaşım planlamasının kritik bileşenleridir. Kaldırımlar ve yaya geçitleri de dahil olmak üzere yaya altyapısı, güvenli ve rahat yürüyüşü teşvik etmek ve yoldaki araba sayısını azaltmak için gereklidir. Araba paylaşımı ve bisiklet paylaşımı programları gibi paylaşılan hareketlilik, sakinler için uygun fiyatlı ve esnek bir ulaşım seçeneği sunar.</a:t>
          </a:r>
        </a:p>
      </dsp:txBody>
      <dsp:txXfrm>
        <a:off x="957622" y="862693"/>
        <a:ext cx="1498458" cy="1498604"/>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04BE5A8-78E7-44CA-BAB3-4443E0800255}">
      <dsp:nvSpPr>
        <dsp:cNvPr id="0" name=""/>
        <dsp:cNvSpPr/>
      </dsp:nvSpPr>
      <dsp:spPr>
        <a:xfrm>
          <a:off x="2230" y="0"/>
          <a:ext cx="2145519" cy="37427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sz="900" kern="1200"/>
            <a:t>Etkin park yönetimi, trafik sıkışıklığını azaltmak, hava kalitesini iyileştirmek ve Ankara'daki genel yaşam kalitesini artırmak için kritik öneme sahiptir. Aşağıdaki park yönetimi stratejileri kullanılabilir:</a:t>
          </a:r>
        </a:p>
      </dsp:txBody>
      <dsp:txXfrm>
        <a:off x="2230" y="0"/>
        <a:ext cx="2145519" cy="1122828"/>
      </dsp:txXfrm>
    </dsp:sp>
    <dsp:sp modelId="{CDBAA88F-3073-4F5E-8976-99E7564119E0}">
      <dsp:nvSpPr>
        <dsp:cNvPr id="0" name=""/>
        <dsp:cNvSpPr/>
      </dsp:nvSpPr>
      <dsp:spPr>
        <a:xfrm>
          <a:off x="216782" y="1122919"/>
          <a:ext cx="1716415" cy="545240"/>
        </a:xfrm>
        <a:prstGeom prst="roundRect">
          <a:avLst>
            <a:gd name="adj" fmla="val 10000"/>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r>
            <a:rPr sz="800" kern="1200"/>
            <a:t>Fiyatlandırma: Otopark cirosunu teşvik etmek ve talebi azaltmak için yoğun saatlerde daha fazla ücret alan dinamik fiyatlandırma.</a:t>
          </a:r>
        </a:p>
      </dsp:txBody>
      <dsp:txXfrm>
        <a:off x="232752" y="1138889"/>
        <a:ext cx="1684475" cy="513300"/>
      </dsp:txXfrm>
    </dsp:sp>
    <dsp:sp modelId="{4034C98F-3F12-4697-9D67-2A992992F69A}">
      <dsp:nvSpPr>
        <dsp:cNvPr id="0" name=""/>
        <dsp:cNvSpPr/>
      </dsp:nvSpPr>
      <dsp:spPr>
        <a:xfrm>
          <a:off x="216782" y="1752043"/>
          <a:ext cx="1716415" cy="545240"/>
        </a:xfrm>
        <a:prstGeom prst="roundRect">
          <a:avLst>
            <a:gd name="adj" fmla="val 10000"/>
          </a:avLst>
        </a:prstGeom>
        <a:solidFill>
          <a:schemeClr val="accent2">
            <a:hueOff val="-485121"/>
            <a:satOff val="-27976"/>
            <a:lumOff val="28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r>
            <a:rPr sz="800" kern="1200"/>
            <a:t>Tedarik yönetimi: Sürüşü caydırmak ve alternatif ulaşımı teşvik etmek için şehir merkezleri gibi belirli alanlarda mevcut olan park alanlarının sayısını sınırlamak.</a:t>
          </a:r>
        </a:p>
      </dsp:txBody>
      <dsp:txXfrm>
        <a:off x="232752" y="1768013"/>
        <a:ext cx="1684475" cy="513300"/>
      </dsp:txXfrm>
    </dsp:sp>
    <dsp:sp modelId="{814AD0AA-8D60-44E1-A8A2-AE3F46B33B70}">
      <dsp:nvSpPr>
        <dsp:cNvPr id="0" name=""/>
        <dsp:cNvSpPr/>
      </dsp:nvSpPr>
      <dsp:spPr>
        <a:xfrm>
          <a:off x="216782" y="2381167"/>
          <a:ext cx="1716415" cy="545240"/>
        </a:xfrm>
        <a:prstGeom prst="roundRect">
          <a:avLst>
            <a:gd name="adj" fmla="val 10000"/>
          </a:avLst>
        </a:prstGeom>
        <a:solidFill>
          <a:schemeClr val="accent2">
            <a:hueOff val="-970242"/>
            <a:satOff val="-55952"/>
            <a:lumOff val="57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r>
            <a:rPr sz="800" kern="1200"/>
            <a:t>Zaman sınırları: Ciroyu teşvik etmek ve uzun süre sokaklarda park edilen araba sayısını azaltmak için park için zaman sınırları oluşturulması.</a:t>
          </a:r>
        </a:p>
      </dsp:txBody>
      <dsp:txXfrm>
        <a:off x="232752" y="2397137"/>
        <a:ext cx="1684475" cy="513300"/>
      </dsp:txXfrm>
    </dsp:sp>
    <dsp:sp modelId="{645D386F-6F46-4A9E-B940-36FA79E424AE}">
      <dsp:nvSpPr>
        <dsp:cNvPr id="0" name=""/>
        <dsp:cNvSpPr/>
      </dsp:nvSpPr>
      <dsp:spPr>
        <a:xfrm>
          <a:off x="216782" y="3010291"/>
          <a:ext cx="1716415" cy="545240"/>
        </a:xfrm>
        <a:prstGeom prst="roundRect">
          <a:avLst>
            <a:gd name="adj" fmla="val 10000"/>
          </a:avLst>
        </a:prstGeom>
        <a:solidFill>
          <a:schemeClr val="accent2">
            <a:hueOff val="-1455363"/>
            <a:satOff val="-83928"/>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r>
            <a:rPr sz="800" kern="1200"/>
            <a:t>Teşvikler: Toplu taşıma veya bisiklet paylaşım programlarında indirimler gibi alternatif ulaşım modlarını kullanmak için teşvikler sunmak.</a:t>
          </a:r>
        </a:p>
      </dsp:txBody>
      <dsp:txXfrm>
        <a:off x="232752" y="3026261"/>
        <a:ext cx="1684475" cy="513300"/>
      </dsp:txXfrm>
    </dsp:sp>
    <dsp:sp modelId="{6F3297B6-0ED8-401B-AF83-5FCBC24F5D2C}">
      <dsp:nvSpPr>
        <dsp:cNvPr id="0" name=""/>
        <dsp:cNvSpPr/>
      </dsp:nvSpPr>
      <dsp:spPr>
        <a:xfrm>
          <a:off x="2308663" y="0"/>
          <a:ext cx="2145519" cy="3742762"/>
        </a:xfrm>
        <a:prstGeom prst="roundRect">
          <a:avLst>
            <a:gd name="adj" fmla="val 10000"/>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34290" tIns="34290" rIns="34290" bIns="34290" numCol="1" spcCol="1270" anchor="ctr" anchorCtr="0">
          <a:noAutofit/>
        </a:bodyPr>
        <a:lstStyle/>
        <a:p>
          <a:pPr marL="0" lvl="0" indent="0" algn="ctr" defTabSz="400050">
            <a:lnSpc>
              <a:spcPct val="90000"/>
            </a:lnSpc>
            <a:spcBef>
              <a:spcPct val="0"/>
            </a:spcBef>
            <a:spcAft>
              <a:spcPct val="35000"/>
            </a:spcAft>
            <a:buNone/>
          </a:pPr>
          <a:r>
            <a:rPr sz="900" kern="1200"/>
            <a:t>Etkili park yönetimi, sokaklardaki tıkanıklığı önemli ölçüde azaltabilir ve Ankara'daki genel ulaşım sistemini iyileştirebilir. Ücretlendirme, otopark alanlarının planlanması ve teknolojik çözümler gibi otopark stratejileri uygulanarak, şehirde park talebi daha iyi yönetilebilir ve böylece herkesin hareketliliği artabilir.</a:t>
          </a:r>
        </a:p>
      </dsp:txBody>
      <dsp:txXfrm>
        <a:off x="2308663" y="0"/>
        <a:ext cx="2145519" cy="1122828"/>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C94C1DA-D007-4463-8F00-EF8CB621AF09}">
      <dsp:nvSpPr>
        <dsp:cNvPr id="0" name=""/>
        <dsp:cNvSpPr/>
      </dsp:nvSpPr>
      <dsp:spPr>
        <a:xfrm>
          <a:off x="419847" y="580113"/>
          <a:ext cx="683437" cy="683437"/>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0878F970-6AEC-471A-99D0-0B782833A6FA}">
      <dsp:nvSpPr>
        <dsp:cNvPr id="0" name=""/>
        <dsp:cNvSpPr/>
      </dsp:nvSpPr>
      <dsp:spPr>
        <a:xfrm>
          <a:off x="2190" y="1742269"/>
          <a:ext cx="1518750" cy="20289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sz="1100" kern="1200"/>
            <a:t>Ankara'daki ulaşım planlamacılarının şehrin park ihtiyaçlarını doğru bir şekilde değerlendirmeleri ve etkili park yönetimi stratejileri geliştirmeleri için kapsamlı bir park arz ve talep analizi gereklidir. Bu analiz, şehirdeki mevcut park arzının değerlendirilmesini, gelecekteki park talebinin tahmin edilmesini ve potansiyel park eksikliği veya fazlalığı alanlarının belirlenmesini içerir.</a:t>
          </a:r>
        </a:p>
      </dsp:txBody>
      <dsp:txXfrm>
        <a:off x="2190" y="1742269"/>
        <a:ext cx="1518750" cy="2028955"/>
      </dsp:txXfrm>
    </dsp:sp>
    <dsp:sp modelId="{86925EDA-FE17-4B64-9DA0-52BC850CED1A}">
      <dsp:nvSpPr>
        <dsp:cNvPr id="0" name=""/>
        <dsp:cNvSpPr/>
      </dsp:nvSpPr>
      <dsp:spPr>
        <a:xfrm>
          <a:off x="2204378" y="580113"/>
          <a:ext cx="683437" cy="683437"/>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2F029DAB-FD8A-4322-A4CD-695C90FA332F}">
      <dsp:nvSpPr>
        <dsp:cNvPr id="0" name=""/>
        <dsp:cNvSpPr/>
      </dsp:nvSpPr>
      <dsp:spPr>
        <a:xfrm>
          <a:off x="1786722" y="1742269"/>
          <a:ext cx="1518750" cy="20289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sz="1100" kern="1200"/>
            <a:t>Otopark arz ve talep analizi, ticari veya konut geliştirme gibi arazi kullanımının park talebi üzerindeki etkisini de dikkate almaktadır. Bu analizi yaparak, ulaşım planlamacıları şehrin farklı bölgeleri için uygun park arzını belirleyebilir ve park eksikliklerini gidermek için hedeflenen park yönetimi stratejileri geliştirebilirler.</a:t>
          </a:r>
        </a:p>
      </dsp:txBody>
      <dsp:txXfrm>
        <a:off x="1786722" y="1742269"/>
        <a:ext cx="1518750" cy="2028955"/>
      </dsp:txXfrm>
    </dsp:sp>
    <dsp:sp modelId="{8972F22C-2345-47A7-8085-CC329DB60EF9}">
      <dsp:nvSpPr>
        <dsp:cNvPr id="0" name=""/>
        <dsp:cNvSpPr/>
      </dsp:nvSpPr>
      <dsp:spPr>
        <a:xfrm>
          <a:off x="3988909" y="580113"/>
          <a:ext cx="683437" cy="683437"/>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B170BE1-385E-4F06-B2D7-801F93C835F2}">
      <dsp:nvSpPr>
        <dsp:cNvPr id="0" name=""/>
        <dsp:cNvSpPr/>
      </dsp:nvSpPr>
      <dsp:spPr>
        <a:xfrm>
          <a:off x="3571253" y="1742269"/>
          <a:ext cx="1518750" cy="20289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488950">
            <a:lnSpc>
              <a:spcPct val="100000"/>
            </a:lnSpc>
            <a:spcBef>
              <a:spcPct val="0"/>
            </a:spcBef>
            <a:spcAft>
              <a:spcPct val="35000"/>
            </a:spcAft>
            <a:buNone/>
          </a:pPr>
          <a:r>
            <a:rPr sz="1100" kern="1200"/>
            <a:t>Etkin park yönetimi, tıkanıklığı azaltabilir, aktif ulaşımı teşvik edebilir ve Ankara'da sürdürülebilir hareketliliği teşvik edebilir. Bu nedenle, ulaşım planlamacılarının genel ulaşım planlama süreçlerinin bir parçası olarak kapsamlı bir park arz ve talep analizi yapmaları çok önemlidir.</a:t>
          </a:r>
        </a:p>
      </dsp:txBody>
      <dsp:txXfrm>
        <a:off x="3571253" y="1742269"/>
        <a:ext cx="1518750" cy="2028955"/>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B139AF-CA4F-4C1D-B022-C4A0B36207A0}">
      <dsp:nvSpPr>
        <dsp:cNvPr id="0" name=""/>
        <dsp:cNvSpPr/>
      </dsp:nvSpPr>
      <dsp:spPr>
        <a:xfrm rot="5400000">
          <a:off x="3822098" y="-1156018"/>
          <a:ext cx="1648844" cy="4373195"/>
        </a:xfrm>
        <a:prstGeom prst="round2SameRect">
          <a:avLst/>
        </a:prstGeom>
        <a:solidFill>
          <a:schemeClr val="accent2">
            <a:tint val="40000"/>
            <a:alpha val="90000"/>
            <a:hueOff val="0"/>
            <a:satOff val="0"/>
            <a:lumOff val="0"/>
            <a:alphaOff val="0"/>
          </a:schemeClr>
        </a:solidFill>
        <a:ln w="6350" cap="flat" cmpd="sng" algn="ctr">
          <a:solidFill>
            <a:schemeClr val="accent2">
              <a:tint val="40000"/>
              <a:alpha val="90000"/>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34290" tIns="17145" rIns="34290" bIns="17145" numCol="1" spcCol="1270" anchor="ctr" anchorCtr="0">
          <a:noAutofit/>
        </a:bodyPr>
        <a:lstStyle/>
        <a:p>
          <a:pPr marL="57150" lvl="1" indent="-57150" algn="l" defTabSz="400050">
            <a:lnSpc>
              <a:spcPct val="90000"/>
            </a:lnSpc>
            <a:spcBef>
              <a:spcPct val="0"/>
            </a:spcBef>
            <a:spcAft>
              <a:spcPct val="15000"/>
            </a:spcAft>
            <a:buChar char="•"/>
          </a:pPr>
          <a:r>
            <a:rPr sz="900" kern="1200"/>
            <a:t>Arazi kullanımı: Farklı arazi kullanımlarının farklı otopark ihtiyaçları vardır. Örneğin, yerleşim alanları tipik olarak ticari alanlardan daha fazla park yeri gerektirir.</a:t>
          </a:r>
        </a:p>
        <a:p>
          <a:pPr marL="57150" lvl="1" indent="-57150" algn="l" defTabSz="400050">
            <a:lnSpc>
              <a:spcPct val="90000"/>
            </a:lnSpc>
            <a:spcBef>
              <a:spcPct val="0"/>
            </a:spcBef>
            <a:spcAft>
              <a:spcPct val="15000"/>
            </a:spcAft>
            <a:buChar char="•"/>
          </a:pPr>
          <a:r>
            <a:rPr sz="900" kern="1200"/>
            <a:t>Erişilebilirlik: Engelliler de dahil olmak üzere tüm kullanıcılar için park olanaklarının erişilebilirliğinin dikkate alınması.</a:t>
          </a:r>
        </a:p>
        <a:p>
          <a:pPr marL="57150" lvl="1" indent="-57150" algn="l" defTabSz="400050">
            <a:lnSpc>
              <a:spcPct val="90000"/>
            </a:lnSpc>
            <a:spcBef>
              <a:spcPct val="0"/>
            </a:spcBef>
            <a:spcAft>
              <a:spcPct val="15000"/>
            </a:spcAft>
            <a:buChar char="•"/>
          </a:pPr>
          <a:r>
            <a:rPr sz="900" kern="1200"/>
            <a:t>Transit kullanılabilirliği: Toplu taşıma kullanımını teşvik etmek için iyi toplu taşıma bağlantılarına sahip alanlarda daha az park yeri sağlanması.</a:t>
          </a:r>
        </a:p>
        <a:p>
          <a:pPr marL="57150" lvl="1" indent="-57150" algn="l" defTabSz="400050">
            <a:lnSpc>
              <a:spcPct val="90000"/>
            </a:lnSpc>
            <a:spcBef>
              <a:spcPct val="0"/>
            </a:spcBef>
            <a:spcAft>
              <a:spcPct val="15000"/>
            </a:spcAft>
            <a:buChar char="•"/>
          </a:pPr>
          <a:r>
            <a:rPr sz="900" kern="1200"/>
            <a:t>Teknoloji: Park rehberlik sistemleri gibi teknolojiler, park yerinin kullanımını optimize etmeye ve park yeri aramak için harcanan zamanı azaltmaya yardımcı olabilir.</a:t>
          </a:r>
        </a:p>
      </dsp:txBody>
      <dsp:txXfrm rot="-5400000">
        <a:off x="2459923" y="286647"/>
        <a:ext cx="4292705" cy="1487864"/>
      </dsp:txXfrm>
    </dsp:sp>
    <dsp:sp modelId="{E81BA328-5755-49D5-A013-9942F9DB4B41}">
      <dsp:nvSpPr>
        <dsp:cNvPr id="0" name=""/>
        <dsp:cNvSpPr/>
      </dsp:nvSpPr>
      <dsp:spPr>
        <a:xfrm>
          <a:off x="0" y="51"/>
          <a:ext cx="2459922" cy="2061055"/>
        </a:xfrm>
        <a:prstGeom prst="roundRect">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4290" tIns="17145" rIns="34290" bIns="17145" numCol="1" spcCol="1270" anchor="ctr" anchorCtr="0">
          <a:noAutofit/>
        </a:bodyPr>
        <a:lstStyle/>
        <a:p>
          <a:pPr marL="0" lvl="0" indent="0" algn="ctr" defTabSz="400050">
            <a:lnSpc>
              <a:spcPct val="90000"/>
            </a:lnSpc>
            <a:spcBef>
              <a:spcPct val="0"/>
            </a:spcBef>
            <a:spcAft>
              <a:spcPct val="35000"/>
            </a:spcAft>
            <a:buNone/>
          </a:pPr>
          <a:r>
            <a:rPr sz="900" kern="1200"/>
            <a:t>Park standartları ve kuralları, farklı arazi kullanımlarında park etmek için minimum gereksinimleri belirler ve park arzının talebe uygun olmasını sağlamaya yardımcı olur. Park standartları belirlenirken aşağıdaki faktörler göz önünde bulundurulur:</a:t>
          </a:r>
        </a:p>
      </dsp:txBody>
      <dsp:txXfrm>
        <a:off x="100612" y="100663"/>
        <a:ext cx="2258698" cy="1859831"/>
      </dsp:txXfrm>
    </dsp:sp>
    <dsp:sp modelId="{736EEBFA-0D0D-47A8-80A7-4332F69C90F2}">
      <dsp:nvSpPr>
        <dsp:cNvPr id="0" name=""/>
        <dsp:cNvSpPr/>
      </dsp:nvSpPr>
      <dsp:spPr>
        <a:xfrm>
          <a:off x="0" y="2164159"/>
          <a:ext cx="2459922" cy="2061055"/>
        </a:xfrm>
        <a:prstGeom prst="roundRect">
          <a:avLst/>
        </a:prstGeom>
        <a:gradFill rotWithShape="0">
          <a:gsLst>
            <a:gs pos="0">
              <a:schemeClr val="accent3">
                <a:hueOff val="0"/>
                <a:satOff val="0"/>
                <a:lumOff val="0"/>
                <a:alphaOff val="0"/>
                <a:lumMod val="110000"/>
                <a:satMod val="105000"/>
                <a:tint val="67000"/>
              </a:schemeClr>
            </a:gs>
            <a:gs pos="50000">
              <a:schemeClr val="accent3">
                <a:hueOff val="0"/>
                <a:satOff val="0"/>
                <a:lumOff val="0"/>
                <a:alphaOff val="0"/>
                <a:lumMod val="105000"/>
                <a:satMod val="103000"/>
                <a:tint val="73000"/>
              </a:schemeClr>
            </a:gs>
            <a:gs pos="100000">
              <a:schemeClr val="accent3">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4290" tIns="17145" rIns="34290" bIns="17145" numCol="1" spcCol="1270" anchor="ctr" anchorCtr="0">
          <a:noAutofit/>
        </a:bodyPr>
        <a:lstStyle/>
        <a:p>
          <a:pPr marL="0" lvl="0" indent="0" algn="ctr" defTabSz="400050">
            <a:lnSpc>
              <a:spcPct val="90000"/>
            </a:lnSpc>
            <a:spcBef>
              <a:spcPct val="0"/>
            </a:spcBef>
            <a:spcAft>
              <a:spcPct val="35000"/>
            </a:spcAft>
            <a:buNone/>
          </a:pPr>
          <a:r>
            <a:rPr sz="900" kern="1200"/>
            <a:t>Otopark arzının talebe uygun olmasını sağlamak ve Ankara sokaklarında park etmenin olumsuz etkilerini en aza indirmek için etkili park standartlarının ve kurallarının oluşturulması çok önemlidir. Bu, otopark fiyatlandırma politikalarının uygulanmasını, alternatif ulaşım yöntemlerinin kullanımını teşvik etmeyi ve yüksek talep gören alanlarda park tesislerinin geliştirilmesini teşvik etmeyi içerebilir. Şehir, otopark yönetimine kapsamlı bir yaklaşım benimseyerek sakinleri için daha verimli ve sürdürülebilir bir ulaşım sistemi oluşturabilir.</a:t>
          </a:r>
        </a:p>
      </dsp:txBody>
      <dsp:txXfrm>
        <a:off x="100612" y="2264771"/>
        <a:ext cx="2258698" cy="1859831"/>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34DACF-3E99-4A7A-861D-27528A2AC06D}">
      <dsp:nvSpPr>
        <dsp:cNvPr id="0" name=""/>
        <dsp:cNvSpPr/>
      </dsp:nvSpPr>
      <dsp:spPr>
        <a:xfrm>
          <a:off x="3259766" y="2022255"/>
          <a:ext cx="2559708" cy="406062"/>
        </a:xfrm>
        <a:custGeom>
          <a:avLst/>
          <a:gdLst/>
          <a:ahLst/>
          <a:cxnLst/>
          <a:rect l="0" t="0" r="0" b="0"/>
          <a:pathLst>
            <a:path>
              <a:moveTo>
                <a:pt x="0" y="0"/>
              </a:moveTo>
              <a:lnTo>
                <a:pt x="0" y="276720"/>
              </a:lnTo>
              <a:lnTo>
                <a:pt x="2559708" y="276720"/>
              </a:lnTo>
              <a:lnTo>
                <a:pt x="2559708" y="406062"/>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913A4C73-AEF4-40C0-BDDA-C6BA2AC4714E}">
      <dsp:nvSpPr>
        <dsp:cNvPr id="0" name=""/>
        <dsp:cNvSpPr/>
      </dsp:nvSpPr>
      <dsp:spPr>
        <a:xfrm>
          <a:off x="3259766" y="2022255"/>
          <a:ext cx="853236" cy="406062"/>
        </a:xfrm>
        <a:custGeom>
          <a:avLst/>
          <a:gdLst/>
          <a:ahLst/>
          <a:cxnLst/>
          <a:rect l="0" t="0" r="0" b="0"/>
          <a:pathLst>
            <a:path>
              <a:moveTo>
                <a:pt x="0" y="0"/>
              </a:moveTo>
              <a:lnTo>
                <a:pt x="0" y="276720"/>
              </a:lnTo>
              <a:lnTo>
                <a:pt x="853236" y="276720"/>
              </a:lnTo>
              <a:lnTo>
                <a:pt x="853236" y="406062"/>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D2AB2F0-F43F-4CE2-A635-9C0C0BB609E4}">
      <dsp:nvSpPr>
        <dsp:cNvPr id="0" name=""/>
        <dsp:cNvSpPr/>
      </dsp:nvSpPr>
      <dsp:spPr>
        <a:xfrm>
          <a:off x="2406530" y="2022255"/>
          <a:ext cx="853236" cy="406062"/>
        </a:xfrm>
        <a:custGeom>
          <a:avLst/>
          <a:gdLst/>
          <a:ahLst/>
          <a:cxnLst/>
          <a:rect l="0" t="0" r="0" b="0"/>
          <a:pathLst>
            <a:path>
              <a:moveTo>
                <a:pt x="853236" y="0"/>
              </a:moveTo>
              <a:lnTo>
                <a:pt x="853236" y="276720"/>
              </a:lnTo>
              <a:lnTo>
                <a:pt x="0" y="276720"/>
              </a:lnTo>
              <a:lnTo>
                <a:pt x="0" y="406062"/>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E7E34CA-D0FA-4ED1-AD7C-EF95FA034EBF}">
      <dsp:nvSpPr>
        <dsp:cNvPr id="0" name=""/>
        <dsp:cNvSpPr/>
      </dsp:nvSpPr>
      <dsp:spPr>
        <a:xfrm>
          <a:off x="700057" y="2022255"/>
          <a:ext cx="2559708" cy="406062"/>
        </a:xfrm>
        <a:custGeom>
          <a:avLst/>
          <a:gdLst/>
          <a:ahLst/>
          <a:cxnLst/>
          <a:rect l="0" t="0" r="0" b="0"/>
          <a:pathLst>
            <a:path>
              <a:moveTo>
                <a:pt x="2559708" y="0"/>
              </a:moveTo>
              <a:lnTo>
                <a:pt x="2559708" y="276720"/>
              </a:lnTo>
              <a:lnTo>
                <a:pt x="0" y="276720"/>
              </a:lnTo>
              <a:lnTo>
                <a:pt x="0" y="406062"/>
              </a:lnTo>
            </a:path>
          </a:pathLst>
        </a:custGeom>
        <a:noFill/>
        <a:ln w="12700" cap="flat" cmpd="sng" algn="ctr">
          <a:solidFill>
            <a:schemeClr val="accent4">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24B1DA0-579E-40E1-A4FF-9072181E76C2}">
      <dsp:nvSpPr>
        <dsp:cNvPr id="0" name=""/>
        <dsp:cNvSpPr/>
      </dsp:nvSpPr>
      <dsp:spPr>
        <a:xfrm>
          <a:off x="2561664" y="1135665"/>
          <a:ext cx="1396204" cy="886590"/>
        </a:xfrm>
        <a:prstGeom prst="roundRect">
          <a:avLst>
            <a:gd name="adj" fmla="val 10000"/>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269C531C-89DF-46CB-A229-3485B59F5E3D}">
      <dsp:nvSpPr>
        <dsp:cNvPr id="0" name=""/>
        <dsp:cNvSpPr/>
      </dsp:nvSpPr>
      <dsp:spPr>
        <a:xfrm>
          <a:off x="2716798" y="1283043"/>
          <a:ext cx="1396204" cy="886590"/>
        </a:xfrm>
        <a:prstGeom prst="roundRect">
          <a:avLst>
            <a:gd name="adj" fmla="val 10000"/>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22860" tIns="22860" rIns="22860" bIns="22860" numCol="1" spcCol="1270" anchor="ctr" anchorCtr="0">
          <a:noAutofit/>
        </a:bodyPr>
        <a:lstStyle/>
        <a:p>
          <a:pPr marL="0" lvl="0" indent="0" algn="ctr" defTabSz="266700">
            <a:lnSpc>
              <a:spcPct val="90000"/>
            </a:lnSpc>
            <a:spcBef>
              <a:spcPct val="0"/>
            </a:spcBef>
            <a:spcAft>
              <a:spcPct val="35000"/>
            </a:spcAft>
            <a:buNone/>
          </a:pPr>
          <a:r>
            <a:rPr sz="600" kern="1200"/>
            <a:t>Park alanı kullanımını optimize etmek için sensörler ve diğer teknolojileri kullanan akıllı park sistemleri, trafik sıkışıklığını azaltmaya ve Ankara'daki genel park deneyimini iyileştirmeye yardımcı olabilir. İşte akıllı park sistemlerinin bazı önemli avantajları:</a:t>
          </a:r>
        </a:p>
      </dsp:txBody>
      <dsp:txXfrm>
        <a:off x="2742765" y="1309010"/>
        <a:ext cx="1344270" cy="834656"/>
      </dsp:txXfrm>
    </dsp:sp>
    <dsp:sp modelId="{6C825AB4-1BFA-40B1-A7E4-5927035E09B1}">
      <dsp:nvSpPr>
        <dsp:cNvPr id="0" name=""/>
        <dsp:cNvSpPr/>
      </dsp:nvSpPr>
      <dsp:spPr>
        <a:xfrm>
          <a:off x="1955" y="2428318"/>
          <a:ext cx="1396204" cy="886590"/>
        </a:xfrm>
        <a:prstGeom prst="roundRect">
          <a:avLst>
            <a:gd name="adj" fmla="val 10000"/>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8CFEF260-1484-47DA-991B-7FA3DD7BF575}">
      <dsp:nvSpPr>
        <dsp:cNvPr id="0" name=""/>
        <dsp:cNvSpPr/>
      </dsp:nvSpPr>
      <dsp:spPr>
        <a:xfrm>
          <a:off x="157089" y="2575696"/>
          <a:ext cx="1396204" cy="886590"/>
        </a:xfrm>
        <a:prstGeom prst="roundRect">
          <a:avLst>
            <a:gd name="adj" fmla="val 10000"/>
          </a:avLst>
        </a:prstGeom>
        <a:solidFill>
          <a:schemeClr val="lt1">
            <a:alpha val="90000"/>
            <a:hueOff val="0"/>
            <a:satOff val="0"/>
            <a:lumOff val="0"/>
            <a:alphaOff val="0"/>
          </a:schemeClr>
        </a:solidFill>
        <a:ln w="6350" cap="flat" cmpd="sng" algn="ctr">
          <a:solidFill>
            <a:schemeClr val="accent4">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22860" tIns="22860" rIns="22860" bIns="22860" numCol="1" spcCol="1270" anchor="ctr" anchorCtr="0">
          <a:noAutofit/>
        </a:bodyPr>
        <a:lstStyle/>
        <a:p>
          <a:pPr marL="0" lvl="0" indent="0" algn="ctr" defTabSz="266700">
            <a:lnSpc>
              <a:spcPct val="90000"/>
            </a:lnSpc>
            <a:spcBef>
              <a:spcPct val="0"/>
            </a:spcBef>
            <a:spcAft>
              <a:spcPct val="35000"/>
            </a:spcAft>
            <a:buNone/>
          </a:pPr>
          <a:r>
            <a:rPr sz="600" kern="1200"/>
            <a:t>Trafik akışını iyileştirebilen ve emisyonları azaltabilen park alanlarını aramak için harcanan zamanın azaltılması</a:t>
          </a:r>
        </a:p>
      </dsp:txBody>
      <dsp:txXfrm>
        <a:off x="183056" y="2601663"/>
        <a:ext cx="1344270" cy="834656"/>
      </dsp:txXfrm>
    </dsp:sp>
    <dsp:sp modelId="{6F05D0DA-B546-4C52-8E9B-E271AD6BD074}">
      <dsp:nvSpPr>
        <dsp:cNvPr id="0" name=""/>
        <dsp:cNvSpPr/>
      </dsp:nvSpPr>
      <dsp:spPr>
        <a:xfrm>
          <a:off x="1708427" y="2428318"/>
          <a:ext cx="1396204" cy="886590"/>
        </a:xfrm>
        <a:prstGeom prst="roundRect">
          <a:avLst>
            <a:gd name="adj" fmla="val 10000"/>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32AEED57-91D2-4FAD-ACC1-06C45C0AA460}">
      <dsp:nvSpPr>
        <dsp:cNvPr id="0" name=""/>
        <dsp:cNvSpPr/>
      </dsp:nvSpPr>
      <dsp:spPr>
        <a:xfrm>
          <a:off x="1863561" y="2575696"/>
          <a:ext cx="1396204" cy="886590"/>
        </a:xfrm>
        <a:prstGeom prst="roundRect">
          <a:avLst>
            <a:gd name="adj" fmla="val 10000"/>
          </a:avLst>
        </a:prstGeom>
        <a:solidFill>
          <a:schemeClr val="lt1">
            <a:alpha val="90000"/>
            <a:hueOff val="0"/>
            <a:satOff val="0"/>
            <a:lumOff val="0"/>
            <a:alphaOff val="0"/>
          </a:schemeClr>
        </a:solidFill>
        <a:ln w="6350" cap="flat" cmpd="sng" algn="ctr">
          <a:solidFill>
            <a:schemeClr val="accent4">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22860" tIns="22860" rIns="22860" bIns="22860" numCol="1" spcCol="1270" anchor="ctr" anchorCtr="0">
          <a:noAutofit/>
        </a:bodyPr>
        <a:lstStyle/>
        <a:p>
          <a:pPr marL="0" lvl="0" indent="0" algn="ctr" defTabSz="266700">
            <a:lnSpc>
              <a:spcPct val="90000"/>
            </a:lnSpc>
            <a:spcBef>
              <a:spcPct val="0"/>
            </a:spcBef>
            <a:spcAft>
              <a:spcPct val="35000"/>
            </a:spcAft>
            <a:buNone/>
          </a:pPr>
          <a:r>
            <a:rPr sz="600" kern="1200"/>
            <a:t>Park alanlarının daha iyi kullanılması, yeni park altyapısına olan ihtiyacı azaltabilir</a:t>
          </a:r>
        </a:p>
      </dsp:txBody>
      <dsp:txXfrm>
        <a:off x="1889528" y="2601663"/>
        <a:ext cx="1344270" cy="834656"/>
      </dsp:txXfrm>
    </dsp:sp>
    <dsp:sp modelId="{2BDA2752-1646-4029-9D48-08560D9A678B}">
      <dsp:nvSpPr>
        <dsp:cNvPr id="0" name=""/>
        <dsp:cNvSpPr/>
      </dsp:nvSpPr>
      <dsp:spPr>
        <a:xfrm>
          <a:off x="3414900" y="2428318"/>
          <a:ext cx="1396204" cy="886590"/>
        </a:xfrm>
        <a:prstGeom prst="roundRect">
          <a:avLst>
            <a:gd name="adj" fmla="val 10000"/>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59341B47-E25B-44CC-A360-8BD1C4473F80}">
      <dsp:nvSpPr>
        <dsp:cNvPr id="0" name=""/>
        <dsp:cNvSpPr/>
      </dsp:nvSpPr>
      <dsp:spPr>
        <a:xfrm>
          <a:off x="3570034" y="2575696"/>
          <a:ext cx="1396204" cy="886590"/>
        </a:xfrm>
        <a:prstGeom prst="roundRect">
          <a:avLst>
            <a:gd name="adj" fmla="val 10000"/>
          </a:avLst>
        </a:prstGeom>
        <a:solidFill>
          <a:schemeClr val="lt1">
            <a:alpha val="90000"/>
            <a:hueOff val="0"/>
            <a:satOff val="0"/>
            <a:lumOff val="0"/>
            <a:alphaOff val="0"/>
          </a:schemeClr>
        </a:solidFill>
        <a:ln w="6350" cap="flat" cmpd="sng" algn="ctr">
          <a:solidFill>
            <a:schemeClr val="accent4">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22860" tIns="22860" rIns="22860" bIns="22860" numCol="1" spcCol="1270" anchor="ctr" anchorCtr="0">
          <a:noAutofit/>
        </a:bodyPr>
        <a:lstStyle/>
        <a:p>
          <a:pPr marL="0" lvl="0" indent="0" algn="ctr" defTabSz="266700">
            <a:lnSpc>
              <a:spcPct val="90000"/>
            </a:lnSpc>
            <a:spcBef>
              <a:spcPct val="0"/>
            </a:spcBef>
            <a:spcAft>
              <a:spcPct val="35000"/>
            </a:spcAft>
            <a:buNone/>
          </a:pPr>
          <a:r>
            <a:rPr sz="600" kern="1200"/>
            <a:t>Sürücülerin yolculuklarını daha verimli bir şekilde planlamalarına yardımcı olabilecek gerçek zamanlı park yeri kullanılabilirliği verileri</a:t>
          </a:r>
        </a:p>
      </dsp:txBody>
      <dsp:txXfrm>
        <a:off x="3596001" y="2601663"/>
        <a:ext cx="1344270" cy="834656"/>
      </dsp:txXfrm>
    </dsp:sp>
    <dsp:sp modelId="{8E8B25A1-D4DF-451C-9B52-C746FD0259DD}">
      <dsp:nvSpPr>
        <dsp:cNvPr id="0" name=""/>
        <dsp:cNvSpPr/>
      </dsp:nvSpPr>
      <dsp:spPr>
        <a:xfrm>
          <a:off x="5121372" y="2428318"/>
          <a:ext cx="1396204" cy="886590"/>
        </a:xfrm>
        <a:prstGeom prst="roundRect">
          <a:avLst>
            <a:gd name="adj" fmla="val 10000"/>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rgbClr r="0" g="0" b="0"/>
        </a:lnRef>
        <a:fillRef idx="3">
          <a:scrgbClr r="0" g="0" b="0"/>
        </a:fillRef>
        <a:effectRef idx="3">
          <a:scrgbClr r="0" g="0" b="0"/>
        </a:effectRef>
        <a:fontRef idx="minor">
          <a:schemeClr val="lt1"/>
        </a:fontRef>
      </dsp:style>
    </dsp:sp>
    <dsp:sp modelId="{111FF97F-B37C-4B70-BE37-A0234D3AE317}">
      <dsp:nvSpPr>
        <dsp:cNvPr id="0" name=""/>
        <dsp:cNvSpPr/>
      </dsp:nvSpPr>
      <dsp:spPr>
        <a:xfrm>
          <a:off x="5276506" y="2575696"/>
          <a:ext cx="1396204" cy="886590"/>
        </a:xfrm>
        <a:prstGeom prst="roundRect">
          <a:avLst>
            <a:gd name="adj" fmla="val 10000"/>
          </a:avLst>
        </a:prstGeom>
        <a:solidFill>
          <a:schemeClr val="lt1">
            <a:alpha val="90000"/>
            <a:hueOff val="0"/>
            <a:satOff val="0"/>
            <a:lumOff val="0"/>
            <a:alphaOff val="0"/>
          </a:schemeClr>
        </a:solidFill>
        <a:ln w="6350" cap="flat" cmpd="sng" algn="ctr">
          <a:solidFill>
            <a:schemeClr val="accent4">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22860" tIns="22860" rIns="22860" bIns="22860" numCol="1" spcCol="1270" anchor="ctr" anchorCtr="0">
          <a:noAutofit/>
        </a:bodyPr>
        <a:lstStyle/>
        <a:p>
          <a:pPr marL="0" lvl="0" indent="0" algn="ctr" defTabSz="266700">
            <a:lnSpc>
              <a:spcPct val="90000"/>
            </a:lnSpc>
            <a:spcBef>
              <a:spcPct val="0"/>
            </a:spcBef>
            <a:spcAft>
              <a:spcPct val="35000"/>
            </a:spcAft>
            <a:buNone/>
          </a:pPr>
          <a:r>
            <a:rPr sz="600" kern="1200"/>
            <a:t>Akıllı park sistemleri park ihlallerini otomatik olarak algılayabildiğinden ve para cezaları verebildiğinden, park ihlalleri ve uygulama maliyetlerinin azaltılması</a:t>
          </a:r>
        </a:p>
      </dsp:txBody>
      <dsp:txXfrm>
        <a:off x="5302473" y="2601663"/>
        <a:ext cx="1344270" cy="834656"/>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94573C-CE0C-48CB-A9C2-BC99A5D5F5C7}">
      <dsp:nvSpPr>
        <dsp:cNvPr id="0" name=""/>
        <dsp:cNvSpPr/>
      </dsp:nvSpPr>
      <dsp:spPr>
        <a:xfrm rot="20685884">
          <a:off x="294239" y="0"/>
          <a:ext cx="2135957" cy="2724436"/>
        </a:xfrm>
        <a:prstGeom prst="roundRect">
          <a:avLst/>
        </a:prstGeom>
        <a:blipFill>
          <a:blip xmlns:r="http://schemas.openxmlformats.org/officeDocument/2006/relationships" r:embed="rId1"/>
          <a:srcRect/>
          <a:stretch>
            <a:fillRect l="-14000" r="-14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5F50DAD3-01E6-4F19-AE02-8F6829F3A5EB}">
      <dsp:nvSpPr>
        <dsp:cNvPr id="0" name=""/>
        <dsp:cNvSpPr/>
      </dsp:nvSpPr>
      <dsp:spPr>
        <a:xfrm>
          <a:off x="1" y="1089774"/>
          <a:ext cx="1644687" cy="1634661"/>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165100" tIns="165100" rIns="165100" bIns="165100" numCol="1" spcCol="1270" anchor="b" anchorCtr="0">
          <a:noAutofit/>
        </a:bodyPr>
        <a:lstStyle/>
        <a:p>
          <a:pPr marL="0" lvl="0" indent="0" algn="l" defTabSz="2889250">
            <a:lnSpc>
              <a:spcPct val="90000"/>
            </a:lnSpc>
            <a:spcBef>
              <a:spcPct val="0"/>
            </a:spcBef>
            <a:spcAft>
              <a:spcPct val="35000"/>
            </a:spcAft>
            <a:buNone/>
          </a:pPr>
          <a:r>
            <a:rPr sz="6500" kern="1200" dirty="0"/>
            <a:t>.</a:t>
          </a:r>
          <a:endParaRPr lang="en-US" sz="6500" kern="1200" dirty="0"/>
        </a:p>
      </dsp:txBody>
      <dsp:txXfrm>
        <a:off x="1" y="1089774"/>
        <a:ext cx="1644687" cy="163466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023063-89B5-4D2F-99A5-12B87D236C18}">
      <dsp:nvSpPr>
        <dsp:cNvPr id="0" name=""/>
        <dsp:cNvSpPr/>
      </dsp:nvSpPr>
      <dsp:spPr>
        <a:xfrm>
          <a:off x="509063" y="558"/>
          <a:ext cx="3340207" cy="3036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l" defTabSz="533400">
            <a:lnSpc>
              <a:spcPct val="90000"/>
            </a:lnSpc>
            <a:spcBef>
              <a:spcPct val="0"/>
            </a:spcBef>
            <a:spcAft>
              <a:spcPct val="35000"/>
            </a:spcAft>
            <a:buNone/>
            <a:defRPr sz="1100"/>
          </a:pPr>
          <a:r>
            <a:rPr sz="1200" kern="1200" dirty="0" err="1"/>
            <a:t>Sorun</a:t>
          </a:r>
          <a:r>
            <a:rPr sz="1200" kern="1200" dirty="0"/>
            <a:t> 1: </a:t>
          </a:r>
          <a:r>
            <a:rPr sz="1200" kern="1200" dirty="0" err="1"/>
            <a:t>Trafik</a:t>
          </a:r>
          <a:r>
            <a:rPr sz="1200" kern="1200" dirty="0"/>
            <a:t> </a:t>
          </a:r>
          <a:r>
            <a:rPr sz="1200" kern="1200" dirty="0" err="1"/>
            <a:t>Sıkışıklığı</a:t>
          </a:r>
          <a:r>
            <a:rPr sz="1200" kern="1200" dirty="0"/>
            <a:t> </a:t>
          </a:r>
          <a:r>
            <a:rPr sz="1200" kern="1200" dirty="0" err="1"/>
            <a:t>ve</a:t>
          </a:r>
          <a:r>
            <a:rPr sz="1200" kern="1200" dirty="0"/>
            <a:t> </a:t>
          </a:r>
          <a:r>
            <a:rPr sz="1200" kern="1200" dirty="0" err="1"/>
            <a:t>Trafik</a:t>
          </a:r>
          <a:r>
            <a:rPr sz="1200" kern="1200" dirty="0"/>
            <a:t> </a:t>
          </a:r>
          <a:r>
            <a:rPr sz="1200" kern="1200" dirty="0" err="1"/>
            <a:t>Darboğazları</a:t>
          </a:r>
          <a:endParaRPr sz="1200" kern="1200" dirty="0"/>
        </a:p>
      </dsp:txBody>
      <dsp:txXfrm>
        <a:off x="509063" y="558"/>
        <a:ext cx="3340207" cy="303655"/>
      </dsp:txXfrm>
    </dsp:sp>
    <dsp:sp modelId="{F4902223-41C0-4291-8BB5-E81EB2FEC95C}">
      <dsp:nvSpPr>
        <dsp:cNvPr id="0" name=""/>
        <dsp:cNvSpPr/>
      </dsp:nvSpPr>
      <dsp:spPr>
        <a:xfrm>
          <a:off x="509063" y="304214"/>
          <a:ext cx="781608" cy="61855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C566A8E-B103-4925-9B70-70C453AAE42C}">
      <dsp:nvSpPr>
        <dsp:cNvPr id="0" name=""/>
        <dsp:cNvSpPr/>
      </dsp:nvSpPr>
      <dsp:spPr>
        <a:xfrm>
          <a:off x="978548" y="304214"/>
          <a:ext cx="781608" cy="61855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A795FA7-82A2-44F9-95EB-7FB5C4D9EBFF}">
      <dsp:nvSpPr>
        <dsp:cNvPr id="0" name=""/>
        <dsp:cNvSpPr/>
      </dsp:nvSpPr>
      <dsp:spPr>
        <a:xfrm>
          <a:off x="1448403" y="304214"/>
          <a:ext cx="781608" cy="61855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8FB486C-29CA-4C68-B171-56C1F277810A}">
      <dsp:nvSpPr>
        <dsp:cNvPr id="0" name=""/>
        <dsp:cNvSpPr/>
      </dsp:nvSpPr>
      <dsp:spPr>
        <a:xfrm>
          <a:off x="1917888" y="304214"/>
          <a:ext cx="781608" cy="61855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68A89EC-3132-403C-9EF2-16D53590E70B}">
      <dsp:nvSpPr>
        <dsp:cNvPr id="0" name=""/>
        <dsp:cNvSpPr/>
      </dsp:nvSpPr>
      <dsp:spPr>
        <a:xfrm>
          <a:off x="2387744" y="304214"/>
          <a:ext cx="781608" cy="61855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A321DCE-E785-4A19-B5AF-E516FED82E84}">
      <dsp:nvSpPr>
        <dsp:cNvPr id="0" name=""/>
        <dsp:cNvSpPr/>
      </dsp:nvSpPr>
      <dsp:spPr>
        <a:xfrm>
          <a:off x="2857229" y="304214"/>
          <a:ext cx="781608" cy="61855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D189AD8-F08D-44BC-ADBD-92D1EE93308C}">
      <dsp:nvSpPr>
        <dsp:cNvPr id="0" name=""/>
        <dsp:cNvSpPr/>
      </dsp:nvSpPr>
      <dsp:spPr>
        <a:xfrm>
          <a:off x="3327085" y="304214"/>
          <a:ext cx="781608" cy="618556"/>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84D7B0E-9FB7-470F-BC55-46C6F338481E}">
      <dsp:nvSpPr>
        <dsp:cNvPr id="0" name=""/>
        <dsp:cNvSpPr/>
      </dsp:nvSpPr>
      <dsp:spPr>
        <a:xfrm>
          <a:off x="509063" y="366069"/>
          <a:ext cx="3383630" cy="494845"/>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just" defTabSz="444500">
            <a:lnSpc>
              <a:spcPct val="90000"/>
            </a:lnSpc>
            <a:spcBef>
              <a:spcPct val="0"/>
            </a:spcBef>
            <a:spcAft>
              <a:spcPct val="35000"/>
            </a:spcAft>
            <a:buNone/>
            <a:defRPr sz="1000" kern="1200">
              <a:solidFill>
                <a:prstClr val="black">
                  <a:hueOff val="0"/>
                  <a:satOff val="0"/>
                  <a:lumOff val="0"/>
                  <a:alphaOff val="0"/>
                </a:prstClr>
              </a:solidFill>
              <a:latin typeface="Calibri" panose="020F0502020204030204"/>
              <a:ea typeface="+mn-ea"/>
              <a:cs typeface="+mn-cs"/>
            </a:defRPr>
          </a:pPr>
          <a:r>
            <a:rPr lang="tr-TR" sz="1000" kern="1200" noProof="0" dirty="0"/>
            <a:t>Çözüm: Sinyal optimizasyonu, akıllı ulaşım sistemleri ve stratejik yol kapasitesi iyileştirmeleri gibi trafik yönetimi tedbirlerini uygulayın. </a:t>
          </a:r>
        </a:p>
      </dsp:txBody>
      <dsp:txXfrm>
        <a:off x="509063" y="366069"/>
        <a:ext cx="3383630" cy="494845"/>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7B7FF0-B458-4B4E-A9B9-AAEFCD4AEE37}">
      <dsp:nvSpPr>
        <dsp:cNvPr id="0" name=""/>
        <dsp:cNvSpPr/>
      </dsp:nvSpPr>
      <dsp:spPr>
        <a:xfrm>
          <a:off x="773" y="749360"/>
          <a:ext cx="2102264" cy="2102264"/>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r>
            <a:rPr sz="1000" kern="1200"/>
            <a:t>Daha sağlıklı ve yaşanabilir bir şehir için aktif ulaşımı ve sürdürülebilir hareketliliği teşvik etmek gerekir. Bu hedefe ulaşmak için ulaşım plancıları bisiklet kullanıcıları için park yeri tasarlarken aşağıdaki hususları dikkate almalıdır:</a:t>
          </a:r>
        </a:p>
      </dsp:txBody>
      <dsp:txXfrm>
        <a:off x="308642" y="1057229"/>
        <a:ext cx="1486526" cy="1486526"/>
      </dsp:txXfrm>
    </dsp:sp>
    <dsp:sp modelId="{D4D9F61C-A128-44D7-8035-0D349C0C4A02}">
      <dsp:nvSpPr>
        <dsp:cNvPr id="0" name=""/>
        <dsp:cNvSpPr/>
      </dsp:nvSpPr>
      <dsp:spPr>
        <a:xfrm rot="17444262">
          <a:off x="1704721" y="968461"/>
          <a:ext cx="1426681" cy="0"/>
        </a:xfrm>
        <a:custGeom>
          <a:avLst/>
          <a:gdLst/>
          <a:ahLst/>
          <a:cxnLst/>
          <a:rect l="0" t="0" r="0" b="0"/>
          <a:pathLst>
            <a:path>
              <a:moveTo>
                <a:pt x="0" y="0"/>
              </a:moveTo>
              <a:lnTo>
                <a:pt x="1426681" y="0"/>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7D2A1677-087B-40D9-96A5-F741A366EA9E}">
      <dsp:nvSpPr>
        <dsp:cNvPr id="0" name=""/>
        <dsp:cNvSpPr/>
      </dsp:nvSpPr>
      <dsp:spPr>
        <a:xfrm>
          <a:off x="2670649" y="301336"/>
          <a:ext cx="245725"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D059D52-12E2-44C1-875E-68AE796BD49A}">
      <dsp:nvSpPr>
        <dsp:cNvPr id="0" name=""/>
        <dsp:cNvSpPr/>
      </dsp:nvSpPr>
      <dsp:spPr>
        <a:xfrm>
          <a:off x="2916374" y="1505"/>
          <a:ext cx="1742415" cy="59966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sz="700" kern="1200"/>
            <a:t>Kargo bisikletleri ve ulaşım amaçlı kullanılan diğer büyük bisikletler için belirlenmiş park yeri sağlanması</a:t>
          </a:r>
        </a:p>
      </dsp:txBody>
      <dsp:txXfrm>
        <a:off x="2916374" y="1505"/>
        <a:ext cx="1742415" cy="599662"/>
      </dsp:txXfrm>
    </dsp:sp>
    <dsp:sp modelId="{3B4B40F6-7496-4B11-9CD1-3609F0B4B644}">
      <dsp:nvSpPr>
        <dsp:cNvPr id="0" name=""/>
        <dsp:cNvSpPr/>
      </dsp:nvSpPr>
      <dsp:spPr>
        <a:xfrm rot="18135200">
          <a:off x="1944754" y="1301274"/>
          <a:ext cx="946615" cy="0"/>
        </a:xfrm>
        <a:custGeom>
          <a:avLst/>
          <a:gdLst/>
          <a:ahLst/>
          <a:cxnLst/>
          <a:rect l="0" t="0" r="0" b="0"/>
          <a:pathLst>
            <a:path>
              <a:moveTo>
                <a:pt x="0" y="0"/>
              </a:moveTo>
              <a:lnTo>
                <a:pt x="946615" y="0"/>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C99F1393-44DD-43FE-82DD-056884E56C8E}">
      <dsp:nvSpPr>
        <dsp:cNvPr id="0" name=""/>
        <dsp:cNvSpPr/>
      </dsp:nvSpPr>
      <dsp:spPr>
        <a:xfrm>
          <a:off x="2670649" y="900999"/>
          <a:ext cx="245725"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DBA5B8E-1CD8-479C-A6A8-D3D650780AC8}">
      <dsp:nvSpPr>
        <dsp:cNvPr id="0" name=""/>
        <dsp:cNvSpPr/>
      </dsp:nvSpPr>
      <dsp:spPr>
        <a:xfrm>
          <a:off x="2916374" y="601168"/>
          <a:ext cx="1742415" cy="59966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sz="700" kern="1200"/>
            <a:t>Bisikletlerin çalınmasını ve bisikletlere zarar verilmesini önlemek amacıyla güvenlik kameralarının yerleştirilmesi ve bisikletli polislerin devriye gezmesi gibi önlemlerin alınması</a:t>
          </a:r>
        </a:p>
      </dsp:txBody>
      <dsp:txXfrm>
        <a:off x="2916374" y="601168"/>
        <a:ext cx="1742415" cy="599662"/>
      </dsp:txXfrm>
    </dsp:sp>
    <dsp:sp modelId="{E0B0532C-FD23-48FE-8D2A-832486F052FD}">
      <dsp:nvSpPr>
        <dsp:cNvPr id="0" name=""/>
        <dsp:cNvSpPr/>
      </dsp:nvSpPr>
      <dsp:spPr>
        <a:xfrm rot="19929330">
          <a:off x="2132401" y="1634086"/>
          <a:ext cx="571322" cy="0"/>
        </a:xfrm>
        <a:custGeom>
          <a:avLst/>
          <a:gdLst/>
          <a:ahLst/>
          <a:cxnLst/>
          <a:rect l="0" t="0" r="0" b="0"/>
          <a:pathLst>
            <a:path>
              <a:moveTo>
                <a:pt x="0" y="0"/>
              </a:moveTo>
              <a:lnTo>
                <a:pt x="571322" y="0"/>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8E506FF1-D909-48C6-9DC1-3964606945A8}">
      <dsp:nvSpPr>
        <dsp:cNvPr id="0" name=""/>
        <dsp:cNvSpPr/>
      </dsp:nvSpPr>
      <dsp:spPr>
        <a:xfrm>
          <a:off x="2670649" y="1500661"/>
          <a:ext cx="245725"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A7A2408-0465-4EC9-B171-BE1191B2FC8F}">
      <dsp:nvSpPr>
        <dsp:cNvPr id="0" name=""/>
        <dsp:cNvSpPr/>
      </dsp:nvSpPr>
      <dsp:spPr>
        <a:xfrm>
          <a:off x="2916374" y="1200830"/>
          <a:ext cx="1742415" cy="59966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sz="700" kern="1200"/>
            <a:t>Çalışanlarına bisiklet park yeri ve duş gibi olanakları sunmaları için işverenlere vergi indirimi sağlanması veya bu hizmetlerin sübvanse edilmesi</a:t>
          </a:r>
        </a:p>
      </dsp:txBody>
      <dsp:txXfrm>
        <a:off x="2916374" y="1200830"/>
        <a:ext cx="1742415" cy="599662"/>
      </dsp:txXfrm>
    </dsp:sp>
    <dsp:sp modelId="{2B270A78-B19F-458D-BFF5-1DB5761F9DB2}">
      <dsp:nvSpPr>
        <dsp:cNvPr id="0" name=""/>
        <dsp:cNvSpPr/>
      </dsp:nvSpPr>
      <dsp:spPr>
        <a:xfrm rot="1670670">
          <a:off x="2132401" y="1966899"/>
          <a:ext cx="571322" cy="0"/>
        </a:xfrm>
        <a:custGeom>
          <a:avLst/>
          <a:gdLst/>
          <a:ahLst/>
          <a:cxnLst/>
          <a:rect l="0" t="0" r="0" b="0"/>
          <a:pathLst>
            <a:path>
              <a:moveTo>
                <a:pt x="0" y="0"/>
              </a:moveTo>
              <a:lnTo>
                <a:pt x="571322" y="0"/>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6275D585-CDA0-4C32-8E50-43DF330F4BA1}">
      <dsp:nvSpPr>
        <dsp:cNvPr id="0" name=""/>
        <dsp:cNvSpPr/>
      </dsp:nvSpPr>
      <dsp:spPr>
        <a:xfrm>
          <a:off x="2670649" y="2100324"/>
          <a:ext cx="245725"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F720AB34-BA7B-44B9-956E-E2B0904EDE15}">
      <dsp:nvSpPr>
        <dsp:cNvPr id="0" name=""/>
        <dsp:cNvSpPr/>
      </dsp:nvSpPr>
      <dsp:spPr>
        <a:xfrm>
          <a:off x="2916374" y="1800493"/>
          <a:ext cx="1742415" cy="59966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sz="700" kern="1200"/>
            <a:t>Yaya alanlarının ve bisiklet saklama alanlarının göze hoş görünecek şekilde yeşil alanlar ve çeşitli sanatlar kullanılarak tasarlanması</a:t>
          </a:r>
        </a:p>
      </dsp:txBody>
      <dsp:txXfrm>
        <a:off x="2916374" y="1800493"/>
        <a:ext cx="1742415" cy="599662"/>
      </dsp:txXfrm>
    </dsp:sp>
    <dsp:sp modelId="{6F326C4D-0916-497E-A99E-8D0AEDF10335}">
      <dsp:nvSpPr>
        <dsp:cNvPr id="0" name=""/>
        <dsp:cNvSpPr/>
      </dsp:nvSpPr>
      <dsp:spPr>
        <a:xfrm rot="3464800">
          <a:off x="1944754" y="2299711"/>
          <a:ext cx="946615" cy="0"/>
        </a:xfrm>
        <a:custGeom>
          <a:avLst/>
          <a:gdLst/>
          <a:ahLst/>
          <a:cxnLst/>
          <a:rect l="0" t="0" r="0" b="0"/>
          <a:pathLst>
            <a:path>
              <a:moveTo>
                <a:pt x="0" y="0"/>
              </a:moveTo>
              <a:lnTo>
                <a:pt x="946615" y="0"/>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465A4EC7-57F6-4CE3-9339-69F30602FC22}">
      <dsp:nvSpPr>
        <dsp:cNvPr id="0" name=""/>
        <dsp:cNvSpPr/>
      </dsp:nvSpPr>
      <dsp:spPr>
        <a:xfrm>
          <a:off x="2670649" y="2699986"/>
          <a:ext cx="245725"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3D28D167-763A-45A0-8D41-73F9E029D75D}">
      <dsp:nvSpPr>
        <dsp:cNvPr id="0" name=""/>
        <dsp:cNvSpPr/>
      </dsp:nvSpPr>
      <dsp:spPr>
        <a:xfrm>
          <a:off x="2916374" y="2400155"/>
          <a:ext cx="1742415" cy="59966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sz="700" kern="1200"/>
            <a:t>Elektrikli bisikletler ve scooter'ların sürdürülebilir bir ulaşım seçeneği olarak kullanımını teşvik etmek için şarj istasyonları sağlamak</a:t>
          </a:r>
        </a:p>
      </dsp:txBody>
      <dsp:txXfrm>
        <a:off x="2916374" y="2400155"/>
        <a:ext cx="1742415" cy="599662"/>
      </dsp:txXfrm>
    </dsp:sp>
    <dsp:sp modelId="{9FA334E2-AE5C-4FF0-886B-1BB57F5058B2}">
      <dsp:nvSpPr>
        <dsp:cNvPr id="0" name=""/>
        <dsp:cNvSpPr/>
      </dsp:nvSpPr>
      <dsp:spPr>
        <a:xfrm rot="4155738">
          <a:off x="1704721" y="2632524"/>
          <a:ext cx="1426681" cy="0"/>
        </a:xfrm>
        <a:custGeom>
          <a:avLst/>
          <a:gdLst/>
          <a:ahLst/>
          <a:cxnLst/>
          <a:rect l="0" t="0" r="0" b="0"/>
          <a:pathLst>
            <a:path>
              <a:moveTo>
                <a:pt x="0" y="0"/>
              </a:moveTo>
              <a:lnTo>
                <a:pt x="1426681" y="0"/>
              </a:lnTo>
            </a:path>
          </a:pathLst>
        </a:cu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1A418644-5A82-4B89-A3D9-873D49B746FF}">
      <dsp:nvSpPr>
        <dsp:cNvPr id="0" name=""/>
        <dsp:cNvSpPr/>
      </dsp:nvSpPr>
      <dsp:spPr>
        <a:xfrm>
          <a:off x="2670649" y="3299649"/>
          <a:ext cx="245725" cy="0"/>
        </a:xfrm>
        <a:prstGeom prst="line">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B50ACE8D-6FFF-4CA6-BEC3-40D9AC0075DF}">
      <dsp:nvSpPr>
        <dsp:cNvPr id="0" name=""/>
        <dsp:cNvSpPr/>
      </dsp:nvSpPr>
      <dsp:spPr>
        <a:xfrm>
          <a:off x="2916374" y="2999817"/>
          <a:ext cx="1742415" cy="599662"/>
        </a:xfrm>
        <a:prstGeom prst="rect">
          <a:avLst/>
        </a:prstGeom>
        <a:noFill/>
        <a:ln>
          <a:noFill/>
        </a:ln>
        <a:effectLst/>
        <a:sp3d/>
      </dsp:spPr>
      <dsp:style>
        <a:lnRef idx="0">
          <a:scrgbClr r="0" g="0" b="0"/>
        </a:lnRef>
        <a:fillRef idx="0">
          <a:scrgbClr r="0" g="0" b="0"/>
        </a:fillRef>
        <a:effectRef idx="0">
          <a:scrgbClr r="0" g="0" b="0"/>
        </a:effectRef>
        <a:fontRef idx="minor"/>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sz="700" kern="1200"/>
            <a:t>Yaya alanlarının ve bisiklet park alanlarının güvenli ve kullanılabilir tutulması için düzenli bakım ve temizliğinin yapılması</a:t>
          </a:r>
        </a:p>
      </dsp:txBody>
      <dsp:txXfrm>
        <a:off x="2916374" y="2999817"/>
        <a:ext cx="1742415" cy="599662"/>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019F8A-8647-48D0-8E59-62168709ED16}">
      <dsp:nvSpPr>
        <dsp:cNvPr id="0" name=""/>
        <dsp:cNvSpPr/>
      </dsp:nvSpPr>
      <dsp:spPr>
        <a:xfrm>
          <a:off x="2366095" y="243364"/>
          <a:ext cx="1157755" cy="1157761"/>
        </a:xfrm>
        <a:prstGeom prst="ellipse">
          <a:avLst/>
        </a:prstGeom>
        <a:solidFill>
          <a:schemeClr val="accent3">
            <a:alpha val="50000"/>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sz="500" kern="1200"/>
            <a:t>Otomatik plaka tanıma (ALPR) sistemleri, araç plakalarını tarayarak park ihlallerini tespit edebilir. Bu teknoloji, park uygulama operasyonlarının verimliliğini büyük ölçüde artırabilir.</a:t>
          </a:r>
        </a:p>
      </dsp:txBody>
      <dsp:txXfrm>
        <a:off x="2535644" y="412914"/>
        <a:ext cx="818657" cy="818661"/>
      </dsp:txXfrm>
    </dsp:sp>
    <dsp:sp modelId="{6CF47E25-E56E-4880-B9D3-F2A67C0DB6A7}">
      <dsp:nvSpPr>
        <dsp:cNvPr id="0" name=""/>
        <dsp:cNvSpPr/>
      </dsp:nvSpPr>
      <dsp:spPr>
        <a:xfrm>
          <a:off x="2506596" y="1557927"/>
          <a:ext cx="330787" cy="330830"/>
        </a:xfrm>
        <a:prstGeom prst="ellipse">
          <a:avLst/>
        </a:prstGeom>
        <a:solidFill>
          <a:schemeClr val="accent3">
            <a:alpha val="50000"/>
            <a:hueOff val="338825"/>
            <a:satOff val="12500"/>
            <a:lumOff val="-1838"/>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sp>
    <dsp:sp modelId="{F41E28E2-38D9-4ECC-AC55-98369D336747}">
      <dsp:nvSpPr>
        <dsp:cNvPr id="0" name=""/>
        <dsp:cNvSpPr/>
      </dsp:nvSpPr>
      <dsp:spPr>
        <a:xfrm>
          <a:off x="3583867" y="279571"/>
          <a:ext cx="330787" cy="330830"/>
        </a:xfrm>
        <a:prstGeom prst="ellipse">
          <a:avLst/>
        </a:prstGeom>
        <a:solidFill>
          <a:schemeClr val="accent3">
            <a:alpha val="50000"/>
            <a:hueOff val="677650"/>
            <a:satOff val="25000"/>
            <a:lumOff val="-3676"/>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sp>
    <dsp:sp modelId="{7F8B3783-FDD6-4ED3-8057-C8111DAA009F}">
      <dsp:nvSpPr>
        <dsp:cNvPr id="0" name=""/>
        <dsp:cNvSpPr/>
      </dsp:nvSpPr>
      <dsp:spPr>
        <a:xfrm>
          <a:off x="3584144" y="624126"/>
          <a:ext cx="1157755" cy="1157761"/>
        </a:xfrm>
        <a:prstGeom prst="ellipse">
          <a:avLst/>
        </a:prstGeom>
        <a:solidFill>
          <a:schemeClr val="accent3">
            <a:alpha val="50000"/>
            <a:hueOff val="1016475"/>
            <a:satOff val="37500"/>
            <a:lumOff val="-5515"/>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sz="500" kern="1200"/>
            <a:t>Mobil park ödeme sistemleri, sürücülerin mobil cihazlarını kullanarak park için ödeme yapmalarını sağlar. Bu teknoloji, fiziksel ödeme yöntemlerine olan ihtiyacı azaltabilir ve kullanıcılar için kolaylığı artırabilir.</a:t>
          </a:r>
        </a:p>
      </dsp:txBody>
      <dsp:txXfrm>
        <a:off x="3753693" y="793676"/>
        <a:ext cx="818657" cy="818661"/>
      </dsp:txXfrm>
    </dsp:sp>
    <dsp:sp modelId="{A7A32385-CB74-4560-9A85-7B1835853471}">
      <dsp:nvSpPr>
        <dsp:cNvPr id="0" name=""/>
        <dsp:cNvSpPr/>
      </dsp:nvSpPr>
      <dsp:spPr>
        <a:xfrm>
          <a:off x="4529764" y="1799407"/>
          <a:ext cx="330787" cy="330830"/>
        </a:xfrm>
        <a:prstGeom prst="ellipse">
          <a:avLst/>
        </a:prstGeom>
        <a:solidFill>
          <a:schemeClr val="accent3">
            <a:alpha val="50000"/>
            <a:hueOff val="1355300"/>
            <a:satOff val="50000"/>
            <a:lumOff val="-7353"/>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sp>
    <dsp:sp modelId="{A5E89060-4C61-46F8-ABC6-F395DB53BE49}">
      <dsp:nvSpPr>
        <dsp:cNvPr id="0" name=""/>
        <dsp:cNvSpPr/>
      </dsp:nvSpPr>
      <dsp:spPr>
        <a:xfrm>
          <a:off x="2094772" y="2005555"/>
          <a:ext cx="1157755" cy="1157761"/>
        </a:xfrm>
        <a:prstGeom prst="ellipse">
          <a:avLst/>
        </a:prstGeom>
        <a:solidFill>
          <a:schemeClr val="accent3">
            <a:alpha val="50000"/>
            <a:hueOff val="1694124"/>
            <a:satOff val="62500"/>
            <a:lumOff val="-9191"/>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sz="500" kern="1200" dirty="0" err="1"/>
            <a:t>Otopark</a:t>
          </a:r>
          <a:r>
            <a:rPr sz="500" kern="1200" dirty="0"/>
            <a:t> </a:t>
          </a:r>
          <a:r>
            <a:rPr sz="500" kern="1200" dirty="0" err="1"/>
            <a:t>yönetim</a:t>
          </a:r>
          <a:r>
            <a:rPr sz="500" kern="1200" dirty="0"/>
            <a:t> </a:t>
          </a:r>
          <a:r>
            <a:rPr sz="500" kern="1200" dirty="0" err="1"/>
            <a:t>yazılımı</a:t>
          </a:r>
          <a:r>
            <a:rPr sz="500" kern="1200" dirty="0"/>
            <a:t>, </a:t>
          </a:r>
          <a:r>
            <a:rPr sz="500" kern="1200" dirty="0" err="1"/>
            <a:t>otopark</a:t>
          </a:r>
          <a:r>
            <a:rPr sz="500" kern="1200" dirty="0"/>
            <a:t> </a:t>
          </a:r>
          <a:r>
            <a:rPr sz="500" kern="1200" dirty="0" err="1"/>
            <a:t>kullanımı</a:t>
          </a:r>
          <a:r>
            <a:rPr sz="500" kern="1200" dirty="0"/>
            <a:t> </a:t>
          </a:r>
          <a:r>
            <a:rPr sz="500" kern="1200" dirty="0" err="1"/>
            <a:t>ve</a:t>
          </a:r>
          <a:r>
            <a:rPr sz="500" kern="1200" dirty="0"/>
            <a:t> </a:t>
          </a:r>
          <a:r>
            <a:rPr sz="500" kern="1200" dirty="0" err="1"/>
            <a:t>uygulama</a:t>
          </a:r>
          <a:r>
            <a:rPr sz="500" kern="1200" dirty="0"/>
            <a:t> </a:t>
          </a:r>
          <a:r>
            <a:rPr sz="500" kern="1200" dirty="0" err="1"/>
            <a:t>faaliyetleri</a:t>
          </a:r>
          <a:r>
            <a:rPr sz="500" kern="1200" dirty="0"/>
            <a:t> </a:t>
          </a:r>
          <a:r>
            <a:rPr sz="500" kern="1200" dirty="0" err="1"/>
            <a:t>hakkında</a:t>
          </a:r>
          <a:r>
            <a:rPr sz="500" kern="1200" dirty="0"/>
            <a:t> </a:t>
          </a:r>
          <a:r>
            <a:rPr sz="500" kern="1200" dirty="0" err="1"/>
            <a:t>gerçek</a:t>
          </a:r>
          <a:r>
            <a:rPr sz="500" kern="1200" dirty="0"/>
            <a:t> </a:t>
          </a:r>
          <a:r>
            <a:rPr sz="500" kern="1200" dirty="0" err="1"/>
            <a:t>zamanlı</a:t>
          </a:r>
          <a:r>
            <a:rPr sz="500" kern="1200" dirty="0"/>
            <a:t> </a:t>
          </a:r>
          <a:r>
            <a:rPr sz="500" kern="1200" dirty="0" err="1"/>
            <a:t>veriler</a:t>
          </a:r>
          <a:r>
            <a:rPr sz="500" kern="1200" dirty="0"/>
            <a:t> </a:t>
          </a:r>
          <a:r>
            <a:rPr sz="500" kern="1200" dirty="0" err="1"/>
            <a:t>sağlar</a:t>
          </a:r>
          <a:r>
            <a:rPr sz="500" kern="1200" dirty="0"/>
            <a:t>. Bu </a:t>
          </a:r>
          <a:r>
            <a:rPr sz="500" kern="1200" dirty="0" err="1"/>
            <a:t>veriler</a:t>
          </a:r>
          <a:r>
            <a:rPr sz="500" kern="1200" dirty="0"/>
            <a:t>, </a:t>
          </a:r>
          <a:r>
            <a:rPr sz="500" kern="1200" dirty="0" err="1"/>
            <a:t>ulaşım</a:t>
          </a:r>
          <a:r>
            <a:rPr sz="500" kern="1200" dirty="0"/>
            <a:t> </a:t>
          </a:r>
          <a:r>
            <a:rPr sz="500" kern="1200" dirty="0" err="1"/>
            <a:t>planlamacılarının</a:t>
          </a:r>
          <a:r>
            <a:rPr sz="500" kern="1200" dirty="0"/>
            <a:t> park </a:t>
          </a:r>
          <a:r>
            <a:rPr sz="500" kern="1200" dirty="0" err="1"/>
            <a:t>yönetimi</a:t>
          </a:r>
          <a:r>
            <a:rPr sz="500" kern="1200" dirty="0"/>
            <a:t> </a:t>
          </a:r>
          <a:r>
            <a:rPr sz="500" kern="1200" dirty="0" err="1"/>
            <a:t>stratejileri</a:t>
          </a:r>
          <a:r>
            <a:rPr sz="500" kern="1200" dirty="0"/>
            <a:t> </a:t>
          </a:r>
          <a:r>
            <a:rPr sz="500" kern="1200" dirty="0" err="1"/>
            <a:t>hakkında</a:t>
          </a:r>
          <a:r>
            <a:rPr sz="500" kern="1200" dirty="0"/>
            <a:t> </a:t>
          </a:r>
          <a:r>
            <a:rPr sz="500" kern="1200" dirty="0" err="1"/>
            <a:t>bilinçli</a:t>
          </a:r>
          <a:r>
            <a:rPr sz="500" kern="1200" dirty="0"/>
            <a:t> </a:t>
          </a:r>
          <a:r>
            <a:rPr sz="500" kern="1200" dirty="0" err="1"/>
            <a:t>kararlar</a:t>
          </a:r>
          <a:r>
            <a:rPr sz="500" kern="1200" dirty="0"/>
            <a:t> </a:t>
          </a:r>
          <a:r>
            <a:rPr sz="500" kern="1200" dirty="0" err="1"/>
            <a:t>almalarına</a:t>
          </a:r>
          <a:r>
            <a:rPr sz="500" kern="1200" dirty="0"/>
            <a:t> </a:t>
          </a:r>
          <a:r>
            <a:rPr sz="500" kern="1200" dirty="0" err="1"/>
            <a:t>yardımcı</a:t>
          </a:r>
          <a:r>
            <a:rPr sz="500" kern="1200" dirty="0"/>
            <a:t> </a:t>
          </a:r>
          <a:r>
            <a:rPr sz="500" kern="1200" dirty="0" err="1"/>
            <a:t>olabilir</a:t>
          </a:r>
          <a:r>
            <a:rPr sz="500" kern="1200" dirty="0"/>
            <a:t>.</a:t>
          </a:r>
        </a:p>
      </dsp:txBody>
      <dsp:txXfrm>
        <a:off x="2264321" y="2175105"/>
        <a:ext cx="818657" cy="818661"/>
      </dsp:txXfrm>
    </dsp:sp>
    <dsp:sp modelId="{2428A46B-5902-4F3F-A6FA-8E9106F7705D}">
      <dsp:nvSpPr>
        <dsp:cNvPr id="0" name=""/>
        <dsp:cNvSpPr/>
      </dsp:nvSpPr>
      <dsp:spPr>
        <a:xfrm>
          <a:off x="3373945" y="1913285"/>
          <a:ext cx="1157755" cy="1157761"/>
        </a:xfrm>
        <a:prstGeom prst="ellipse">
          <a:avLst/>
        </a:prstGeom>
        <a:solidFill>
          <a:schemeClr val="accent3">
            <a:alpha val="50000"/>
            <a:hueOff val="2032949"/>
            <a:satOff val="75000"/>
            <a:lumOff val="-11029"/>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txBody>
        <a:bodyPr spcFirstLastPara="0" vert="horz" wrap="square" lIns="19050" tIns="19050" rIns="19050" bIns="19050" numCol="1" spcCol="1270" anchor="ctr" anchorCtr="0">
          <a:noAutofit/>
        </a:bodyPr>
        <a:lstStyle/>
        <a:p>
          <a:pPr marL="0" lvl="0" indent="0" algn="ctr" defTabSz="222250">
            <a:lnSpc>
              <a:spcPct val="90000"/>
            </a:lnSpc>
            <a:spcBef>
              <a:spcPct val="0"/>
            </a:spcBef>
            <a:spcAft>
              <a:spcPct val="35000"/>
            </a:spcAft>
            <a:buNone/>
          </a:pPr>
          <a:r>
            <a:rPr sz="500" kern="1200"/>
            <a:t>Elektronik park izinleri, park düzenlemelerini uygulamak ve yetkisiz park etmeyi önlemek için kullanılabilir. Bu teknoloji aynı zamanda ulaşım planlamacılarının park talebini ve kullanım modellerini daha iyi anlamalarına yardımcı olabilir.</a:t>
          </a:r>
        </a:p>
      </dsp:txBody>
      <dsp:txXfrm>
        <a:off x="3543494" y="2082835"/>
        <a:ext cx="818657" cy="818661"/>
      </dsp:txXfrm>
    </dsp:sp>
    <dsp:sp modelId="{0599A0AB-5B67-4A9B-AD04-71DBBE175971}">
      <dsp:nvSpPr>
        <dsp:cNvPr id="0" name=""/>
        <dsp:cNvSpPr/>
      </dsp:nvSpPr>
      <dsp:spPr>
        <a:xfrm>
          <a:off x="2985906" y="1479088"/>
          <a:ext cx="568644" cy="568514"/>
        </a:xfrm>
        <a:prstGeom prst="ellipse">
          <a:avLst/>
        </a:prstGeom>
        <a:solidFill>
          <a:schemeClr val="accent3">
            <a:alpha val="50000"/>
            <a:hueOff val="2371774"/>
            <a:satOff val="87500"/>
            <a:lumOff val="-12868"/>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sp>
    <dsp:sp modelId="{5B4F7F69-5D93-468C-8CC8-F38F92C44B21}">
      <dsp:nvSpPr>
        <dsp:cNvPr id="0" name=""/>
        <dsp:cNvSpPr/>
      </dsp:nvSpPr>
      <dsp:spPr>
        <a:xfrm>
          <a:off x="2135152" y="1769915"/>
          <a:ext cx="248643" cy="248487"/>
        </a:xfrm>
        <a:prstGeom prst="ellipse">
          <a:avLst/>
        </a:prstGeom>
        <a:solidFill>
          <a:schemeClr val="accent3">
            <a:alpha val="50000"/>
            <a:hueOff val="2710599"/>
            <a:satOff val="100000"/>
            <a:lumOff val="-14706"/>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0">
          <a:scrgbClr r="0" g="0" b="0"/>
        </a:effectRef>
        <a:fontRef idx="minor">
          <a:schemeClr val="tx1"/>
        </a:fontRef>
      </dsp:style>
    </dsp:sp>
    <dsp:sp modelId="{49CD979C-9373-4AA5-80D9-6D95B4C87DD7}">
      <dsp:nvSpPr>
        <dsp:cNvPr id="0" name=""/>
        <dsp:cNvSpPr/>
      </dsp:nvSpPr>
      <dsp:spPr>
        <a:xfrm>
          <a:off x="1790279" y="3170036"/>
          <a:ext cx="3374764" cy="78615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ctr" anchorCtr="0">
          <a:noAutofit/>
        </a:bodyPr>
        <a:lstStyle/>
        <a:p>
          <a:pPr marL="0" lvl="0" indent="0" algn="ctr" defTabSz="444500">
            <a:lnSpc>
              <a:spcPct val="90000"/>
            </a:lnSpc>
            <a:spcBef>
              <a:spcPct val="0"/>
            </a:spcBef>
            <a:spcAft>
              <a:spcPct val="35000"/>
            </a:spcAft>
            <a:buNone/>
          </a:pPr>
          <a:r>
            <a:rPr sz="1000" kern="1200"/>
            <a:t>Otopark uygulama ve yönetim teknolojisi, Ankara'daki ulaşım planlamacılarının otopark kaynaklarını etkin bir şekilde yönetmeleri ve park düzenlemelerini uygulamaları için gerekli araçlardır. İşte bu amaçla kullanılabilecek bazı önemli teknolojiler:</a:t>
          </a:r>
        </a:p>
      </dsp:txBody>
      <dsp:txXfrm>
        <a:off x="1790279" y="3170036"/>
        <a:ext cx="3374764" cy="786157"/>
      </dsp:txXfrm>
    </dsp:sp>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EB0E5E-5BF2-42A0-B884-1F005FC6A9CA}">
      <dsp:nvSpPr>
        <dsp:cNvPr id="0" name=""/>
        <dsp:cNvSpPr/>
      </dsp:nvSpPr>
      <dsp:spPr>
        <a:xfrm rot="5400000">
          <a:off x="580148" y="1249995"/>
          <a:ext cx="1747533" cy="2907856"/>
        </a:xfrm>
        <a:prstGeom prst="corner">
          <a:avLst>
            <a:gd name="adj1" fmla="val 16120"/>
            <a:gd name="adj2" fmla="val 16110"/>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AE4C566-B458-41D0-8ECD-C7C8A596E98D}">
      <dsp:nvSpPr>
        <dsp:cNvPr id="0" name=""/>
        <dsp:cNvSpPr/>
      </dsp:nvSpPr>
      <dsp:spPr>
        <a:xfrm>
          <a:off x="289314" y="2145975"/>
          <a:ext cx="2625228" cy="23011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t" anchorCtr="0">
          <a:noAutofit/>
        </a:bodyPr>
        <a:lstStyle/>
        <a:p>
          <a:pPr marL="0" lvl="0" indent="0" algn="l" defTabSz="400050">
            <a:lnSpc>
              <a:spcPct val="90000"/>
            </a:lnSpc>
            <a:spcBef>
              <a:spcPct val="0"/>
            </a:spcBef>
            <a:spcAft>
              <a:spcPct val="35000"/>
            </a:spcAft>
            <a:buNone/>
          </a:pPr>
          <a:r>
            <a:rPr sz="900" kern="1200"/>
            <a:t>Kentsel planlama, şehirlerin ve diğer kentsel alanların tasarımını ve yönetimini içeren çok disiplinli bir alandır. Arazi kullanım planlaması, ulaşım planlaması, çevre planlaması ve ekonomik planlama gibi çeşitli yönleri kapsar. Özellikle arazi kullanım planlaması, etkili kentsel planlama için kritik öneme sahiptir. Konut, ticari, endüstriyel veya açık alan gibi farklı kullanımlar için arazi tahsis etmeyi ve arazi kullanım modellerinin sürdürülebilir kalkınmayı desteklemesini sağlamayı içerir. Örneğin, arazi kullanımı planlaması kentsel yayılmayı azaltmaya, doğal kaynakları korumaya ve sosyal, ekonomik ve çevresel refahı artıran yürünebilir, karma kullanımlı mahalleleri teşvik etmeye yardımcı olabilir.</a:t>
          </a:r>
        </a:p>
      </dsp:txBody>
      <dsp:txXfrm>
        <a:off x="289314" y="2145975"/>
        <a:ext cx="2625228" cy="2301167"/>
      </dsp:txXfrm>
    </dsp:sp>
    <dsp:sp modelId="{8010D48C-D2D5-42DB-A0F8-CEDA41C871EC}">
      <dsp:nvSpPr>
        <dsp:cNvPr id="0" name=""/>
        <dsp:cNvSpPr/>
      </dsp:nvSpPr>
      <dsp:spPr>
        <a:xfrm>
          <a:off x="2419217" y="1063073"/>
          <a:ext cx="495326" cy="495326"/>
        </a:xfrm>
        <a:prstGeom prst="triangle">
          <a:avLst>
            <a:gd name="adj" fmla="val 100000"/>
          </a:avLst>
        </a:prstGeom>
        <a:solidFill>
          <a:schemeClr val="accent2">
            <a:hueOff val="-727682"/>
            <a:satOff val="-41964"/>
            <a:lumOff val="4314"/>
            <a:alphaOff val="0"/>
          </a:schemeClr>
        </a:solidFill>
        <a:ln w="12700" cap="flat" cmpd="sng" algn="ctr">
          <a:solidFill>
            <a:schemeClr val="accent2">
              <a:hueOff val="-727682"/>
              <a:satOff val="-41964"/>
              <a:lumOff val="4314"/>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E58B35A-61CF-49BD-908A-C43B1ECC575A}">
      <dsp:nvSpPr>
        <dsp:cNvPr id="0" name=""/>
        <dsp:cNvSpPr/>
      </dsp:nvSpPr>
      <dsp:spPr>
        <a:xfrm rot="5400000">
          <a:off x="3794814" y="481896"/>
          <a:ext cx="1747533" cy="2907856"/>
        </a:xfrm>
        <a:prstGeom prst="corner">
          <a:avLst>
            <a:gd name="adj1" fmla="val 16120"/>
            <a:gd name="adj2" fmla="val 16110"/>
          </a:avLst>
        </a:prstGeom>
        <a:solidFill>
          <a:schemeClr val="accent2">
            <a:hueOff val="-1455363"/>
            <a:satOff val="-83928"/>
            <a:lumOff val="8628"/>
            <a:alphaOff val="0"/>
          </a:schemeClr>
        </a:solidFill>
        <a:ln w="12700" cap="flat" cmpd="sng" algn="ctr">
          <a:solidFill>
            <a:schemeClr val="accent2">
              <a:hueOff val="-1455363"/>
              <a:satOff val="-83928"/>
              <a:lumOff val="8628"/>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E4A8D1B-1FC4-4299-BFBD-CB1026D85A28}">
      <dsp:nvSpPr>
        <dsp:cNvPr id="0" name=""/>
        <dsp:cNvSpPr/>
      </dsp:nvSpPr>
      <dsp:spPr>
        <a:xfrm>
          <a:off x="3503107" y="1350718"/>
          <a:ext cx="2625228" cy="23011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t" anchorCtr="0">
          <a:noAutofit/>
        </a:bodyPr>
        <a:lstStyle/>
        <a:p>
          <a:pPr marL="0" lvl="0" indent="0" algn="l" defTabSz="400050">
            <a:lnSpc>
              <a:spcPct val="90000"/>
            </a:lnSpc>
            <a:spcBef>
              <a:spcPct val="0"/>
            </a:spcBef>
            <a:spcAft>
              <a:spcPct val="35000"/>
            </a:spcAft>
            <a:buNone/>
          </a:pPr>
          <a:r>
            <a:rPr sz="900" kern="1200"/>
            <a:t>Ulaşım planlaması, kentsel alanlar içinde ve arasında insanların ve malların hareketliliğini ve erişilebilirliğini etkilediği için kentsel planlamanın önemli bir bileşenidir.Ulaşım planlaması, yollar, otoyollar, toplu taşıma, yaya ve bisiklet altyapısı ve park tesisleri dahil olmak üzere ulaşım sistemlerinin tasarlanmasını ve yönetilmesini içerir.Etkili ulaşım planlaması erişilebilirliği artırabilir, seyahat süresini azaltabilir ve toplu taşıma, bisiklet ve yürüyüş gibi sürdürülebilir ulaşım modlarını teşvik edebilir. Ayrıca trafik sıkışıklığını, hava kirliliğini ve sera gazı emisyonlarını azaltabilir, böylece şehirlerin genel yaşanabilirliğini artırabilir.</a:t>
          </a:r>
        </a:p>
      </dsp:txBody>
      <dsp:txXfrm>
        <a:off x="3503107" y="1350718"/>
        <a:ext cx="2625228" cy="2301167"/>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9E9039-24C2-4FF2-96AB-BEC25DBFE9BC}">
      <dsp:nvSpPr>
        <dsp:cNvPr id="0" name=""/>
        <dsp:cNvSpPr/>
      </dsp:nvSpPr>
      <dsp:spPr>
        <a:xfrm>
          <a:off x="0" y="70785"/>
          <a:ext cx="6883167" cy="1160456"/>
        </a:xfrm>
        <a:prstGeom prst="roundRect">
          <a:avLst>
            <a:gd name="adj" fmla="val 10000"/>
          </a:avLst>
        </a:prstGeom>
        <a:gradFill rotWithShape="0">
          <a:gsLst>
            <a:gs pos="0">
              <a:schemeClr val="accent2">
                <a:hueOff val="0"/>
                <a:satOff val="0"/>
                <a:lumOff val="0"/>
                <a:alphaOff val="0"/>
                <a:lumMod val="110000"/>
                <a:satMod val="105000"/>
                <a:tint val="67000"/>
              </a:schemeClr>
            </a:gs>
            <a:gs pos="50000">
              <a:schemeClr val="accent2">
                <a:hueOff val="0"/>
                <a:satOff val="0"/>
                <a:lumOff val="0"/>
                <a:alphaOff val="0"/>
                <a:lumMod val="105000"/>
                <a:satMod val="103000"/>
                <a:tint val="73000"/>
              </a:schemeClr>
            </a:gs>
            <a:gs pos="100000">
              <a:schemeClr val="accent2">
                <a:hueOff val="0"/>
                <a:satOff val="0"/>
                <a:lumOff val="0"/>
                <a:alphaOff val="0"/>
                <a:lumMod val="105000"/>
                <a:satMod val="109000"/>
                <a:tint val="81000"/>
              </a:schemeClr>
            </a:gs>
          </a:gsLst>
          <a:lin ang="5400000" scaled="0"/>
        </a:gra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78232" tIns="78232" rIns="78232" bIns="41910" numCol="1" spcCol="1270" anchor="t" anchorCtr="0">
          <a:noAutofit/>
        </a:bodyPr>
        <a:lstStyle/>
        <a:p>
          <a:pPr marL="0" lvl="0" indent="0" algn="l" defTabSz="488950">
            <a:lnSpc>
              <a:spcPct val="90000"/>
            </a:lnSpc>
            <a:spcBef>
              <a:spcPct val="0"/>
            </a:spcBef>
            <a:spcAft>
              <a:spcPct val="35000"/>
            </a:spcAft>
            <a:buNone/>
          </a:pPr>
          <a:r>
            <a:rPr sz="1100" kern="1200"/>
            <a:t>Ankara, 5 milyondan fazla nüfusu ile Türkiye'nin hızla büyüyen şehirlerindendir ve bu nedenle kentsel bir sorunla karşı karşıyadır. Hızlı kentleşme ve ekonomik büyüme ile şehir trafik sıkışıklığı, hava kirliliği ve kentsel yayılma gibi konuların yönetilmesi konusunda önemli zorluklarla karşı karşıyadır. Bu zorlukları ele almak için etkili kentsel planlama ve arazi kullanımı ulaşım planlamasında çok önemlidir. İşte bazı nedenler:</a:t>
          </a:r>
        </a:p>
      </dsp:txBody>
      <dsp:txXfrm>
        <a:off x="0" y="70785"/>
        <a:ext cx="6883167" cy="773637"/>
      </dsp:txXfrm>
    </dsp:sp>
    <dsp:sp modelId="{2F5F533B-E505-45AC-A77A-A2C240343529}">
      <dsp:nvSpPr>
        <dsp:cNvPr id="0" name=""/>
        <dsp:cNvSpPr/>
      </dsp:nvSpPr>
      <dsp:spPr>
        <a:xfrm>
          <a:off x="1409805" y="844422"/>
          <a:ext cx="6883167" cy="2257200"/>
        </a:xfrm>
        <a:prstGeom prst="roundRect">
          <a:avLst>
            <a:gd name="adj" fmla="val 10000"/>
          </a:avLst>
        </a:prstGeom>
        <a:solidFill>
          <a:schemeClr val="lt1">
            <a:alpha val="90000"/>
            <a:hueOff val="0"/>
            <a:satOff val="0"/>
            <a:lumOff val="0"/>
            <a:alphaOff val="0"/>
          </a:schemeClr>
        </a:solidFill>
        <a:ln w="6350" cap="flat" cmpd="sng" algn="ctr">
          <a:solidFill>
            <a:schemeClr val="accent2">
              <a:hueOff val="0"/>
              <a:satOff val="0"/>
              <a:lumOff val="0"/>
              <a:alphaOff val="0"/>
            </a:schemeClr>
          </a:solidFill>
          <a:prstDash val="solid"/>
          <a:miter lim="800000"/>
        </a:ln>
        <a:effectLst/>
      </dsp:spPr>
      <dsp:style>
        <a:lnRef idx="1">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88950">
            <a:lnSpc>
              <a:spcPct val="90000"/>
            </a:lnSpc>
            <a:spcBef>
              <a:spcPct val="0"/>
            </a:spcBef>
            <a:spcAft>
              <a:spcPct val="15000"/>
            </a:spcAft>
            <a:buChar char="•"/>
          </a:pPr>
          <a:r>
            <a:rPr sz="1100" kern="1200"/>
            <a:t>Verimli ulaşım planlaması, Ankara'nın mahalleleri içinde ve mahalleler arasında insanların ve malların erişilebilirliğini ve hareketliliğini artırabilir, seyahat süresini azaltabilir ve verimliliği artırabilir.</a:t>
          </a:r>
        </a:p>
        <a:p>
          <a:pPr marL="57150" lvl="1" indent="-57150" algn="l" defTabSz="488950">
            <a:lnSpc>
              <a:spcPct val="90000"/>
            </a:lnSpc>
            <a:spcBef>
              <a:spcPct val="0"/>
            </a:spcBef>
            <a:spcAft>
              <a:spcPct val="15000"/>
            </a:spcAft>
            <a:buChar char="•"/>
          </a:pPr>
          <a:r>
            <a:rPr sz="1100" kern="1200"/>
            <a:t>Arazi kullanımı planlaması, toplu taşıma, bisiklete binme ve yürüyüş gibi sürdürülebilir ulaşım modlarını destekleyen kompakt, yürünebilir mahalleler oluşturarak şehrin kentsel yapısını şekillendirmeye yardımcı olabilir. Bu, otomobil bağımlılığını, hava kirliliğini ve sera gazı emisyonlarını azaltabilir; daha sağlıklı ve daha yaşanabilir bir şehri teşvik edebilir.</a:t>
          </a:r>
        </a:p>
        <a:p>
          <a:pPr marL="57150" lvl="1" indent="-57150" algn="l" defTabSz="488950">
            <a:lnSpc>
              <a:spcPct val="90000"/>
            </a:lnSpc>
            <a:spcBef>
              <a:spcPct val="0"/>
            </a:spcBef>
            <a:spcAft>
              <a:spcPct val="15000"/>
            </a:spcAft>
            <a:buChar char="•"/>
          </a:pPr>
          <a:r>
            <a:rPr sz="1100" kern="1200"/>
            <a:t>Arazi kullanımı ve ulaşım planlamasının entegre edilmesi, sosyal, ekonomik ve çevresel sürdürülebilirlik açısından daha iyi sonuçlara yol açabilir. Örneğin, konut, iş yeri ve perakende alanlarını bir araya getiren karma kullanımlı gelişmeler, iş yerlerine, hizmetlere ve imkanlara daha kolay erişim sağlar. Bu, uzun yolculuk gereksinimlerini azaltır ve yerel ekonomiyi canlandıran, çeşitli ve canlı mahalleler oluşturur.
</a:t>
          </a:r>
        </a:p>
      </dsp:txBody>
      <dsp:txXfrm>
        <a:off x="1475916" y="910533"/>
        <a:ext cx="6750945" cy="2124978"/>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BD0B98C-C802-4673-B3C3-20B74FD7FA31}">
      <dsp:nvSpPr>
        <dsp:cNvPr id="0" name=""/>
        <dsp:cNvSpPr/>
      </dsp:nvSpPr>
      <dsp:spPr>
        <a:xfrm>
          <a:off x="0" y="0"/>
          <a:ext cx="7510982" cy="0"/>
        </a:xfrm>
        <a:prstGeom prst="lin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6EF14F46-B431-45D6-BB63-061B107735B4}">
      <dsp:nvSpPr>
        <dsp:cNvPr id="0" name=""/>
        <dsp:cNvSpPr/>
      </dsp:nvSpPr>
      <dsp:spPr>
        <a:xfrm>
          <a:off x="0" y="0"/>
          <a:ext cx="2477456" cy="19451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sz="1300" kern="1200"/>
            <a:t>SKUp Ankara, sürdürülebilir gelişmeyi desteklemek için ulaşım planlamasında kentsel planlama ve arazi kullanımına dayalı çeşitli uygulamaları benimseyebilir. İşte bazı örnekler:</a:t>
          </a:r>
        </a:p>
      </dsp:txBody>
      <dsp:txXfrm>
        <a:off x="0" y="0"/>
        <a:ext cx="2477456" cy="1945127"/>
      </dsp:txXfrm>
    </dsp:sp>
    <dsp:sp modelId="{29C58F98-1FA7-4303-BF64-D6A09C3A2073}">
      <dsp:nvSpPr>
        <dsp:cNvPr id="0" name=""/>
        <dsp:cNvSpPr/>
      </dsp:nvSpPr>
      <dsp:spPr>
        <a:xfrm>
          <a:off x="2571747" y="30392"/>
          <a:ext cx="4934546" cy="6078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t" anchorCtr="0">
          <a:noAutofit/>
        </a:bodyPr>
        <a:lstStyle/>
        <a:p>
          <a:pPr marL="0" lvl="0" indent="0" algn="just" defTabSz="400050">
            <a:lnSpc>
              <a:spcPct val="90000"/>
            </a:lnSpc>
            <a:spcBef>
              <a:spcPct val="0"/>
            </a:spcBef>
            <a:spcAft>
              <a:spcPct val="35000"/>
            </a:spcAft>
            <a:buNone/>
          </a:pPr>
          <a:r>
            <a:rPr sz="900" kern="1200"/>
            <a:t>Kapsamlı bir toplu taşıma sistemi uygulanması: SKUp Ankara, metrobüs, hafif raylı sistemler ve metro sistemlerinin entegrasyonuna yatırım yapabilir. Bu, sakinler için hızlı, güvenilir ve uygun fiyatlı ulaşım seçenekleri sunabilir, trafik sıkışıklığını azaltabilir ve sürdürülebilir hareketliliği teşvik edebilir.</a:t>
          </a:r>
        </a:p>
      </dsp:txBody>
      <dsp:txXfrm>
        <a:off x="2571747" y="30392"/>
        <a:ext cx="4934546" cy="607852"/>
      </dsp:txXfrm>
    </dsp:sp>
    <dsp:sp modelId="{DF5AAD08-16CE-4B47-A476-2C9006E10817}">
      <dsp:nvSpPr>
        <dsp:cNvPr id="0" name=""/>
        <dsp:cNvSpPr/>
      </dsp:nvSpPr>
      <dsp:spPr>
        <a:xfrm>
          <a:off x="2477456" y="638245"/>
          <a:ext cx="5028837" cy="0"/>
        </a:xfrm>
        <a:prstGeom prst="line">
          <a:avLst/>
        </a:prstGeom>
        <a:noFill/>
        <a:ln w="6350" cap="flat" cmpd="sng" algn="ctr">
          <a:solidFill>
            <a:schemeClr val="accent2">
              <a:tint val="50000"/>
              <a:hueOff val="0"/>
              <a:satOff val="0"/>
              <a:lumOff val="0"/>
              <a:alphaOff val="0"/>
            </a:schemeClr>
          </a:solidFill>
          <a:prstDash val="solid"/>
          <a:miter lim="800000"/>
        </a:ln>
        <a:effectLst/>
      </dsp:spPr>
      <dsp:style>
        <a:lnRef idx="1">
          <a:scrgbClr r="0" g="0" b="0"/>
        </a:lnRef>
        <a:fillRef idx="0">
          <a:scrgbClr r="0" g="0" b="0"/>
        </a:fillRef>
        <a:effectRef idx="1">
          <a:scrgbClr r="0" g="0" b="0"/>
        </a:effectRef>
        <a:fontRef idx="minor"/>
      </dsp:style>
    </dsp:sp>
    <dsp:sp modelId="{15660D1A-89A2-4414-97FB-858FC6AC242C}">
      <dsp:nvSpPr>
        <dsp:cNvPr id="0" name=""/>
        <dsp:cNvSpPr/>
      </dsp:nvSpPr>
      <dsp:spPr>
        <a:xfrm>
          <a:off x="2571747" y="668637"/>
          <a:ext cx="4934546" cy="6078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t" anchorCtr="0">
          <a:noAutofit/>
        </a:bodyPr>
        <a:lstStyle/>
        <a:p>
          <a:pPr marL="0" lvl="0" indent="0" algn="just" defTabSz="400050">
            <a:lnSpc>
              <a:spcPct val="90000"/>
            </a:lnSpc>
            <a:spcBef>
              <a:spcPct val="0"/>
            </a:spcBef>
            <a:spcAft>
              <a:spcPct val="35000"/>
            </a:spcAft>
            <a:buNone/>
          </a:pPr>
          <a:r>
            <a:rPr sz="900" kern="1200" dirty="0"/>
            <a:t>Karma </a:t>
          </a:r>
          <a:r>
            <a:rPr sz="900" kern="1200" dirty="0" err="1"/>
            <a:t>kullanımlı</a:t>
          </a:r>
          <a:r>
            <a:rPr sz="900" kern="1200" dirty="0"/>
            <a:t> </a:t>
          </a:r>
          <a:r>
            <a:rPr sz="900" kern="1200" dirty="0" err="1"/>
            <a:t>geliştermenin</a:t>
          </a:r>
          <a:r>
            <a:rPr sz="900" kern="1200" dirty="0"/>
            <a:t> </a:t>
          </a:r>
          <a:r>
            <a:rPr sz="900" kern="1200" dirty="0" err="1"/>
            <a:t>desteklenmesi</a:t>
          </a:r>
          <a:r>
            <a:rPr sz="900" kern="1200" dirty="0"/>
            <a:t>: SKUp Ankara, </a:t>
          </a:r>
          <a:r>
            <a:rPr sz="900" kern="1200" dirty="0" err="1"/>
            <a:t>konut</a:t>
          </a:r>
          <a:r>
            <a:rPr sz="900" kern="1200" dirty="0"/>
            <a:t>, </a:t>
          </a:r>
          <a:r>
            <a:rPr sz="900" kern="1200" dirty="0" err="1"/>
            <a:t>ticari</a:t>
          </a:r>
          <a:r>
            <a:rPr sz="900" kern="1200" dirty="0"/>
            <a:t> </a:t>
          </a:r>
          <a:r>
            <a:rPr sz="900" kern="1200" dirty="0" err="1"/>
            <a:t>ve</a:t>
          </a:r>
          <a:r>
            <a:rPr sz="900" kern="1200" dirty="0"/>
            <a:t> </a:t>
          </a:r>
          <a:r>
            <a:rPr sz="900" kern="1200" dirty="0" err="1"/>
            <a:t>perakende</a:t>
          </a:r>
          <a:r>
            <a:rPr sz="900" kern="1200" dirty="0"/>
            <a:t> </a:t>
          </a:r>
          <a:r>
            <a:rPr sz="900" kern="1200" dirty="0" err="1"/>
            <a:t>alanları</a:t>
          </a:r>
          <a:r>
            <a:rPr sz="900" kern="1200" dirty="0"/>
            <a:t> </a:t>
          </a:r>
          <a:r>
            <a:rPr sz="900" kern="1200" dirty="0" err="1"/>
            <a:t>birleştiren</a:t>
          </a:r>
          <a:r>
            <a:rPr sz="900" kern="1200" dirty="0"/>
            <a:t>, </a:t>
          </a:r>
          <a:r>
            <a:rPr sz="900" kern="1200" dirty="0" err="1"/>
            <a:t>yürünebilir</a:t>
          </a:r>
          <a:r>
            <a:rPr sz="900" kern="1200" dirty="0"/>
            <a:t> </a:t>
          </a:r>
          <a:r>
            <a:rPr sz="900" kern="1200" dirty="0" err="1"/>
            <a:t>ve</a:t>
          </a:r>
          <a:r>
            <a:rPr sz="900" kern="1200" dirty="0"/>
            <a:t> </a:t>
          </a:r>
          <a:r>
            <a:rPr sz="900" kern="1200" dirty="0" err="1"/>
            <a:t>kompakt</a:t>
          </a:r>
          <a:r>
            <a:rPr sz="900" kern="1200" dirty="0"/>
            <a:t> </a:t>
          </a:r>
          <a:r>
            <a:rPr sz="900" kern="1200" dirty="0" err="1"/>
            <a:t>mahallelere</a:t>
          </a:r>
          <a:r>
            <a:rPr sz="900" kern="1200" dirty="0"/>
            <a:t> </a:t>
          </a:r>
          <a:r>
            <a:rPr sz="900" kern="1200" dirty="0" err="1"/>
            <a:t>yönelik</a:t>
          </a:r>
          <a:r>
            <a:rPr sz="900" kern="1200" dirty="0"/>
            <a:t> karma </a:t>
          </a:r>
          <a:r>
            <a:rPr sz="900" kern="1200" dirty="0" err="1"/>
            <a:t>kullanımlı</a:t>
          </a:r>
          <a:r>
            <a:rPr sz="900" kern="1200" dirty="0"/>
            <a:t> </a:t>
          </a:r>
          <a:r>
            <a:rPr sz="900" kern="1200" dirty="0" err="1"/>
            <a:t>geliştirmeleri</a:t>
          </a:r>
          <a:r>
            <a:rPr sz="900" kern="1200" dirty="0"/>
            <a:t> </a:t>
          </a:r>
          <a:r>
            <a:rPr sz="900" kern="1200" dirty="0" err="1"/>
            <a:t>destekleyebilir</a:t>
          </a:r>
          <a:r>
            <a:rPr sz="900" kern="1200" dirty="0"/>
            <a:t>. Bu </a:t>
          </a:r>
          <a:r>
            <a:rPr sz="900" kern="1200" dirty="0" err="1"/>
            <a:t>yaklaşım</a:t>
          </a:r>
          <a:r>
            <a:rPr sz="900" kern="1200" dirty="0"/>
            <a:t>, </a:t>
          </a:r>
          <a:r>
            <a:rPr sz="900" kern="1200" dirty="0" err="1"/>
            <a:t>otomobil</a:t>
          </a:r>
          <a:r>
            <a:rPr sz="900" kern="1200" dirty="0"/>
            <a:t> </a:t>
          </a:r>
          <a:r>
            <a:rPr sz="900" kern="1200" dirty="0" err="1"/>
            <a:t>bağımlılığını</a:t>
          </a:r>
          <a:r>
            <a:rPr sz="900" kern="1200" dirty="0"/>
            <a:t> </a:t>
          </a:r>
          <a:r>
            <a:rPr sz="900" kern="1200" dirty="0" err="1"/>
            <a:t>hafifletebilir</a:t>
          </a:r>
          <a:r>
            <a:rPr sz="900" kern="1200" dirty="0"/>
            <a:t>, </a:t>
          </a:r>
          <a:r>
            <a:rPr sz="900" kern="1200" dirty="0" err="1"/>
            <a:t>aktif</a:t>
          </a:r>
          <a:r>
            <a:rPr sz="900" kern="1200" dirty="0"/>
            <a:t> </a:t>
          </a:r>
          <a:r>
            <a:rPr sz="900" kern="1200" dirty="0" err="1"/>
            <a:t>ulaşım</a:t>
          </a:r>
          <a:r>
            <a:rPr sz="900" kern="1200" dirty="0"/>
            <a:t> </a:t>
          </a:r>
          <a:r>
            <a:rPr sz="900" kern="1200" dirty="0" err="1"/>
            <a:t>biçimlerini</a:t>
          </a:r>
          <a:r>
            <a:rPr sz="900" kern="1200" dirty="0"/>
            <a:t> </a:t>
          </a:r>
          <a:r>
            <a:rPr sz="900" kern="1200" dirty="0" err="1"/>
            <a:t>ön</a:t>
          </a:r>
          <a:r>
            <a:rPr sz="900" kern="1200" dirty="0"/>
            <a:t> plana </a:t>
          </a:r>
          <a:r>
            <a:rPr sz="900" kern="1200" dirty="0" err="1"/>
            <a:t>çıkarır</a:t>
          </a:r>
          <a:r>
            <a:rPr sz="900" kern="1200" dirty="0"/>
            <a:t> </a:t>
          </a:r>
          <a:r>
            <a:rPr sz="900" kern="1200" dirty="0" err="1"/>
            <a:t>ve</a:t>
          </a:r>
          <a:r>
            <a:rPr sz="900" kern="1200" dirty="0"/>
            <a:t> </a:t>
          </a:r>
          <a:r>
            <a:rPr sz="900" kern="1200" dirty="0" err="1"/>
            <a:t>yerel</a:t>
          </a:r>
          <a:r>
            <a:rPr sz="900" kern="1200" dirty="0"/>
            <a:t> </a:t>
          </a:r>
          <a:r>
            <a:rPr sz="900" kern="1200" dirty="0" err="1"/>
            <a:t>ekonomiyi</a:t>
          </a:r>
          <a:r>
            <a:rPr sz="900" kern="1200" dirty="0"/>
            <a:t> </a:t>
          </a:r>
          <a:r>
            <a:rPr sz="900" kern="1200" dirty="0" err="1"/>
            <a:t>güçlendiren</a:t>
          </a:r>
          <a:r>
            <a:rPr sz="900" kern="1200" dirty="0"/>
            <a:t> </a:t>
          </a:r>
          <a:r>
            <a:rPr sz="900" kern="1200" dirty="0" err="1"/>
            <a:t>canlı</a:t>
          </a:r>
          <a:r>
            <a:rPr sz="900" kern="1200" dirty="0"/>
            <a:t> </a:t>
          </a:r>
          <a:r>
            <a:rPr sz="900" kern="1200" dirty="0" err="1"/>
            <a:t>ve</a:t>
          </a:r>
          <a:r>
            <a:rPr sz="900" kern="1200" dirty="0"/>
            <a:t> </a:t>
          </a:r>
          <a:r>
            <a:rPr sz="900" kern="1200" dirty="0" err="1"/>
            <a:t>çok</a:t>
          </a:r>
          <a:r>
            <a:rPr sz="900" kern="1200" dirty="0"/>
            <a:t> </a:t>
          </a:r>
          <a:r>
            <a:rPr sz="900" kern="1200" dirty="0" err="1"/>
            <a:t>çeşitli</a:t>
          </a:r>
          <a:r>
            <a:rPr sz="900" kern="1200" dirty="0"/>
            <a:t> </a:t>
          </a:r>
          <a:r>
            <a:rPr sz="900" kern="1200" dirty="0" err="1"/>
            <a:t>bir</a:t>
          </a:r>
          <a:r>
            <a:rPr sz="900" kern="1200" dirty="0"/>
            <a:t> </a:t>
          </a:r>
          <a:r>
            <a:rPr sz="900" kern="1200" dirty="0" err="1"/>
            <a:t>toplum</a:t>
          </a:r>
          <a:r>
            <a:rPr sz="900" kern="1200" dirty="0"/>
            <a:t> </a:t>
          </a:r>
          <a:r>
            <a:rPr sz="900" kern="1200" dirty="0" err="1"/>
            <a:t>oluşturabilir</a:t>
          </a:r>
          <a:r>
            <a:rPr sz="900" kern="1200" dirty="0"/>
            <a:t>.</a:t>
          </a:r>
        </a:p>
      </dsp:txBody>
      <dsp:txXfrm>
        <a:off x="2571747" y="668637"/>
        <a:ext cx="4934546" cy="607852"/>
      </dsp:txXfrm>
    </dsp:sp>
    <dsp:sp modelId="{B609CBB3-795B-4F7C-800E-0BB1A284E9F6}">
      <dsp:nvSpPr>
        <dsp:cNvPr id="0" name=""/>
        <dsp:cNvSpPr/>
      </dsp:nvSpPr>
      <dsp:spPr>
        <a:xfrm>
          <a:off x="2477456" y="1276490"/>
          <a:ext cx="5028837" cy="0"/>
        </a:xfrm>
        <a:prstGeom prst="line">
          <a:avLst/>
        </a:prstGeom>
        <a:noFill/>
        <a:ln w="6350" cap="flat" cmpd="sng" algn="ctr">
          <a:solidFill>
            <a:schemeClr val="accent2">
              <a:tint val="50000"/>
              <a:hueOff val="0"/>
              <a:satOff val="0"/>
              <a:lumOff val="0"/>
              <a:alphaOff val="0"/>
            </a:schemeClr>
          </a:solidFill>
          <a:prstDash val="solid"/>
          <a:miter lim="800000"/>
        </a:ln>
        <a:effectLst/>
      </dsp:spPr>
      <dsp:style>
        <a:lnRef idx="1">
          <a:scrgbClr r="0" g="0" b="0"/>
        </a:lnRef>
        <a:fillRef idx="0">
          <a:scrgbClr r="0" g="0" b="0"/>
        </a:fillRef>
        <a:effectRef idx="1">
          <a:scrgbClr r="0" g="0" b="0"/>
        </a:effectRef>
        <a:fontRef idx="minor"/>
      </dsp:style>
    </dsp:sp>
    <dsp:sp modelId="{090A65ED-E6F8-4889-9C95-907323E6AD7E}">
      <dsp:nvSpPr>
        <dsp:cNvPr id="0" name=""/>
        <dsp:cNvSpPr/>
      </dsp:nvSpPr>
      <dsp:spPr>
        <a:xfrm>
          <a:off x="2571747" y="1306882"/>
          <a:ext cx="4934546" cy="6078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t" anchorCtr="0">
          <a:noAutofit/>
        </a:bodyPr>
        <a:lstStyle/>
        <a:p>
          <a:pPr marL="0" lvl="0" indent="0" algn="just" defTabSz="400050">
            <a:lnSpc>
              <a:spcPct val="90000"/>
            </a:lnSpc>
            <a:spcBef>
              <a:spcPct val="0"/>
            </a:spcBef>
            <a:spcAft>
              <a:spcPct val="35000"/>
            </a:spcAft>
            <a:buNone/>
          </a:pPr>
          <a:r>
            <a:rPr sz="900" kern="1200" dirty="0"/>
            <a:t>Yaya </a:t>
          </a:r>
          <a:r>
            <a:rPr sz="900" kern="1200" dirty="0" err="1"/>
            <a:t>ve</a:t>
          </a:r>
          <a:r>
            <a:rPr sz="900" kern="1200" dirty="0"/>
            <a:t> </a:t>
          </a:r>
          <a:r>
            <a:rPr sz="900" kern="1200" dirty="0" err="1"/>
            <a:t>bisiklet</a:t>
          </a:r>
          <a:r>
            <a:rPr sz="900" kern="1200" dirty="0"/>
            <a:t> </a:t>
          </a:r>
          <a:r>
            <a:rPr sz="900" kern="1200" dirty="0" err="1"/>
            <a:t>altyapısının</a:t>
          </a:r>
          <a:r>
            <a:rPr sz="900" kern="1200" dirty="0"/>
            <a:t> </a:t>
          </a:r>
          <a:r>
            <a:rPr sz="900" kern="1200" dirty="0" err="1"/>
            <a:t>tasarımı</a:t>
          </a:r>
          <a:r>
            <a:rPr sz="900" kern="1200" dirty="0"/>
            <a:t>: SKUp Ankara </a:t>
          </a:r>
          <a:r>
            <a:rPr sz="900" kern="1200" dirty="0" err="1"/>
            <a:t>Kaldırımlar</a:t>
          </a:r>
          <a:r>
            <a:rPr sz="900" kern="1200" dirty="0"/>
            <a:t>, </a:t>
          </a:r>
          <a:r>
            <a:rPr sz="900" kern="1200" dirty="0" err="1"/>
            <a:t>bisiklet</a:t>
          </a:r>
          <a:r>
            <a:rPr sz="900" kern="1200" dirty="0"/>
            <a:t> </a:t>
          </a:r>
          <a:r>
            <a:rPr sz="900" kern="1200" dirty="0" err="1"/>
            <a:t>yolları</a:t>
          </a:r>
          <a:r>
            <a:rPr sz="900" kern="1200" dirty="0"/>
            <a:t> </a:t>
          </a:r>
          <a:r>
            <a:rPr sz="900" kern="1200" dirty="0" err="1"/>
            <a:t>ve</a:t>
          </a:r>
          <a:r>
            <a:rPr sz="900" kern="1200" dirty="0"/>
            <a:t> </a:t>
          </a:r>
          <a:r>
            <a:rPr sz="900" kern="1200" dirty="0" err="1"/>
            <a:t>bisiklet</a:t>
          </a:r>
          <a:r>
            <a:rPr sz="900" kern="1200" dirty="0"/>
            <a:t> </a:t>
          </a:r>
          <a:r>
            <a:rPr sz="900" kern="1200" dirty="0" err="1"/>
            <a:t>paylaşım</a:t>
          </a:r>
          <a:r>
            <a:rPr sz="900" kern="1200" dirty="0"/>
            <a:t> </a:t>
          </a:r>
          <a:r>
            <a:rPr sz="900" kern="1200" dirty="0" err="1"/>
            <a:t>sistemi</a:t>
          </a:r>
          <a:r>
            <a:rPr sz="900" kern="1200" dirty="0"/>
            <a:t> </a:t>
          </a:r>
          <a:r>
            <a:rPr sz="900" kern="1200" dirty="0" err="1"/>
            <a:t>gibi</a:t>
          </a:r>
          <a:r>
            <a:rPr sz="900" kern="1200" dirty="0"/>
            <a:t> yaya </a:t>
          </a:r>
          <a:r>
            <a:rPr sz="900" kern="1200" dirty="0" err="1"/>
            <a:t>ve</a:t>
          </a:r>
          <a:r>
            <a:rPr sz="900" kern="1200" dirty="0"/>
            <a:t> </a:t>
          </a:r>
          <a:r>
            <a:rPr sz="900" kern="1200" dirty="0" err="1"/>
            <a:t>bisiklet</a:t>
          </a:r>
          <a:r>
            <a:rPr sz="900" kern="1200" dirty="0"/>
            <a:t> </a:t>
          </a:r>
          <a:r>
            <a:rPr sz="900" kern="1200" dirty="0" err="1"/>
            <a:t>altyapısının</a:t>
          </a:r>
          <a:r>
            <a:rPr sz="900" kern="1200" dirty="0"/>
            <a:t>  </a:t>
          </a:r>
          <a:r>
            <a:rPr sz="900" kern="1200" dirty="0" err="1"/>
            <a:t>tasarımına</a:t>
          </a:r>
          <a:r>
            <a:rPr sz="900" kern="1200" dirty="0"/>
            <a:t> </a:t>
          </a:r>
          <a:r>
            <a:rPr sz="900" kern="1200" dirty="0" err="1"/>
            <a:t>ve</a:t>
          </a:r>
          <a:r>
            <a:rPr sz="900" kern="1200" dirty="0"/>
            <a:t> </a:t>
          </a:r>
          <a:r>
            <a:rPr sz="900" kern="1200" dirty="0" err="1"/>
            <a:t>geliştirilmesine</a:t>
          </a:r>
          <a:r>
            <a:rPr sz="900" kern="1200" dirty="0"/>
            <a:t> </a:t>
          </a:r>
          <a:r>
            <a:rPr sz="900" kern="1200" dirty="0" err="1"/>
            <a:t>öncelik</a:t>
          </a:r>
          <a:r>
            <a:rPr sz="900" kern="1200" dirty="0"/>
            <a:t> </a:t>
          </a:r>
          <a:r>
            <a:rPr sz="900" kern="1200" dirty="0" err="1"/>
            <a:t>verebilir</a:t>
          </a:r>
          <a:r>
            <a:rPr sz="900" kern="1200" dirty="0"/>
            <a:t>. Bu, </a:t>
          </a:r>
          <a:r>
            <a:rPr sz="900" kern="1200" dirty="0" err="1"/>
            <a:t>aktif</a:t>
          </a:r>
          <a:r>
            <a:rPr sz="900" kern="1200" dirty="0"/>
            <a:t> </a:t>
          </a:r>
          <a:r>
            <a:rPr sz="900" kern="1200" dirty="0" err="1"/>
            <a:t>ulaşım</a:t>
          </a:r>
          <a:r>
            <a:rPr sz="900" kern="1200" dirty="0"/>
            <a:t> </a:t>
          </a:r>
          <a:r>
            <a:rPr sz="900" kern="1200" dirty="0" err="1"/>
            <a:t>türleri</a:t>
          </a:r>
          <a:r>
            <a:rPr sz="900" kern="1200" dirty="0"/>
            <a:t> </a:t>
          </a:r>
          <a:r>
            <a:rPr sz="900" kern="1200" dirty="0" err="1"/>
            <a:t>için</a:t>
          </a:r>
          <a:r>
            <a:rPr sz="900" kern="1200" dirty="0"/>
            <a:t> </a:t>
          </a:r>
          <a:r>
            <a:rPr sz="900" kern="1200" dirty="0" err="1"/>
            <a:t>güvenliği</a:t>
          </a:r>
          <a:r>
            <a:rPr sz="900" kern="1200" dirty="0"/>
            <a:t> </a:t>
          </a:r>
          <a:r>
            <a:rPr sz="900" kern="1200" dirty="0" err="1"/>
            <a:t>ve</a:t>
          </a:r>
          <a:r>
            <a:rPr sz="900" kern="1200" dirty="0"/>
            <a:t> </a:t>
          </a:r>
          <a:r>
            <a:rPr sz="900" kern="1200" dirty="0" err="1"/>
            <a:t>erişilebilirliği</a:t>
          </a:r>
          <a:r>
            <a:rPr sz="900" kern="1200" dirty="0"/>
            <a:t> </a:t>
          </a:r>
          <a:r>
            <a:rPr sz="900" kern="1200" dirty="0" err="1"/>
            <a:t>artırabilir</a:t>
          </a:r>
          <a:r>
            <a:rPr sz="900" kern="1200" dirty="0"/>
            <a:t>, </a:t>
          </a:r>
          <a:r>
            <a:rPr sz="900" kern="1200" dirty="0" err="1"/>
            <a:t>daha</a:t>
          </a:r>
          <a:r>
            <a:rPr sz="900" kern="1200" dirty="0"/>
            <a:t> </a:t>
          </a:r>
          <a:r>
            <a:rPr sz="900" kern="1200" dirty="0" err="1"/>
            <a:t>sağlıklı</a:t>
          </a:r>
          <a:r>
            <a:rPr sz="900" kern="1200" dirty="0"/>
            <a:t> </a:t>
          </a:r>
          <a:r>
            <a:rPr sz="900" kern="1200" dirty="0" err="1"/>
            <a:t>yaşam</a:t>
          </a:r>
          <a:r>
            <a:rPr sz="900" kern="1200" dirty="0"/>
            <a:t> </a:t>
          </a:r>
          <a:r>
            <a:rPr sz="900" kern="1200" dirty="0" err="1"/>
            <a:t>tarzlarını</a:t>
          </a:r>
          <a:r>
            <a:rPr sz="900" kern="1200" dirty="0"/>
            <a:t> </a:t>
          </a:r>
          <a:r>
            <a:rPr sz="900" kern="1200" dirty="0" err="1"/>
            <a:t>teşvik</a:t>
          </a:r>
          <a:r>
            <a:rPr sz="900" kern="1200" dirty="0"/>
            <a:t> </a:t>
          </a:r>
          <a:r>
            <a:rPr sz="900" kern="1200" dirty="0" err="1"/>
            <a:t>edebilir</a:t>
          </a:r>
          <a:r>
            <a:rPr sz="900" kern="1200" dirty="0"/>
            <a:t> </a:t>
          </a:r>
          <a:r>
            <a:rPr sz="900" kern="1200" dirty="0" err="1"/>
            <a:t>ve</a:t>
          </a:r>
          <a:r>
            <a:rPr sz="900" kern="1200" dirty="0"/>
            <a:t> </a:t>
          </a:r>
          <a:r>
            <a:rPr sz="900" kern="1200" dirty="0" err="1"/>
            <a:t>hava</a:t>
          </a:r>
          <a:r>
            <a:rPr sz="900" kern="1200" dirty="0"/>
            <a:t> </a:t>
          </a:r>
          <a:r>
            <a:rPr sz="900" kern="1200" dirty="0" err="1"/>
            <a:t>kirliliğini</a:t>
          </a:r>
          <a:r>
            <a:rPr sz="900" kern="1200" dirty="0"/>
            <a:t> </a:t>
          </a:r>
          <a:r>
            <a:rPr sz="900" kern="1200" dirty="0" err="1"/>
            <a:t>ve</a:t>
          </a:r>
          <a:r>
            <a:rPr sz="900" kern="1200" dirty="0"/>
            <a:t> sera </a:t>
          </a:r>
          <a:r>
            <a:rPr sz="900" kern="1200" dirty="0" err="1"/>
            <a:t>gazı</a:t>
          </a:r>
          <a:r>
            <a:rPr sz="900" kern="1200" dirty="0"/>
            <a:t> </a:t>
          </a:r>
          <a:r>
            <a:rPr sz="900" kern="1200" dirty="0" err="1"/>
            <a:t>emisyonlarını</a:t>
          </a:r>
          <a:r>
            <a:rPr sz="900" kern="1200" dirty="0"/>
            <a:t> </a:t>
          </a:r>
          <a:r>
            <a:rPr sz="900" kern="1200" dirty="0" err="1"/>
            <a:t>azaltabilir</a:t>
          </a:r>
          <a:r>
            <a:rPr sz="900" kern="1200" dirty="0"/>
            <a:t>.</a:t>
          </a:r>
        </a:p>
      </dsp:txBody>
      <dsp:txXfrm>
        <a:off x="2571747" y="1306882"/>
        <a:ext cx="4934546" cy="607852"/>
      </dsp:txXfrm>
    </dsp:sp>
    <dsp:sp modelId="{3E9FEFA4-A1C9-499E-89C2-5AAA35B6F855}">
      <dsp:nvSpPr>
        <dsp:cNvPr id="0" name=""/>
        <dsp:cNvSpPr/>
      </dsp:nvSpPr>
      <dsp:spPr>
        <a:xfrm>
          <a:off x="2477456" y="1914735"/>
          <a:ext cx="5028837" cy="0"/>
        </a:xfrm>
        <a:prstGeom prst="line">
          <a:avLst/>
        </a:prstGeom>
        <a:noFill/>
        <a:ln w="6350" cap="flat" cmpd="sng" algn="ctr">
          <a:solidFill>
            <a:schemeClr val="accent2">
              <a:tint val="50000"/>
              <a:hueOff val="0"/>
              <a:satOff val="0"/>
              <a:lumOff val="0"/>
              <a:alphaOff val="0"/>
            </a:schemeClr>
          </a:solidFill>
          <a:prstDash val="solid"/>
          <a:miter lim="800000"/>
        </a:ln>
        <a:effectLst/>
      </dsp:spPr>
      <dsp:style>
        <a:lnRef idx="1">
          <a:scrgbClr r="0" g="0" b="0"/>
        </a:lnRef>
        <a:fillRef idx="0">
          <a:scrgbClr r="0" g="0" b="0"/>
        </a:fillRef>
        <a:effectRef idx="1">
          <a:scrgbClr r="0" g="0" b="0"/>
        </a:effectRef>
        <a:fontRef idx="minor"/>
      </dsp:style>
    </dsp:sp>
    <dsp:sp modelId="{4FCD38E1-806A-49B7-B941-372A7CEB0362}">
      <dsp:nvSpPr>
        <dsp:cNvPr id="0" name=""/>
        <dsp:cNvSpPr/>
      </dsp:nvSpPr>
      <dsp:spPr>
        <a:xfrm>
          <a:off x="0" y="1945128"/>
          <a:ext cx="7510982" cy="0"/>
        </a:xfrm>
        <a:prstGeom prst="line">
          <a:avLst/>
        </a:prstGeom>
        <a:gradFill rotWithShape="0">
          <a:gsLst>
            <a:gs pos="0">
              <a:schemeClr val="accent2">
                <a:hueOff val="-1455363"/>
                <a:satOff val="-83928"/>
                <a:lumOff val="8628"/>
                <a:alphaOff val="0"/>
                <a:satMod val="103000"/>
                <a:lumMod val="102000"/>
                <a:tint val="94000"/>
              </a:schemeClr>
            </a:gs>
            <a:gs pos="50000">
              <a:schemeClr val="accent2">
                <a:hueOff val="-1455363"/>
                <a:satOff val="-83928"/>
                <a:lumOff val="8628"/>
                <a:alphaOff val="0"/>
                <a:satMod val="110000"/>
                <a:lumMod val="100000"/>
                <a:shade val="100000"/>
              </a:schemeClr>
            </a:gs>
            <a:gs pos="100000">
              <a:schemeClr val="accent2">
                <a:hueOff val="-1455363"/>
                <a:satOff val="-83928"/>
                <a:lumOff val="8628"/>
                <a:alphaOff val="0"/>
                <a:lumMod val="99000"/>
                <a:satMod val="120000"/>
                <a:shade val="78000"/>
              </a:schemeClr>
            </a:gs>
          </a:gsLst>
          <a:lin ang="5400000" scaled="0"/>
        </a:gradFill>
        <a:ln w="6350" cap="flat" cmpd="sng" algn="ctr">
          <a:solidFill>
            <a:schemeClr val="accent2">
              <a:hueOff val="-1455363"/>
              <a:satOff val="-83928"/>
              <a:lumOff val="8628"/>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53F5A3F9-9B3D-40F2-B133-A0031EF22358}">
      <dsp:nvSpPr>
        <dsp:cNvPr id="0" name=""/>
        <dsp:cNvSpPr/>
      </dsp:nvSpPr>
      <dsp:spPr>
        <a:xfrm>
          <a:off x="0" y="1945128"/>
          <a:ext cx="2543744" cy="19451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sz="1300" kern="1200" dirty="0" err="1"/>
            <a:t>Genel</a:t>
          </a:r>
          <a:r>
            <a:rPr sz="1300" kern="1200" dirty="0"/>
            <a:t> </a:t>
          </a:r>
          <a:r>
            <a:rPr sz="1300" kern="1200" dirty="0" err="1"/>
            <a:t>olarak</a:t>
          </a:r>
          <a:r>
            <a:rPr sz="1300" kern="1200" dirty="0"/>
            <a:t>, </a:t>
          </a:r>
          <a:r>
            <a:rPr sz="1300" kern="1200" dirty="0" err="1"/>
            <a:t>kentsel</a:t>
          </a:r>
          <a:r>
            <a:rPr sz="1300" kern="1200" dirty="0"/>
            <a:t> </a:t>
          </a:r>
          <a:r>
            <a:rPr sz="1300" kern="1200" dirty="0" err="1"/>
            <a:t>planlama</a:t>
          </a:r>
          <a:r>
            <a:rPr sz="1300" kern="1200" dirty="0"/>
            <a:t> </a:t>
          </a:r>
          <a:r>
            <a:rPr sz="1300" kern="1200" dirty="0" err="1"/>
            <a:t>ve</a:t>
          </a:r>
          <a:r>
            <a:rPr sz="1300" kern="1200" dirty="0"/>
            <a:t> </a:t>
          </a:r>
          <a:r>
            <a:rPr sz="1300" kern="1200" dirty="0" err="1"/>
            <a:t>arazi</a:t>
          </a:r>
          <a:r>
            <a:rPr sz="1300" kern="1200" dirty="0"/>
            <a:t> </a:t>
          </a:r>
          <a:r>
            <a:rPr sz="1300" kern="1200" dirty="0" err="1"/>
            <a:t>kullanımının</a:t>
          </a:r>
          <a:r>
            <a:rPr sz="1300" kern="1200" dirty="0"/>
            <a:t> </a:t>
          </a:r>
          <a:r>
            <a:rPr sz="1300" kern="1200" dirty="0" err="1"/>
            <a:t>ulaşım</a:t>
          </a:r>
          <a:r>
            <a:rPr sz="1300" kern="1200" dirty="0"/>
            <a:t> </a:t>
          </a:r>
          <a:r>
            <a:rPr sz="1300" kern="1200" dirty="0" err="1"/>
            <a:t>planlamasına</a:t>
          </a:r>
          <a:r>
            <a:rPr sz="1300" kern="1200" dirty="0"/>
            <a:t> </a:t>
          </a:r>
          <a:r>
            <a:rPr sz="1300" kern="1200" dirty="0" err="1"/>
            <a:t>entegre</a:t>
          </a:r>
          <a:r>
            <a:rPr sz="1300" kern="1200" dirty="0"/>
            <a:t> </a:t>
          </a:r>
          <a:r>
            <a:rPr sz="1300" kern="1200" dirty="0" err="1"/>
            <a:t>edilmesi</a:t>
          </a:r>
          <a:r>
            <a:rPr sz="1300" kern="1200" dirty="0"/>
            <a:t>, </a:t>
          </a:r>
          <a:r>
            <a:rPr lang="en-US" sz="1300" kern="1200" dirty="0"/>
            <a:t>SKUp</a:t>
          </a:r>
          <a:r>
            <a:rPr sz="1300" kern="1200" dirty="0"/>
            <a:t> </a:t>
          </a:r>
          <a:r>
            <a:rPr sz="1300" kern="1200" dirty="0" err="1"/>
            <a:t>Ankara'da</a:t>
          </a:r>
          <a:r>
            <a:rPr sz="1300" kern="1200" dirty="0"/>
            <a:t> </a:t>
          </a:r>
          <a:r>
            <a:rPr sz="1300" kern="1200" dirty="0" err="1"/>
            <a:t>sürdürülebilir</a:t>
          </a:r>
          <a:r>
            <a:rPr sz="1300" kern="1200" dirty="0"/>
            <a:t> </a:t>
          </a:r>
          <a:r>
            <a:rPr sz="1300" kern="1200" dirty="0" err="1"/>
            <a:t>kalkınmayı</a:t>
          </a:r>
          <a:r>
            <a:rPr sz="1300" kern="1200" dirty="0"/>
            <a:t> </a:t>
          </a:r>
          <a:r>
            <a:rPr sz="1300" kern="1200" dirty="0" err="1"/>
            <a:t>teşvik</a:t>
          </a:r>
          <a:r>
            <a:rPr sz="1300" kern="1200" dirty="0"/>
            <a:t> </a:t>
          </a:r>
          <a:r>
            <a:rPr sz="1300" kern="1200" dirty="0" err="1"/>
            <a:t>etmek</a:t>
          </a:r>
          <a:r>
            <a:rPr sz="1300" kern="1200" dirty="0"/>
            <a:t> </a:t>
          </a:r>
          <a:r>
            <a:rPr sz="1300" kern="1200" dirty="0" err="1"/>
            <a:t>için</a:t>
          </a:r>
          <a:r>
            <a:rPr sz="1300" kern="1200" dirty="0"/>
            <a:t> </a:t>
          </a:r>
          <a:r>
            <a:rPr sz="1300" kern="1200" dirty="0" err="1"/>
            <a:t>çok</a:t>
          </a:r>
          <a:r>
            <a:rPr sz="1300" kern="1200" dirty="0"/>
            <a:t> </a:t>
          </a:r>
          <a:r>
            <a:rPr sz="1300" kern="1200" dirty="0" err="1"/>
            <a:t>önemlidir</a:t>
          </a:r>
          <a:r>
            <a:rPr sz="1300" kern="1200" dirty="0"/>
            <a:t>. Kentsel </a:t>
          </a:r>
          <a:r>
            <a:rPr sz="1300" kern="1200" dirty="0" err="1"/>
            <a:t>planlamaya</a:t>
          </a:r>
          <a:r>
            <a:rPr sz="1300" kern="1200" dirty="0"/>
            <a:t> </a:t>
          </a:r>
          <a:r>
            <a:rPr sz="1300" kern="1200" dirty="0" err="1"/>
            <a:t>bütünsel</a:t>
          </a:r>
          <a:r>
            <a:rPr sz="1300" kern="1200" dirty="0"/>
            <a:t> </a:t>
          </a:r>
          <a:r>
            <a:rPr sz="1300" kern="1200" dirty="0" err="1"/>
            <a:t>bir</a:t>
          </a:r>
          <a:r>
            <a:rPr sz="1300" kern="1200" dirty="0"/>
            <a:t> </a:t>
          </a:r>
          <a:r>
            <a:rPr sz="1300" kern="1200" dirty="0" err="1"/>
            <a:t>yaklaşım</a:t>
          </a:r>
          <a:r>
            <a:rPr sz="1300" kern="1200" dirty="0"/>
            <a:t> </a:t>
          </a:r>
          <a:r>
            <a:rPr sz="1300" kern="1200" dirty="0" err="1"/>
            <a:t>benimseyerek</a:t>
          </a:r>
          <a:r>
            <a:rPr sz="1300" kern="1200" dirty="0"/>
            <a:t> </a:t>
          </a:r>
          <a:r>
            <a:rPr sz="1300" kern="1200" dirty="0" err="1"/>
            <a:t>şehir</a:t>
          </a:r>
          <a:r>
            <a:rPr sz="1300" kern="1200" dirty="0"/>
            <a:t> </a:t>
          </a:r>
          <a:r>
            <a:rPr sz="1300" kern="1200" dirty="0" err="1"/>
            <a:t>sakinlerinin</a:t>
          </a:r>
          <a:r>
            <a:rPr sz="1300" kern="1200" dirty="0"/>
            <a:t> </a:t>
          </a:r>
          <a:r>
            <a:rPr sz="1300" kern="1200" dirty="0" err="1"/>
            <a:t>refahını</a:t>
          </a:r>
          <a:r>
            <a:rPr sz="1300" kern="1200" dirty="0"/>
            <a:t> </a:t>
          </a:r>
          <a:r>
            <a:rPr sz="1300" kern="1200" dirty="0" err="1"/>
            <a:t>artıran</a:t>
          </a:r>
          <a:r>
            <a:rPr sz="1300" kern="1200" dirty="0"/>
            <a:t> </a:t>
          </a:r>
          <a:r>
            <a:rPr sz="1300" kern="1200" dirty="0" err="1"/>
            <a:t>ve</a:t>
          </a:r>
          <a:r>
            <a:rPr sz="1300" kern="1200" dirty="0"/>
            <a:t> </a:t>
          </a:r>
          <a:r>
            <a:rPr sz="1300" kern="1200" dirty="0" err="1"/>
            <a:t>koruyan</a:t>
          </a:r>
          <a:r>
            <a:rPr sz="1300" kern="1200" dirty="0"/>
            <a:t> </a:t>
          </a:r>
          <a:r>
            <a:rPr sz="1300" kern="1200" dirty="0" err="1"/>
            <a:t>yaşanabilir</a:t>
          </a:r>
          <a:r>
            <a:rPr sz="1300" kern="1200" dirty="0"/>
            <a:t>, </a:t>
          </a:r>
          <a:r>
            <a:rPr sz="1300" kern="1200" dirty="0" err="1"/>
            <a:t>canlı</a:t>
          </a:r>
          <a:r>
            <a:rPr sz="1300" kern="1200" dirty="0"/>
            <a:t> </a:t>
          </a:r>
          <a:r>
            <a:rPr sz="1300" kern="1200" dirty="0" err="1"/>
            <a:t>ve</a:t>
          </a:r>
          <a:r>
            <a:rPr sz="1300" kern="1200" dirty="0"/>
            <a:t> </a:t>
          </a:r>
          <a:r>
            <a:rPr sz="1300" kern="1200" dirty="0" err="1"/>
            <a:t>sürdürülebilir</a:t>
          </a:r>
          <a:r>
            <a:rPr sz="1300" kern="1200" dirty="0"/>
            <a:t> </a:t>
          </a:r>
          <a:r>
            <a:rPr sz="1300" kern="1200" dirty="0" err="1"/>
            <a:t>topluluklar</a:t>
          </a:r>
          <a:r>
            <a:rPr sz="1300" kern="1200" dirty="0"/>
            <a:t> </a:t>
          </a:r>
          <a:r>
            <a:rPr sz="1300" kern="1200" dirty="0" err="1"/>
            <a:t>yaratabilir</a:t>
          </a:r>
          <a:r>
            <a:rPr sz="1300" kern="1200" dirty="0"/>
            <a:t>.</a:t>
          </a:r>
          <a:endParaRPr lang="en-US" sz="1300" kern="1200" dirty="0"/>
        </a:p>
      </dsp:txBody>
      <dsp:txXfrm>
        <a:off x="0" y="1945128"/>
        <a:ext cx="2543744" cy="1945127"/>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0F088B-7D6A-41E6-AA5F-522B40C2E799}">
      <dsp:nvSpPr>
        <dsp:cNvPr id="0" name=""/>
        <dsp:cNvSpPr/>
      </dsp:nvSpPr>
      <dsp:spPr>
        <a:xfrm>
          <a:off x="2636784" y="1812466"/>
          <a:ext cx="1393263" cy="1393263"/>
        </a:xfrm>
        <a:prstGeom prst="ellips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2889250">
            <a:lnSpc>
              <a:spcPct val="90000"/>
            </a:lnSpc>
            <a:spcBef>
              <a:spcPct val="0"/>
            </a:spcBef>
            <a:spcAft>
              <a:spcPct val="35000"/>
            </a:spcAft>
            <a:buNone/>
            <a:defRPr sz="700"/>
          </a:pPr>
          <a:r>
            <a:rPr kern="1200" dirty="0" err="1"/>
            <a:t>Ulaşılması</a:t>
          </a:r>
          <a:r>
            <a:rPr kern="1200" dirty="0"/>
            <a:t> </a:t>
          </a:r>
          <a:r>
            <a:rPr kern="1200" dirty="0" err="1"/>
            <a:t>gereken</a:t>
          </a:r>
          <a:r>
            <a:rPr kern="1200" dirty="0"/>
            <a:t> </a:t>
          </a:r>
          <a:r>
            <a:rPr kern="1200" dirty="0" err="1"/>
            <a:t>hedefler</a:t>
          </a:r>
          <a:r>
            <a:rPr kern="1200" dirty="0"/>
            <a:t>:</a:t>
          </a:r>
          <a:endParaRPr lang="en-US" sz="700" kern="1200" dirty="0"/>
        </a:p>
      </dsp:txBody>
      <dsp:txXfrm>
        <a:off x="2840823" y="2016505"/>
        <a:ext cx="985185" cy="985185"/>
      </dsp:txXfrm>
    </dsp:sp>
    <dsp:sp modelId="{11CDC03E-2ABA-4E51-82C8-4601791B6313}">
      <dsp:nvSpPr>
        <dsp:cNvPr id="0" name=""/>
        <dsp:cNvSpPr/>
      </dsp:nvSpPr>
      <dsp:spPr>
        <a:xfrm rot="16200000">
          <a:off x="3185950" y="1305720"/>
          <a:ext cx="294931" cy="473709"/>
        </a:xfrm>
        <a:prstGeom prst="rightArrow">
          <a:avLst>
            <a:gd name="adj1" fmla="val 60000"/>
            <a:gd name="adj2" fmla="val 50000"/>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3230190" y="1444702"/>
        <a:ext cx="206452" cy="284225"/>
      </dsp:txXfrm>
    </dsp:sp>
    <dsp:sp modelId="{1A0BF95E-8311-4472-9096-905E11661470}">
      <dsp:nvSpPr>
        <dsp:cNvPr id="0" name=""/>
        <dsp:cNvSpPr/>
      </dsp:nvSpPr>
      <dsp:spPr>
        <a:xfrm>
          <a:off x="2706447" y="2053"/>
          <a:ext cx="1253937" cy="1253937"/>
        </a:xfrm>
        <a:prstGeom prst="ellipse">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2889250">
            <a:lnSpc>
              <a:spcPct val="90000"/>
            </a:lnSpc>
            <a:spcBef>
              <a:spcPct val="0"/>
            </a:spcBef>
            <a:spcAft>
              <a:spcPct val="35000"/>
            </a:spcAft>
            <a:buNone/>
            <a:defRPr sz="600"/>
          </a:pPr>
          <a:r>
            <a:rPr kern="1200"/>
            <a:t>Ulaşım türlerinin optimizasyonu</a:t>
          </a:r>
          <a:endParaRPr lang="en-US" sz="600" kern="1200" dirty="0"/>
        </a:p>
      </dsp:txBody>
      <dsp:txXfrm>
        <a:off x="2890082" y="185688"/>
        <a:ext cx="886667" cy="886667"/>
      </dsp:txXfrm>
    </dsp:sp>
    <dsp:sp modelId="{746AFD0D-8830-4F5C-8CF8-4ACA24641F06}">
      <dsp:nvSpPr>
        <dsp:cNvPr id="0" name=""/>
        <dsp:cNvSpPr/>
      </dsp:nvSpPr>
      <dsp:spPr>
        <a:xfrm rot="19285714">
          <a:off x="3941608" y="1669626"/>
          <a:ext cx="294931" cy="473709"/>
        </a:xfrm>
        <a:prstGeom prst="rightArrow">
          <a:avLst>
            <a:gd name="adj1" fmla="val 60000"/>
            <a:gd name="adj2" fmla="val 50000"/>
          </a:avLst>
        </a:prstGeom>
        <a:gradFill rotWithShape="0">
          <a:gsLst>
            <a:gs pos="0">
              <a:schemeClr val="accent3">
                <a:hueOff val="451767"/>
                <a:satOff val="16667"/>
                <a:lumOff val="-2451"/>
                <a:alphaOff val="0"/>
                <a:satMod val="103000"/>
                <a:lumMod val="102000"/>
                <a:tint val="94000"/>
              </a:schemeClr>
            </a:gs>
            <a:gs pos="50000">
              <a:schemeClr val="accent3">
                <a:hueOff val="451767"/>
                <a:satOff val="16667"/>
                <a:lumOff val="-2451"/>
                <a:alphaOff val="0"/>
                <a:satMod val="110000"/>
                <a:lumMod val="100000"/>
                <a:shade val="100000"/>
              </a:schemeClr>
            </a:gs>
            <a:gs pos="100000">
              <a:schemeClr val="accent3">
                <a:hueOff val="451767"/>
                <a:satOff val="16667"/>
                <a:lumOff val="-2451"/>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3951260" y="1791951"/>
        <a:ext cx="206452" cy="284225"/>
      </dsp:txXfrm>
    </dsp:sp>
    <dsp:sp modelId="{042B56DB-3831-42CA-B43A-E0BD0427B166}">
      <dsp:nvSpPr>
        <dsp:cNvPr id="0" name=""/>
        <dsp:cNvSpPr/>
      </dsp:nvSpPr>
      <dsp:spPr>
        <a:xfrm>
          <a:off x="4176349" y="709921"/>
          <a:ext cx="1253937" cy="1253937"/>
        </a:xfrm>
        <a:prstGeom prst="ellipse">
          <a:avLst/>
        </a:prstGeom>
        <a:gradFill rotWithShape="0">
          <a:gsLst>
            <a:gs pos="0">
              <a:schemeClr val="accent3">
                <a:hueOff val="451767"/>
                <a:satOff val="16667"/>
                <a:lumOff val="-2451"/>
                <a:alphaOff val="0"/>
                <a:satMod val="103000"/>
                <a:lumMod val="102000"/>
                <a:tint val="94000"/>
              </a:schemeClr>
            </a:gs>
            <a:gs pos="50000">
              <a:schemeClr val="accent3">
                <a:hueOff val="451767"/>
                <a:satOff val="16667"/>
                <a:lumOff val="-2451"/>
                <a:alphaOff val="0"/>
                <a:satMod val="110000"/>
                <a:lumMod val="100000"/>
                <a:shade val="100000"/>
              </a:schemeClr>
            </a:gs>
            <a:gs pos="100000">
              <a:schemeClr val="accent3">
                <a:hueOff val="451767"/>
                <a:satOff val="16667"/>
                <a:lumOff val="-2451"/>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2889250">
            <a:lnSpc>
              <a:spcPct val="90000"/>
            </a:lnSpc>
            <a:spcBef>
              <a:spcPct val="0"/>
            </a:spcBef>
            <a:spcAft>
              <a:spcPct val="35000"/>
            </a:spcAft>
            <a:buNone/>
            <a:defRPr sz="600"/>
          </a:pPr>
          <a:r>
            <a:rPr kern="1200"/>
            <a:t>Teslimat verimliliğininin artırılması</a:t>
          </a:r>
          <a:endParaRPr lang="en-US" sz="600" kern="1200" dirty="0"/>
        </a:p>
      </dsp:txBody>
      <dsp:txXfrm>
        <a:off x="4359984" y="893556"/>
        <a:ext cx="886667" cy="886667"/>
      </dsp:txXfrm>
    </dsp:sp>
    <dsp:sp modelId="{C5221945-F6FB-4329-8B7A-F55FB1D88095}">
      <dsp:nvSpPr>
        <dsp:cNvPr id="0" name=""/>
        <dsp:cNvSpPr/>
      </dsp:nvSpPr>
      <dsp:spPr>
        <a:xfrm rot="771429">
          <a:off x="4128240" y="2487314"/>
          <a:ext cx="294931" cy="473709"/>
        </a:xfrm>
        <a:prstGeom prst="rightArrow">
          <a:avLst>
            <a:gd name="adj1" fmla="val 60000"/>
            <a:gd name="adj2" fmla="val 50000"/>
          </a:avLst>
        </a:prstGeom>
        <a:gradFill rotWithShape="0">
          <a:gsLst>
            <a:gs pos="0">
              <a:schemeClr val="accent3">
                <a:hueOff val="903533"/>
                <a:satOff val="33333"/>
                <a:lumOff val="-4902"/>
                <a:alphaOff val="0"/>
                <a:satMod val="103000"/>
                <a:lumMod val="102000"/>
                <a:tint val="94000"/>
              </a:schemeClr>
            </a:gs>
            <a:gs pos="50000">
              <a:schemeClr val="accent3">
                <a:hueOff val="903533"/>
                <a:satOff val="33333"/>
                <a:lumOff val="-4902"/>
                <a:alphaOff val="0"/>
                <a:satMod val="110000"/>
                <a:lumMod val="100000"/>
                <a:shade val="100000"/>
              </a:schemeClr>
            </a:gs>
            <a:gs pos="100000">
              <a:schemeClr val="accent3">
                <a:hueOff val="903533"/>
                <a:satOff val="33333"/>
                <a:lumOff val="-4902"/>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4129349" y="2572212"/>
        <a:ext cx="206452" cy="284225"/>
      </dsp:txXfrm>
    </dsp:sp>
    <dsp:sp modelId="{AD4265B2-C067-4D64-8696-C08CD5721A83}">
      <dsp:nvSpPr>
        <dsp:cNvPr id="0" name=""/>
        <dsp:cNvSpPr/>
      </dsp:nvSpPr>
      <dsp:spPr>
        <a:xfrm>
          <a:off x="4539385" y="2300485"/>
          <a:ext cx="1253937" cy="1253937"/>
        </a:xfrm>
        <a:prstGeom prst="ellipse">
          <a:avLst/>
        </a:prstGeom>
        <a:gradFill rotWithShape="0">
          <a:gsLst>
            <a:gs pos="0">
              <a:schemeClr val="accent3">
                <a:hueOff val="903533"/>
                <a:satOff val="33333"/>
                <a:lumOff val="-4902"/>
                <a:alphaOff val="0"/>
                <a:satMod val="103000"/>
                <a:lumMod val="102000"/>
                <a:tint val="94000"/>
              </a:schemeClr>
            </a:gs>
            <a:gs pos="50000">
              <a:schemeClr val="accent3">
                <a:hueOff val="903533"/>
                <a:satOff val="33333"/>
                <a:lumOff val="-4902"/>
                <a:alphaOff val="0"/>
                <a:satMod val="110000"/>
                <a:lumMod val="100000"/>
                <a:shade val="100000"/>
              </a:schemeClr>
            </a:gs>
            <a:gs pos="100000">
              <a:schemeClr val="accent3">
                <a:hueOff val="903533"/>
                <a:satOff val="33333"/>
                <a:lumOff val="-4902"/>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2889250">
            <a:lnSpc>
              <a:spcPct val="90000"/>
            </a:lnSpc>
            <a:spcBef>
              <a:spcPct val="0"/>
            </a:spcBef>
            <a:spcAft>
              <a:spcPct val="35000"/>
            </a:spcAft>
            <a:buNone/>
            <a:defRPr sz="600"/>
          </a:pPr>
          <a:r>
            <a:rPr kern="1200"/>
            <a:t>Taşımacılıkla ilgili dışsallıkların azaltılması</a:t>
          </a:r>
          <a:endParaRPr lang="en-US" sz="600" kern="1200" dirty="0"/>
        </a:p>
      </dsp:txBody>
      <dsp:txXfrm>
        <a:off x="4723020" y="2484120"/>
        <a:ext cx="886667" cy="886667"/>
      </dsp:txXfrm>
    </dsp:sp>
    <dsp:sp modelId="{E6F92E13-8ABA-4AF1-B034-CA183BD8D98F}">
      <dsp:nvSpPr>
        <dsp:cNvPr id="0" name=""/>
        <dsp:cNvSpPr/>
      </dsp:nvSpPr>
      <dsp:spPr>
        <a:xfrm rot="3857143">
          <a:off x="3605308" y="3143049"/>
          <a:ext cx="294931" cy="473709"/>
        </a:xfrm>
        <a:prstGeom prst="rightArrow">
          <a:avLst>
            <a:gd name="adj1" fmla="val 60000"/>
            <a:gd name="adj2" fmla="val 50000"/>
          </a:avLst>
        </a:prstGeom>
        <a:gradFill rotWithShape="0">
          <a:gsLst>
            <a:gs pos="0">
              <a:schemeClr val="accent3">
                <a:hueOff val="1355300"/>
                <a:satOff val="50000"/>
                <a:lumOff val="-7353"/>
                <a:alphaOff val="0"/>
                <a:satMod val="103000"/>
                <a:lumMod val="102000"/>
                <a:tint val="94000"/>
              </a:schemeClr>
            </a:gs>
            <a:gs pos="50000">
              <a:schemeClr val="accent3">
                <a:hueOff val="1355300"/>
                <a:satOff val="50000"/>
                <a:lumOff val="-7353"/>
                <a:alphaOff val="0"/>
                <a:satMod val="110000"/>
                <a:lumMod val="100000"/>
                <a:shade val="100000"/>
              </a:schemeClr>
            </a:gs>
            <a:gs pos="100000">
              <a:schemeClr val="accent3">
                <a:hueOff val="1355300"/>
                <a:satOff val="50000"/>
                <a:lumOff val="-7353"/>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a:off x="3630353" y="3197933"/>
        <a:ext cx="206452" cy="284225"/>
      </dsp:txXfrm>
    </dsp:sp>
    <dsp:sp modelId="{7B1DCA24-3533-46F5-9135-15BD181E5993}">
      <dsp:nvSpPr>
        <dsp:cNvPr id="0" name=""/>
        <dsp:cNvSpPr/>
      </dsp:nvSpPr>
      <dsp:spPr>
        <a:xfrm>
          <a:off x="3522181" y="3576018"/>
          <a:ext cx="1253937" cy="1253937"/>
        </a:xfrm>
        <a:prstGeom prst="ellipse">
          <a:avLst/>
        </a:prstGeom>
        <a:gradFill rotWithShape="0">
          <a:gsLst>
            <a:gs pos="0">
              <a:schemeClr val="accent3">
                <a:hueOff val="1355300"/>
                <a:satOff val="50000"/>
                <a:lumOff val="-7353"/>
                <a:alphaOff val="0"/>
                <a:satMod val="103000"/>
                <a:lumMod val="102000"/>
                <a:tint val="94000"/>
              </a:schemeClr>
            </a:gs>
            <a:gs pos="50000">
              <a:schemeClr val="accent3">
                <a:hueOff val="1355300"/>
                <a:satOff val="50000"/>
                <a:lumOff val="-7353"/>
                <a:alphaOff val="0"/>
                <a:satMod val="110000"/>
                <a:lumMod val="100000"/>
                <a:shade val="100000"/>
              </a:schemeClr>
            </a:gs>
            <a:gs pos="100000">
              <a:schemeClr val="accent3">
                <a:hueOff val="1355300"/>
                <a:satOff val="50000"/>
                <a:lumOff val="-7353"/>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2889250">
            <a:lnSpc>
              <a:spcPct val="90000"/>
            </a:lnSpc>
            <a:spcBef>
              <a:spcPct val="0"/>
            </a:spcBef>
            <a:spcAft>
              <a:spcPct val="35000"/>
            </a:spcAft>
            <a:buNone/>
            <a:defRPr sz="600"/>
          </a:pPr>
          <a:r>
            <a:rPr kern="1200"/>
            <a:t>Kentsel gelişim hedeflerinin desteklenmesi</a:t>
          </a:r>
          <a:endParaRPr lang="en-US" sz="600" kern="1200" dirty="0"/>
        </a:p>
      </dsp:txBody>
      <dsp:txXfrm>
        <a:off x="3705816" y="3759653"/>
        <a:ext cx="886667" cy="886667"/>
      </dsp:txXfrm>
    </dsp:sp>
    <dsp:sp modelId="{754EE1F2-756D-41E5-9859-AA6CF6AE86B3}">
      <dsp:nvSpPr>
        <dsp:cNvPr id="0" name=""/>
        <dsp:cNvSpPr/>
      </dsp:nvSpPr>
      <dsp:spPr>
        <a:xfrm rot="6942857">
          <a:off x="2766592" y="3143049"/>
          <a:ext cx="294931" cy="473709"/>
        </a:xfrm>
        <a:prstGeom prst="rightArrow">
          <a:avLst>
            <a:gd name="adj1" fmla="val 60000"/>
            <a:gd name="adj2" fmla="val 50000"/>
          </a:avLst>
        </a:prstGeom>
        <a:gradFill rotWithShape="0">
          <a:gsLst>
            <a:gs pos="0">
              <a:schemeClr val="accent3">
                <a:hueOff val="1807066"/>
                <a:satOff val="66667"/>
                <a:lumOff val="-9804"/>
                <a:alphaOff val="0"/>
                <a:satMod val="103000"/>
                <a:lumMod val="102000"/>
                <a:tint val="94000"/>
              </a:schemeClr>
            </a:gs>
            <a:gs pos="50000">
              <a:schemeClr val="accent3">
                <a:hueOff val="1807066"/>
                <a:satOff val="66667"/>
                <a:lumOff val="-9804"/>
                <a:alphaOff val="0"/>
                <a:satMod val="110000"/>
                <a:lumMod val="100000"/>
                <a:shade val="100000"/>
              </a:schemeClr>
            </a:gs>
            <a:gs pos="100000">
              <a:schemeClr val="accent3">
                <a:hueOff val="1807066"/>
                <a:satOff val="66667"/>
                <a:lumOff val="-9804"/>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2830026" y="3197933"/>
        <a:ext cx="206452" cy="284225"/>
      </dsp:txXfrm>
    </dsp:sp>
    <dsp:sp modelId="{BF70E5A3-C770-4DC4-9149-7F452C154F9C}">
      <dsp:nvSpPr>
        <dsp:cNvPr id="0" name=""/>
        <dsp:cNvSpPr/>
      </dsp:nvSpPr>
      <dsp:spPr>
        <a:xfrm>
          <a:off x="1890713" y="3576018"/>
          <a:ext cx="1253937" cy="1253937"/>
        </a:xfrm>
        <a:prstGeom prst="ellipse">
          <a:avLst/>
        </a:prstGeom>
        <a:gradFill rotWithShape="0">
          <a:gsLst>
            <a:gs pos="0">
              <a:schemeClr val="accent3">
                <a:hueOff val="1807066"/>
                <a:satOff val="66667"/>
                <a:lumOff val="-9804"/>
                <a:alphaOff val="0"/>
                <a:satMod val="103000"/>
                <a:lumMod val="102000"/>
                <a:tint val="94000"/>
              </a:schemeClr>
            </a:gs>
            <a:gs pos="50000">
              <a:schemeClr val="accent3">
                <a:hueOff val="1807066"/>
                <a:satOff val="66667"/>
                <a:lumOff val="-9804"/>
                <a:alphaOff val="0"/>
                <a:satMod val="110000"/>
                <a:lumMod val="100000"/>
                <a:shade val="100000"/>
              </a:schemeClr>
            </a:gs>
            <a:gs pos="100000">
              <a:schemeClr val="accent3">
                <a:hueOff val="1807066"/>
                <a:satOff val="66667"/>
                <a:lumOff val="-9804"/>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2889250">
            <a:lnSpc>
              <a:spcPct val="90000"/>
            </a:lnSpc>
            <a:spcBef>
              <a:spcPct val="0"/>
            </a:spcBef>
            <a:spcAft>
              <a:spcPct val="35000"/>
            </a:spcAft>
            <a:buNone/>
            <a:defRPr sz="600"/>
          </a:pPr>
          <a:r>
            <a:rPr kern="1200"/>
            <a:t>Modelleme, simülasyon ve performans ölçümü gibi çeşitli yöntemleri kullanarak şehir lojistik ulaşım sistemlerininin değerlendirilmesi ve optimize edilmesi</a:t>
          </a:r>
          <a:endParaRPr lang="en-US" sz="600" kern="1200" dirty="0"/>
        </a:p>
      </dsp:txBody>
      <dsp:txXfrm>
        <a:off x="2074348" y="3759653"/>
        <a:ext cx="886667" cy="886667"/>
      </dsp:txXfrm>
    </dsp:sp>
    <dsp:sp modelId="{3C3982BA-6C15-496F-80CB-55AEAC159356}">
      <dsp:nvSpPr>
        <dsp:cNvPr id="0" name=""/>
        <dsp:cNvSpPr/>
      </dsp:nvSpPr>
      <dsp:spPr>
        <a:xfrm rot="10028571">
          <a:off x="2243661" y="2487314"/>
          <a:ext cx="294931" cy="473709"/>
        </a:xfrm>
        <a:prstGeom prst="rightArrow">
          <a:avLst>
            <a:gd name="adj1" fmla="val 60000"/>
            <a:gd name="adj2" fmla="val 50000"/>
          </a:avLst>
        </a:prstGeom>
        <a:gradFill rotWithShape="0">
          <a:gsLst>
            <a:gs pos="0">
              <a:schemeClr val="accent3">
                <a:hueOff val="2258833"/>
                <a:satOff val="83333"/>
                <a:lumOff val="-12255"/>
                <a:alphaOff val="0"/>
                <a:satMod val="103000"/>
                <a:lumMod val="102000"/>
                <a:tint val="94000"/>
              </a:schemeClr>
            </a:gs>
            <a:gs pos="50000">
              <a:schemeClr val="accent3">
                <a:hueOff val="2258833"/>
                <a:satOff val="83333"/>
                <a:lumOff val="-12255"/>
                <a:alphaOff val="0"/>
                <a:satMod val="110000"/>
                <a:lumMod val="100000"/>
                <a:shade val="100000"/>
              </a:schemeClr>
            </a:gs>
            <a:gs pos="100000">
              <a:schemeClr val="accent3">
                <a:hueOff val="2258833"/>
                <a:satOff val="83333"/>
                <a:lumOff val="-12255"/>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2331031" y="2572212"/>
        <a:ext cx="206452" cy="284225"/>
      </dsp:txXfrm>
    </dsp:sp>
    <dsp:sp modelId="{8F277D05-DEB1-454B-B16A-B94E80ED339F}">
      <dsp:nvSpPr>
        <dsp:cNvPr id="0" name=""/>
        <dsp:cNvSpPr/>
      </dsp:nvSpPr>
      <dsp:spPr>
        <a:xfrm>
          <a:off x="873509" y="2300485"/>
          <a:ext cx="1253937" cy="1253937"/>
        </a:xfrm>
        <a:prstGeom prst="ellipse">
          <a:avLst/>
        </a:prstGeom>
        <a:gradFill rotWithShape="0">
          <a:gsLst>
            <a:gs pos="0">
              <a:schemeClr val="accent3">
                <a:hueOff val="2258833"/>
                <a:satOff val="83333"/>
                <a:lumOff val="-12255"/>
                <a:alphaOff val="0"/>
                <a:satMod val="103000"/>
                <a:lumMod val="102000"/>
                <a:tint val="94000"/>
              </a:schemeClr>
            </a:gs>
            <a:gs pos="50000">
              <a:schemeClr val="accent3">
                <a:hueOff val="2258833"/>
                <a:satOff val="83333"/>
                <a:lumOff val="-12255"/>
                <a:alphaOff val="0"/>
                <a:satMod val="110000"/>
                <a:lumMod val="100000"/>
                <a:shade val="100000"/>
              </a:schemeClr>
            </a:gs>
            <a:gs pos="100000">
              <a:schemeClr val="accent3">
                <a:hueOff val="2258833"/>
                <a:satOff val="83333"/>
                <a:lumOff val="-12255"/>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2889250">
            <a:lnSpc>
              <a:spcPct val="90000"/>
            </a:lnSpc>
            <a:spcBef>
              <a:spcPct val="0"/>
            </a:spcBef>
            <a:spcAft>
              <a:spcPct val="35000"/>
            </a:spcAft>
            <a:buNone/>
            <a:defRPr sz="600"/>
          </a:pPr>
          <a:r>
            <a:rPr kern="1200" dirty="0"/>
            <a:t>Kentsel </a:t>
          </a:r>
          <a:r>
            <a:rPr kern="1200" dirty="0" err="1"/>
            <a:t>yük</a:t>
          </a:r>
          <a:r>
            <a:rPr kern="1200" dirty="0"/>
            <a:t> </a:t>
          </a:r>
          <a:r>
            <a:rPr kern="1200" dirty="0" err="1"/>
            <a:t>taşımacılığının</a:t>
          </a:r>
          <a:r>
            <a:rPr kern="1200" dirty="0"/>
            <a:t> </a:t>
          </a:r>
          <a:r>
            <a:rPr kern="1200" dirty="0" err="1"/>
            <a:t>verimliliğini</a:t>
          </a:r>
          <a:r>
            <a:rPr kern="1200" dirty="0"/>
            <a:t> </a:t>
          </a:r>
          <a:r>
            <a:rPr kern="1200" dirty="0" err="1"/>
            <a:t>ve</a:t>
          </a:r>
          <a:r>
            <a:rPr kern="1200" dirty="0"/>
            <a:t> </a:t>
          </a:r>
          <a:r>
            <a:rPr kern="1200" dirty="0" err="1"/>
            <a:t>sürdürülebilirliğini</a:t>
          </a:r>
          <a:r>
            <a:rPr kern="1200" dirty="0"/>
            <a:t> </a:t>
          </a:r>
          <a:r>
            <a:rPr kern="1200" dirty="0" err="1"/>
            <a:t>artırmak</a:t>
          </a:r>
          <a:r>
            <a:rPr kern="1200" dirty="0"/>
            <a:t> </a:t>
          </a:r>
          <a:r>
            <a:rPr kern="1200" dirty="0" err="1"/>
            <a:t>için</a:t>
          </a:r>
          <a:r>
            <a:rPr kern="1200" dirty="0"/>
            <a:t> </a:t>
          </a:r>
          <a:r>
            <a:rPr kern="1200" dirty="0" err="1"/>
            <a:t>şehir</a:t>
          </a:r>
          <a:r>
            <a:rPr kern="1200" dirty="0"/>
            <a:t> </a:t>
          </a:r>
          <a:r>
            <a:rPr kern="1200" dirty="0" err="1"/>
            <a:t>lojistiğini</a:t>
          </a:r>
          <a:r>
            <a:rPr lang="tr-TR" kern="1200" dirty="0"/>
            <a:t>n</a:t>
          </a:r>
          <a:r>
            <a:rPr kern="1200" dirty="0"/>
            <a:t> </a:t>
          </a:r>
          <a:r>
            <a:rPr lang="tr-TR" kern="1200" dirty="0"/>
            <a:t>şehir</a:t>
          </a:r>
          <a:r>
            <a:rPr kern="1200" dirty="0"/>
            <a:t> </a:t>
          </a:r>
          <a:r>
            <a:rPr kern="1200" dirty="0" err="1"/>
            <a:t>planlama</a:t>
          </a:r>
          <a:r>
            <a:rPr kern="1200" dirty="0"/>
            <a:t> </a:t>
          </a:r>
          <a:r>
            <a:rPr kern="1200" dirty="0" err="1"/>
            <a:t>ile</a:t>
          </a:r>
          <a:r>
            <a:rPr kern="1200" dirty="0"/>
            <a:t> </a:t>
          </a:r>
          <a:r>
            <a:rPr kern="1200" dirty="0" err="1"/>
            <a:t>entegre</a:t>
          </a:r>
          <a:r>
            <a:rPr kern="1200" dirty="0"/>
            <a:t> </a:t>
          </a:r>
          <a:r>
            <a:rPr kern="1200" dirty="0" err="1"/>
            <a:t>edilmesi</a:t>
          </a:r>
          <a:endParaRPr lang="en-US" sz="600" kern="1200" dirty="0"/>
        </a:p>
      </dsp:txBody>
      <dsp:txXfrm>
        <a:off x="1057144" y="2484120"/>
        <a:ext cx="886667" cy="886667"/>
      </dsp:txXfrm>
    </dsp:sp>
    <dsp:sp modelId="{BDC5E7BC-9510-4BFC-B578-3EFD9EC05D59}">
      <dsp:nvSpPr>
        <dsp:cNvPr id="0" name=""/>
        <dsp:cNvSpPr/>
      </dsp:nvSpPr>
      <dsp:spPr>
        <a:xfrm rot="13114286">
          <a:off x="2430293" y="1669626"/>
          <a:ext cx="294931" cy="473709"/>
        </a:xfrm>
        <a:prstGeom prst="rightArrow">
          <a:avLst>
            <a:gd name="adj1" fmla="val 60000"/>
            <a:gd name="adj2" fmla="val 50000"/>
          </a:avLst>
        </a:prstGeom>
        <a:gradFill rotWithShape="0">
          <a:gsLst>
            <a:gs pos="0">
              <a:schemeClr val="accent3">
                <a:hueOff val="2710599"/>
                <a:satOff val="100000"/>
                <a:lumOff val="-14706"/>
                <a:alphaOff val="0"/>
                <a:satMod val="103000"/>
                <a:lumMod val="102000"/>
                <a:tint val="94000"/>
              </a:schemeClr>
            </a:gs>
            <a:gs pos="50000">
              <a:schemeClr val="accent3">
                <a:hueOff val="2710599"/>
                <a:satOff val="100000"/>
                <a:lumOff val="-14706"/>
                <a:alphaOff val="0"/>
                <a:satMod val="110000"/>
                <a:lumMod val="100000"/>
                <a:shade val="100000"/>
              </a:schemeClr>
            </a:gs>
            <a:gs pos="100000">
              <a:schemeClr val="accent3">
                <a:hueOff val="2710599"/>
                <a:satOff val="100000"/>
                <a:lumOff val="-1470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p>
      </dsp:txBody>
      <dsp:txXfrm rot="10800000">
        <a:off x="2509120" y="1791951"/>
        <a:ext cx="206452" cy="284225"/>
      </dsp:txXfrm>
    </dsp:sp>
    <dsp:sp modelId="{7D449939-E8EE-4D3D-A90A-ADCED9FD117C}">
      <dsp:nvSpPr>
        <dsp:cNvPr id="0" name=""/>
        <dsp:cNvSpPr/>
      </dsp:nvSpPr>
      <dsp:spPr>
        <a:xfrm>
          <a:off x="1236545" y="709921"/>
          <a:ext cx="1253937" cy="1253937"/>
        </a:xfrm>
        <a:prstGeom prst="ellipse">
          <a:avLst/>
        </a:prstGeom>
        <a:gradFill rotWithShape="0">
          <a:gsLst>
            <a:gs pos="0">
              <a:schemeClr val="accent3">
                <a:hueOff val="2710599"/>
                <a:satOff val="100000"/>
                <a:lumOff val="-14706"/>
                <a:alphaOff val="0"/>
                <a:satMod val="103000"/>
                <a:lumMod val="102000"/>
                <a:tint val="94000"/>
              </a:schemeClr>
            </a:gs>
            <a:gs pos="50000">
              <a:schemeClr val="accent3">
                <a:hueOff val="2710599"/>
                <a:satOff val="100000"/>
                <a:lumOff val="-14706"/>
                <a:alphaOff val="0"/>
                <a:satMod val="110000"/>
                <a:lumMod val="100000"/>
                <a:shade val="100000"/>
              </a:schemeClr>
            </a:gs>
            <a:gs pos="100000">
              <a:schemeClr val="accent3">
                <a:hueOff val="2710599"/>
                <a:satOff val="100000"/>
                <a:lumOff val="-14706"/>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2889250">
            <a:lnSpc>
              <a:spcPct val="90000"/>
            </a:lnSpc>
            <a:spcBef>
              <a:spcPct val="0"/>
            </a:spcBef>
            <a:spcAft>
              <a:spcPct val="35000"/>
            </a:spcAft>
            <a:buNone/>
            <a:defRPr sz="600"/>
          </a:pPr>
          <a:r>
            <a:rPr kern="1200"/>
            <a:t>Paydaş katılımını, veri toplama ve analizini, performans metriklerinin geliştirilmesini ve yenilikçi teknolojilerin uygulanması</a:t>
          </a:r>
          <a:endParaRPr lang="en-US" sz="600" kern="1200" dirty="0"/>
        </a:p>
      </dsp:txBody>
      <dsp:txXfrm>
        <a:off x="1420180" y="893556"/>
        <a:ext cx="886667" cy="886667"/>
      </dsp:txXfrm>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BF217FC-2570-4BCA-9078-DB652340F431}">
      <dsp:nvSpPr>
        <dsp:cNvPr id="0" name=""/>
        <dsp:cNvSpPr/>
      </dsp:nvSpPr>
      <dsp:spPr>
        <a:xfrm>
          <a:off x="1289903" y="226308"/>
          <a:ext cx="1719147" cy="1719147"/>
        </a:xfrm>
        <a:prstGeom prst="pieWedg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sz="700" kern="1200"/>
            <a:t>Ankara, sıkışıklık, hava kirliliği ve yetersiz ulaşım altyapısı gibi çeşitli ulaşım zorluklarıyla karşı karşıya.</a:t>
          </a:r>
        </a:p>
      </dsp:txBody>
      <dsp:txXfrm>
        <a:off x="1793429" y="729834"/>
        <a:ext cx="1215621" cy="1215621"/>
      </dsp:txXfrm>
    </dsp:sp>
    <dsp:sp modelId="{4283C7AA-2607-406C-BE2B-B66AD5B5BC36}">
      <dsp:nvSpPr>
        <dsp:cNvPr id="0" name=""/>
        <dsp:cNvSpPr/>
      </dsp:nvSpPr>
      <dsp:spPr>
        <a:xfrm rot="5400000">
          <a:off x="3088457" y="226308"/>
          <a:ext cx="1719147" cy="1719147"/>
        </a:xfrm>
        <a:prstGeom prst="pieWedge">
          <a:avLst/>
        </a:prstGeom>
        <a:solidFill>
          <a:schemeClr val="accent2">
            <a:hueOff val="-485121"/>
            <a:satOff val="-27976"/>
            <a:lumOff val="28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sz="700" kern="1200"/>
            <a:t>Ankara'daki şehir lojistiği, yetersiz ulaşım modları, yetersiz lojistik tesisleri ve e - ticaret teslimatlarına artan talep gibi çeşitli zorluklarla karşı karşıya.</a:t>
          </a:r>
        </a:p>
      </dsp:txBody>
      <dsp:txXfrm rot="-5400000">
        <a:off x="3088457" y="729834"/>
        <a:ext cx="1215621" cy="1215621"/>
      </dsp:txXfrm>
    </dsp:sp>
    <dsp:sp modelId="{73339131-15DE-43C7-956F-87A5FFC043A2}">
      <dsp:nvSpPr>
        <dsp:cNvPr id="0" name=""/>
        <dsp:cNvSpPr/>
      </dsp:nvSpPr>
      <dsp:spPr>
        <a:xfrm rot="10800000">
          <a:off x="3088457" y="2024862"/>
          <a:ext cx="1719147" cy="1719147"/>
        </a:xfrm>
        <a:prstGeom prst="pieWedge">
          <a:avLst/>
        </a:prstGeom>
        <a:solidFill>
          <a:schemeClr val="accent2">
            <a:hueOff val="-970242"/>
            <a:satOff val="-55952"/>
            <a:lumOff val="57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sz="700" kern="1200" dirty="0"/>
            <a:t>Ankara </a:t>
          </a:r>
          <a:r>
            <a:rPr sz="700" kern="1200" dirty="0" err="1"/>
            <a:t>Büyükşehir</a:t>
          </a:r>
          <a:r>
            <a:rPr sz="700" kern="1200" dirty="0"/>
            <a:t> </a:t>
          </a:r>
          <a:r>
            <a:rPr sz="700" kern="1200" dirty="0" err="1"/>
            <a:t>Belediyesi</a:t>
          </a:r>
          <a:r>
            <a:rPr sz="700" kern="1200" dirty="0"/>
            <a:t>, </a:t>
          </a:r>
          <a:r>
            <a:rPr sz="700" kern="1200" dirty="0" err="1"/>
            <a:t>lojistik</a:t>
          </a:r>
          <a:r>
            <a:rPr sz="700" kern="1200" dirty="0"/>
            <a:t> </a:t>
          </a:r>
          <a:r>
            <a:rPr sz="700" kern="1200" dirty="0" err="1"/>
            <a:t>merkezlerin</a:t>
          </a:r>
          <a:r>
            <a:rPr sz="700" kern="1200" dirty="0"/>
            <a:t> </a:t>
          </a:r>
          <a:r>
            <a:rPr sz="700" kern="1200" dirty="0" err="1"/>
            <a:t>kurulması</a:t>
          </a:r>
          <a:r>
            <a:rPr sz="700" kern="1200" dirty="0"/>
            <a:t>, </a:t>
          </a:r>
          <a:r>
            <a:rPr sz="700" kern="1200" dirty="0" err="1"/>
            <a:t>sürdürülebilir</a:t>
          </a:r>
          <a:r>
            <a:rPr sz="700" kern="1200" dirty="0"/>
            <a:t> </a:t>
          </a:r>
          <a:r>
            <a:rPr sz="700" kern="1200" dirty="0" err="1"/>
            <a:t>ulaşım</a:t>
          </a:r>
          <a:r>
            <a:rPr sz="700" kern="1200" dirty="0"/>
            <a:t> </a:t>
          </a:r>
          <a:r>
            <a:rPr sz="700" kern="1200" dirty="0" err="1"/>
            <a:t>modlarının</a:t>
          </a:r>
          <a:r>
            <a:rPr sz="700" kern="1200" dirty="0"/>
            <a:t> </a:t>
          </a:r>
          <a:r>
            <a:rPr sz="700" kern="1200" dirty="0" err="1"/>
            <a:t>teşvik</a:t>
          </a:r>
          <a:r>
            <a:rPr sz="700" kern="1200" dirty="0"/>
            <a:t> </a:t>
          </a:r>
          <a:r>
            <a:rPr sz="700" kern="1200" dirty="0" err="1"/>
            <a:t>edilmesi</a:t>
          </a:r>
          <a:r>
            <a:rPr sz="700" kern="1200" dirty="0"/>
            <a:t> </a:t>
          </a:r>
          <a:r>
            <a:rPr sz="700" kern="1200" dirty="0" err="1"/>
            <a:t>ve</a:t>
          </a:r>
          <a:r>
            <a:rPr sz="700" kern="1200" dirty="0"/>
            <a:t> </a:t>
          </a:r>
          <a:r>
            <a:rPr sz="700" kern="1200" dirty="0" err="1"/>
            <a:t>şehir</a:t>
          </a:r>
          <a:r>
            <a:rPr sz="700" kern="1200" dirty="0"/>
            <a:t> </a:t>
          </a:r>
          <a:r>
            <a:rPr sz="700" kern="1200" dirty="0" err="1"/>
            <a:t>lojistiğinin</a:t>
          </a:r>
          <a:r>
            <a:rPr sz="700" kern="1200" dirty="0"/>
            <a:t> </a:t>
          </a:r>
          <a:r>
            <a:rPr sz="700" kern="1200" dirty="0" err="1"/>
            <a:t>şehir</a:t>
          </a:r>
          <a:r>
            <a:rPr sz="700" kern="1200" dirty="0"/>
            <a:t> </a:t>
          </a:r>
          <a:r>
            <a:rPr sz="700" kern="1200" dirty="0" err="1"/>
            <a:t>planlaması</a:t>
          </a:r>
          <a:r>
            <a:rPr sz="700" kern="1200" dirty="0"/>
            <a:t> </a:t>
          </a:r>
          <a:r>
            <a:rPr sz="700" kern="1200" dirty="0" err="1"/>
            <a:t>ile</a:t>
          </a:r>
          <a:r>
            <a:rPr sz="700" kern="1200" dirty="0"/>
            <a:t> </a:t>
          </a:r>
          <a:r>
            <a:rPr sz="700" kern="1200" dirty="0" err="1"/>
            <a:t>entegrasyonu</a:t>
          </a:r>
          <a:r>
            <a:rPr sz="700" kern="1200" dirty="0"/>
            <a:t> </a:t>
          </a:r>
          <a:r>
            <a:rPr sz="700" kern="1200" dirty="0" err="1"/>
            <a:t>dahil</a:t>
          </a:r>
          <a:r>
            <a:rPr sz="700" kern="1200" dirty="0"/>
            <a:t> </a:t>
          </a:r>
          <a:r>
            <a:rPr sz="700" kern="1200" dirty="0" err="1"/>
            <a:t>olmak</a:t>
          </a:r>
          <a:r>
            <a:rPr sz="700" kern="1200" dirty="0"/>
            <a:t> </a:t>
          </a:r>
          <a:r>
            <a:rPr sz="700" kern="1200" dirty="0" err="1"/>
            <a:t>üzere</a:t>
          </a:r>
          <a:r>
            <a:rPr sz="700" kern="1200" dirty="0"/>
            <a:t> </a:t>
          </a:r>
          <a:r>
            <a:rPr sz="700" kern="1200" dirty="0" err="1"/>
            <a:t>şehir</a:t>
          </a:r>
          <a:r>
            <a:rPr sz="700" kern="1200" dirty="0"/>
            <a:t> </a:t>
          </a:r>
          <a:r>
            <a:rPr sz="700" kern="1200" dirty="0" err="1"/>
            <a:t>lojistiğini</a:t>
          </a:r>
          <a:r>
            <a:rPr sz="700" kern="1200" dirty="0"/>
            <a:t> </a:t>
          </a:r>
          <a:r>
            <a:rPr sz="700" kern="1200" dirty="0" err="1"/>
            <a:t>geliştirmek</a:t>
          </a:r>
          <a:r>
            <a:rPr sz="700" kern="1200" dirty="0"/>
            <a:t> </a:t>
          </a:r>
          <a:r>
            <a:rPr sz="700" kern="1200" dirty="0" err="1"/>
            <a:t>için</a:t>
          </a:r>
          <a:r>
            <a:rPr sz="700" kern="1200" dirty="0"/>
            <a:t> </a:t>
          </a:r>
          <a:r>
            <a:rPr sz="700" kern="1200" dirty="0" err="1"/>
            <a:t>çeşitli</a:t>
          </a:r>
          <a:r>
            <a:rPr sz="700" kern="1200" dirty="0"/>
            <a:t> </a:t>
          </a:r>
          <a:r>
            <a:rPr sz="700" kern="1200" dirty="0" err="1"/>
            <a:t>girişimlerde</a:t>
          </a:r>
          <a:r>
            <a:rPr sz="700" kern="1200" dirty="0"/>
            <a:t> </a:t>
          </a:r>
          <a:r>
            <a:rPr sz="700" kern="1200" dirty="0" err="1"/>
            <a:t>bulunmuştur</a:t>
          </a:r>
          <a:r>
            <a:rPr sz="700" kern="1200" dirty="0"/>
            <a:t>.</a:t>
          </a:r>
        </a:p>
      </dsp:txBody>
      <dsp:txXfrm rot="10800000">
        <a:off x="3088457" y="2024862"/>
        <a:ext cx="1215621" cy="1215621"/>
      </dsp:txXfrm>
    </dsp:sp>
    <dsp:sp modelId="{F20AFF49-A990-4A4C-A8F2-5C6D4F0D3E56}">
      <dsp:nvSpPr>
        <dsp:cNvPr id="0" name=""/>
        <dsp:cNvSpPr/>
      </dsp:nvSpPr>
      <dsp:spPr>
        <a:xfrm rot="16200000">
          <a:off x="1289903" y="2024862"/>
          <a:ext cx="1719147" cy="1719147"/>
        </a:xfrm>
        <a:prstGeom prst="pieWedge">
          <a:avLst/>
        </a:prstGeom>
        <a:solidFill>
          <a:schemeClr val="accent2">
            <a:hueOff val="-1455363"/>
            <a:satOff val="-83928"/>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784" tIns="49784" rIns="49784" bIns="49784" numCol="1" spcCol="1270" anchor="ctr" anchorCtr="0">
          <a:noAutofit/>
        </a:bodyPr>
        <a:lstStyle/>
        <a:p>
          <a:pPr marL="0" lvl="0" indent="0" algn="ctr" defTabSz="311150">
            <a:lnSpc>
              <a:spcPct val="90000"/>
            </a:lnSpc>
            <a:spcBef>
              <a:spcPct val="0"/>
            </a:spcBef>
            <a:spcAft>
              <a:spcPct val="35000"/>
            </a:spcAft>
            <a:buNone/>
          </a:pPr>
          <a:r>
            <a:rPr sz="700" kern="1200" dirty="0" err="1"/>
            <a:t>Şehir</a:t>
          </a:r>
          <a:r>
            <a:rPr sz="700" kern="1200" dirty="0"/>
            <a:t> </a:t>
          </a:r>
          <a:r>
            <a:rPr sz="700" kern="1200" dirty="0" err="1"/>
            <a:t>lojistiği</a:t>
          </a:r>
          <a:r>
            <a:rPr sz="700" kern="1200" dirty="0"/>
            <a:t>, </a:t>
          </a:r>
          <a:r>
            <a:rPr sz="700" kern="1200" dirty="0" err="1"/>
            <a:t>ulaşım</a:t>
          </a:r>
          <a:r>
            <a:rPr sz="700" kern="1200" dirty="0"/>
            <a:t> </a:t>
          </a:r>
          <a:r>
            <a:rPr sz="700" kern="1200" dirty="0" err="1"/>
            <a:t>verimliliğini</a:t>
          </a:r>
          <a:r>
            <a:rPr sz="700" kern="1200" dirty="0"/>
            <a:t> </a:t>
          </a:r>
          <a:r>
            <a:rPr sz="700" kern="1200" dirty="0" err="1"/>
            <a:t>artırarak</a:t>
          </a:r>
          <a:r>
            <a:rPr sz="700" kern="1200" dirty="0"/>
            <a:t>, </a:t>
          </a:r>
          <a:r>
            <a:rPr sz="700" kern="1200" dirty="0" err="1"/>
            <a:t>ulaşımla</a:t>
          </a:r>
          <a:r>
            <a:rPr sz="700" kern="1200" dirty="0"/>
            <a:t> </a:t>
          </a:r>
          <a:r>
            <a:rPr sz="700" kern="1200" dirty="0" err="1"/>
            <a:t>ilgili</a:t>
          </a:r>
          <a:r>
            <a:rPr sz="700" kern="1200" dirty="0"/>
            <a:t> </a:t>
          </a:r>
          <a:r>
            <a:rPr sz="700" kern="1200" dirty="0" err="1"/>
            <a:t>dışsallıkları</a:t>
          </a:r>
          <a:r>
            <a:rPr sz="700" kern="1200" dirty="0"/>
            <a:t> </a:t>
          </a:r>
          <a:r>
            <a:rPr sz="700" kern="1200" dirty="0" err="1"/>
            <a:t>azaltarak</a:t>
          </a:r>
          <a:r>
            <a:rPr sz="700" kern="1200" dirty="0"/>
            <a:t> </a:t>
          </a:r>
          <a:r>
            <a:rPr sz="700" kern="1200" dirty="0" err="1"/>
            <a:t>ve</a:t>
          </a:r>
          <a:r>
            <a:rPr sz="700" kern="1200" dirty="0"/>
            <a:t> </a:t>
          </a:r>
          <a:r>
            <a:rPr sz="700" kern="1200" dirty="0" err="1"/>
            <a:t>kentsel</a:t>
          </a:r>
          <a:r>
            <a:rPr sz="700" kern="1200" dirty="0"/>
            <a:t> </a:t>
          </a:r>
          <a:r>
            <a:rPr sz="700" kern="1200" dirty="0" err="1"/>
            <a:t>erişilebilirliği</a:t>
          </a:r>
          <a:r>
            <a:rPr sz="700" kern="1200" dirty="0"/>
            <a:t> </a:t>
          </a:r>
          <a:r>
            <a:rPr sz="700" kern="1200" dirty="0" err="1"/>
            <a:t>artırarak</a:t>
          </a:r>
          <a:r>
            <a:rPr sz="700" kern="1200" dirty="0"/>
            <a:t> </a:t>
          </a:r>
          <a:r>
            <a:rPr sz="700" kern="1200" dirty="0" err="1"/>
            <a:t>Ankara'da</a:t>
          </a:r>
          <a:r>
            <a:rPr sz="700" kern="1200" dirty="0"/>
            <a:t> </a:t>
          </a:r>
          <a:r>
            <a:rPr sz="700" kern="1200" dirty="0" err="1"/>
            <a:t>ekonomik</a:t>
          </a:r>
          <a:r>
            <a:rPr sz="700" kern="1200" dirty="0"/>
            <a:t> </a:t>
          </a:r>
          <a:r>
            <a:rPr sz="700" kern="1200" dirty="0" err="1"/>
            <a:t>kalkınmanın</a:t>
          </a:r>
          <a:r>
            <a:rPr sz="700" kern="1200" dirty="0"/>
            <a:t> </a:t>
          </a:r>
          <a:r>
            <a:rPr sz="700" kern="1200" dirty="0" err="1"/>
            <a:t>ve</a:t>
          </a:r>
          <a:r>
            <a:rPr sz="700" kern="1200" dirty="0"/>
            <a:t> </a:t>
          </a:r>
          <a:r>
            <a:rPr sz="700" kern="1200" dirty="0" err="1"/>
            <a:t>sürdürülebilirliğin</a:t>
          </a:r>
          <a:r>
            <a:rPr sz="700" kern="1200" dirty="0"/>
            <a:t> </a:t>
          </a:r>
          <a:r>
            <a:rPr sz="700" kern="1200" dirty="0" err="1"/>
            <a:t>desteklenmesinde</a:t>
          </a:r>
          <a:r>
            <a:rPr sz="700" kern="1200" dirty="0"/>
            <a:t> </a:t>
          </a:r>
          <a:r>
            <a:rPr sz="700" kern="1200" dirty="0" err="1"/>
            <a:t>çok</a:t>
          </a:r>
          <a:r>
            <a:rPr sz="700" kern="1200" dirty="0"/>
            <a:t> </a:t>
          </a:r>
          <a:r>
            <a:rPr sz="700" kern="1200" dirty="0" err="1"/>
            <a:t>önemli</a:t>
          </a:r>
          <a:r>
            <a:rPr sz="700" kern="1200" dirty="0"/>
            <a:t> </a:t>
          </a:r>
          <a:r>
            <a:rPr sz="700" kern="1200" dirty="0" err="1"/>
            <a:t>bir</a:t>
          </a:r>
          <a:r>
            <a:rPr sz="700" kern="1200" dirty="0"/>
            <a:t> </a:t>
          </a:r>
          <a:r>
            <a:rPr sz="700" kern="1200" dirty="0" err="1"/>
            <a:t>rol</a:t>
          </a:r>
          <a:r>
            <a:rPr sz="700" kern="1200" dirty="0"/>
            <a:t> </a:t>
          </a:r>
          <a:r>
            <a:rPr sz="700" kern="1200" dirty="0" err="1"/>
            <a:t>oynamaktadır</a:t>
          </a:r>
          <a:r>
            <a:rPr sz="700" kern="1200" dirty="0"/>
            <a:t>.</a:t>
          </a:r>
        </a:p>
      </dsp:txBody>
      <dsp:txXfrm rot="5400000">
        <a:off x="1793429" y="2024862"/>
        <a:ext cx="1215621" cy="1215621"/>
      </dsp:txXfrm>
    </dsp:sp>
    <dsp:sp modelId="{1E2B4A95-5B11-4ED0-9BF4-7B8FD44658BC}">
      <dsp:nvSpPr>
        <dsp:cNvPr id="0" name=""/>
        <dsp:cNvSpPr/>
      </dsp:nvSpPr>
      <dsp:spPr>
        <a:xfrm>
          <a:off x="2751972" y="1627830"/>
          <a:ext cx="593562" cy="516141"/>
        </a:xfrm>
        <a:prstGeom prst="circular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E9F38CC-8381-4FBB-8C46-A72F353B37EA}">
      <dsp:nvSpPr>
        <dsp:cNvPr id="0" name=""/>
        <dsp:cNvSpPr/>
      </dsp:nvSpPr>
      <dsp:spPr>
        <a:xfrm rot="10800000">
          <a:off x="2751972" y="1826346"/>
          <a:ext cx="593562" cy="516141"/>
        </a:xfrm>
        <a:prstGeom prst="circularArrow">
          <a:avLst/>
        </a:prstGeom>
        <a:solidFill>
          <a:schemeClr val="accent2">
            <a:tint val="40000"/>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92CC84-F119-40D9-BA7A-D331FAE34F5B}">
      <dsp:nvSpPr>
        <dsp:cNvPr id="0" name=""/>
        <dsp:cNvSpPr/>
      </dsp:nvSpPr>
      <dsp:spPr>
        <a:xfrm>
          <a:off x="0" y="1126462"/>
          <a:ext cx="10112720" cy="1501949"/>
        </a:xfrm>
        <a:prstGeom prst="notched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6E263B8-0542-4F2A-9A9B-0C08B877F48A}">
      <dsp:nvSpPr>
        <dsp:cNvPr id="0" name=""/>
        <dsp:cNvSpPr/>
      </dsp:nvSpPr>
      <dsp:spPr>
        <a:xfrm>
          <a:off x="777" y="0"/>
          <a:ext cx="1246560" cy="15019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b" anchorCtr="0">
          <a:noAutofit/>
        </a:bodyPr>
        <a:lstStyle/>
        <a:p>
          <a:pPr marL="0" lvl="0" indent="0" algn="ctr" defTabSz="400050">
            <a:lnSpc>
              <a:spcPct val="90000"/>
            </a:lnSpc>
            <a:spcBef>
              <a:spcPct val="0"/>
            </a:spcBef>
            <a:spcAft>
              <a:spcPct val="35000"/>
            </a:spcAft>
            <a:buNone/>
          </a:pPr>
          <a:r>
            <a:rPr sz="900" kern="1200"/>
            <a:t>Paylaşılan hareketlilik, bir aracın, bisikletin veya diğer ulaşım biçimlerinin ortak kullanımını ifade eder.</a:t>
          </a:r>
        </a:p>
      </dsp:txBody>
      <dsp:txXfrm>
        <a:off x="777" y="0"/>
        <a:ext cx="1246560" cy="1501949"/>
      </dsp:txXfrm>
    </dsp:sp>
    <dsp:sp modelId="{7FAB71C4-B29D-41A7-B76E-33BB9E12A05A}">
      <dsp:nvSpPr>
        <dsp:cNvPr id="0" name=""/>
        <dsp:cNvSpPr/>
      </dsp:nvSpPr>
      <dsp:spPr>
        <a:xfrm>
          <a:off x="436314" y="1689693"/>
          <a:ext cx="375487" cy="375487"/>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9ED1E63-7D4F-451C-A87C-211467201E5C}">
      <dsp:nvSpPr>
        <dsp:cNvPr id="0" name=""/>
        <dsp:cNvSpPr/>
      </dsp:nvSpPr>
      <dsp:spPr>
        <a:xfrm>
          <a:off x="1309666" y="2252924"/>
          <a:ext cx="1246560" cy="15019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t" anchorCtr="0">
          <a:noAutofit/>
        </a:bodyPr>
        <a:lstStyle/>
        <a:p>
          <a:pPr marL="0" lvl="0" indent="0" algn="ctr" defTabSz="400050">
            <a:lnSpc>
              <a:spcPct val="90000"/>
            </a:lnSpc>
            <a:spcBef>
              <a:spcPct val="0"/>
            </a:spcBef>
            <a:spcAft>
              <a:spcPct val="35000"/>
            </a:spcAft>
            <a:buNone/>
          </a:pPr>
          <a:r>
            <a:rPr sz="900" kern="1200"/>
            <a:t>Araç paylaşımı, bisiklet paylaşımı, yolculuk paylaşımı ve scooter paylaşımı gibi hizmetleri içerir.</a:t>
          </a:r>
        </a:p>
      </dsp:txBody>
      <dsp:txXfrm>
        <a:off x="1309666" y="2252924"/>
        <a:ext cx="1246560" cy="1501949"/>
      </dsp:txXfrm>
    </dsp:sp>
    <dsp:sp modelId="{A25C85FC-39BA-481E-8121-009B62BD8DB2}">
      <dsp:nvSpPr>
        <dsp:cNvPr id="0" name=""/>
        <dsp:cNvSpPr/>
      </dsp:nvSpPr>
      <dsp:spPr>
        <a:xfrm>
          <a:off x="1745203" y="1689693"/>
          <a:ext cx="375487" cy="375487"/>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A98EE9D-1F79-4AEB-B59C-A11BEF152A36}">
      <dsp:nvSpPr>
        <dsp:cNvPr id="0" name=""/>
        <dsp:cNvSpPr/>
      </dsp:nvSpPr>
      <dsp:spPr>
        <a:xfrm>
          <a:off x="2618555" y="0"/>
          <a:ext cx="1246560" cy="15019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b" anchorCtr="0">
          <a:noAutofit/>
        </a:bodyPr>
        <a:lstStyle/>
        <a:p>
          <a:pPr marL="0" lvl="0" indent="0" algn="ctr" defTabSz="400050">
            <a:lnSpc>
              <a:spcPct val="90000"/>
            </a:lnSpc>
            <a:spcBef>
              <a:spcPct val="0"/>
            </a:spcBef>
            <a:spcAft>
              <a:spcPct val="35000"/>
            </a:spcAft>
            <a:buNone/>
          </a:pPr>
          <a:r>
            <a:rPr sz="900" kern="1200"/>
            <a:t>Paylaşılan hareketlilik hizmetleri genellikle özel şirketler, kamu yetkilileri veya topluluk kuruluşları tarafından sağlanır.</a:t>
          </a:r>
        </a:p>
      </dsp:txBody>
      <dsp:txXfrm>
        <a:off x="2618555" y="0"/>
        <a:ext cx="1246560" cy="1501949"/>
      </dsp:txXfrm>
    </dsp:sp>
    <dsp:sp modelId="{631D995D-78DB-46F0-9502-E1F16024DBB8}">
      <dsp:nvSpPr>
        <dsp:cNvPr id="0" name=""/>
        <dsp:cNvSpPr/>
      </dsp:nvSpPr>
      <dsp:spPr>
        <a:xfrm>
          <a:off x="3054091" y="1689693"/>
          <a:ext cx="375487" cy="375487"/>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3914EE8-8EA1-4035-8EA9-BECBBF618702}">
      <dsp:nvSpPr>
        <dsp:cNvPr id="0" name=""/>
        <dsp:cNvSpPr/>
      </dsp:nvSpPr>
      <dsp:spPr>
        <a:xfrm>
          <a:off x="3927444" y="2252924"/>
          <a:ext cx="1246560" cy="15019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t" anchorCtr="0">
          <a:noAutofit/>
        </a:bodyPr>
        <a:lstStyle/>
        <a:p>
          <a:pPr marL="0" lvl="0" indent="0" algn="ctr" defTabSz="400050">
            <a:lnSpc>
              <a:spcPct val="90000"/>
            </a:lnSpc>
            <a:spcBef>
              <a:spcPct val="0"/>
            </a:spcBef>
            <a:spcAft>
              <a:spcPct val="35000"/>
            </a:spcAft>
            <a:buNone/>
          </a:pPr>
          <a:r>
            <a:rPr sz="900" kern="1200"/>
            <a:t>Paylaşılan mobilite, yoldaki tek kişilik araç sayısını azaltabilir, trafik sıkışıklığını azaltabilir ve daha sürdürülebilir ulaşım seçenekleri sağlayabilir.</a:t>
          </a:r>
        </a:p>
      </dsp:txBody>
      <dsp:txXfrm>
        <a:off x="3927444" y="2252924"/>
        <a:ext cx="1246560" cy="1501949"/>
      </dsp:txXfrm>
    </dsp:sp>
    <dsp:sp modelId="{2A203A87-85B2-44FD-8E7D-5661D26C8894}">
      <dsp:nvSpPr>
        <dsp:cNvPr id="0" name=""/>
        <dsp:cNvSpPr/>
      </dsp:nvSpPr>
      <dsp:spPr>
        <a:xfrm>
          <a:off x="4362980" y="1689693"/>
          <a:ext cx="375487" cy="375487"/>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CD31DEE-5081-4D9F-9900-74A583D6424E}">
      <dsp:nvSpPr>
        <dsp:cNvPr id="0" name=""/>
        <dsp:cNvSpPr/>
      </dsp:nvSpPr>
      <dsp:spPr>
        <a:xfrm>
          <a:off x="5236332" y="0"/>
          <a:ext cx="1246560" cy="15019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b" anchorCtr="0">
          <a:noAutofit/>
        </a:bodyPr>
        <a:lstStyle/>
        <a:p>
          <a:pPr marL="0" lvl="0" indent="0" algn="ctr" defTabSz="400050">
            <a:lnSpc>
              <a:spcPct val="90000"/>
            </a:lnSpc>
            <a:spcBef>
              <a:spcPct val="0"/>
            </a:spcBef>
            <a:spcAft>
              <a:spcPct val="35000"/>
            </a:spcAft>
            <a:buNone/>
          </a:pPr>
          <a:r>
            <a:rPr sz="900" kern="1200"/>
            <a:t>Paylaşılan mobilite, kullanıcıların paylaşılan mobilite hizmetlerini kolayca bulmasını ve rezerve etmesini sağlayan mobil uygulamalar gibi teknoloji platformları tarafından kolaylaştırılabilir.</a:t>
          </a:r>
        </a:p>
      </dsp:txBody>
      <dsp:txXfrm>
        <a:off x="5236332" y="0"/>
        <a:ext cx="1246560" cy="1501949"/>
      </dsp:txXfrm>
    </dsp:sp>
    <dsp:sp modelId="{DEACD8E7-279E-445C-994B-9DBC4981B585}">
      <dsp:nvSpPr>
        <dsp:cNvPr id="0" name=""/>
        <dsp:cNvSpPr/>
      </dsp:nvSpPr>
      <dsp:spPr>
        <a:xfrm>
          <a:off x="5671869" y="1689693"/>
          <a:ext cx="375487" cy="375487"/>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E8F29CF-14D9-409F-9DDE-B05B5B31C1DA}">
      <dsp:nvSpPr>
        <dsp:cNvPr id="0" name=""/>
        <dsp:cNvSpPr/>
      </dsp:nvSpPr>
      <dsp:spPr>
        <a:xfrm>
          <a:off x="6545221" y="2252924"/>
          <a:ext cx="1246560" cy="15019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t" anchorCtr="0">
          <a:noAutofit/>
        </a:bodyPr>
        <a:lstStyle/>
        <a:p>
          <a:pPr marL="0" lvl="0" indent="0" algn="ctr" defTabSz="400050">
            <a:lnSpc>
              <a:spcPct val="90000"/>
            </a:lnSpc>
            <a:spcBef>
              <a:spcPct val="0"/>
            </a:spcBef>
            <a:spcAft>
              <a:spcPct val="35000"/>
            </a:spcAft>
            <a:buNone/>
          </a:pPr>
          <a:r>
            <a:rPr sz="900" kern="1200"/>
            <a:t>Nesnelerin İnterneti (IoT) ve otonom araçlar gibi teknolojideki ilerlemelerin, paylaşılan mobilite ortamını daha da dönüştürmesi bekleniyor.</a:t>
          </a:r>
        </a:p>
      </dsp:txBody>
      <dsp:txXfrm>
        <a:off x="6545221" y="2252924"/>
        <a:ext cx="1246560" cy="1501949"/>
      </dsp:txXfrm>
    </dsp:sp>
    <dsp:sp modelId="{2E11B187-219F-4A4B-9D0D-BE6A28F334D2}">
      <dsp:nvSpPr>
        <dsp:cNvPr id="0" name=""/>
        <dsp:cNvSpPr/>
      </dsp:nvSpPr>
      <dsp:spPr>
        <a:xfrm>
          <a:off x="6980758" y="1689693"/>
          <a:ext cx="375487" cy="375487"/>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4BE3C4D-EF98-4578-857B-2EA77A9D8986}">
      <dsp:nvSpPr>
        <dsp:cNvPr id="0" name=""/>
        <dsp:cNvSpPr/>
      </dsp:nvSpPr>
      <dsp:spPr>
        <a:xfrm>
          <a:off x="7854110" y="0"/>
          <a:ext cx="1246560" cy="15019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008" tIns="64008" rIns="64008" bIns="64008" numCol="1" spcCol="1270" anchor="b" anchorCtr="0">
          <a:noAutofit/>
        </a:bodyPr>
        <a:lstStyle/>
        <a:p>
          <a:pPr marL="0" lvl="0" indent="0" algn="ctr" defTabSz="400050">
            <a:lnSpc>
              <a:spcPct val="90000"/>
            </a:lnSpc>
            <a:spcBef>
              <a:spcPct val="0"/>
            </a:spcBef>
            <a:spcAft>
              <a:spcPct val="35000"/>
            </a:spcAft>
            <a:buNone/>
          </a:pPr>
          <a:r>
            <a:rPr sz="900" kern="1200"/>
            <a:t>Araba paylaşımı gibi bazı paylaşılan mobilite hizmetleri, araç rezervasyonlarını, erişimini ve kullanımını yönetmek için gelişmiş araç telematikleri ve diğer teknolojileri gerektirebilir.</a:t>
          </a:r>
        </a:p>
      </dsp:txBody>
      <dsp:txXfrm>
        <a:off x="7854110" y="0"/>
        <a:ext cx="1246560" cy="1501949"/>
      </dsp:txXfrm>
    </dsp:sp>
    <dsp:sp modelId="{E09191A0-9656-4698-A7D4-7779B1F5EAFA}">
      <dsp:nvSpPr>
        <dsp:cNvPr id="0" name=""/>
        <dsp:cNvSpPr/>
      </dsp:nvSpPr>
      <dsp:spPr>
        <a:xfrm>
          <a:off x="8289647" y="1689693"/>
          <a:ext cx="375487" cy="375487"/>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73BADB2-F52A-43C5-89B2-F2910FDD1CCE}">
      <dsp:nvSpPr>
        <dsp:cNvPr id="0" name=""/>
        <dsp:cNvSpPr/>
      </dsp:nvSpPr>
      <dsp:spPr>
        <a:xfrm>
          <a:off x="0" y="0"/>
          <a:ext cx="4314645"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18866107-FBE6-454D-AFD3-BBDB041B448A}">
      <dsp:nvSpPr>
        <dsp:cNvPr id="0" name=""/>
        <dsp:cNvSpPr/>
      </dsp:nvSpPr>
      <dsp:spPr>
        <a:xfrm>
          <a:off x="0" y="0"/>
          <a:ext cx="4314645" cy="4646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t" anchorCtr="0">
          <a:noAutofit/>
        </a:bodyPr>
        <a:lstStyle/>
        <a:p>
          <a:pPr marL="0" lvl="0" indent="0" algn="just" defTabSz="400050">
            <a:lnSpc>
              <a:spcPct val="90000"/>
            </a:lnSpc>
            <a:spcBef>
              <a:spcPct val="0"/>
            </a:spcBef>
            <a:spcAft>
              <a:spcPct val="35000"/>
            </a:spcAft>
            <a:buNone/>
          </a:pPr>
          <a:r>
            <a:rPr sz="900" kern="1200"/>
            <a:t>Araç paylaşımı: Kullanıcıların kısa bir süre için, genellikle saat veya dakika olarak araç kiralamasına izin verir. Araba paylaşım hizmetleri istasyon tabanlı veya serbest yüzer olabilir.</a:t>
          </a:r>
        </a:p>
      </dsp:txBody>
      <dsp:txXfrm>
        <a:off x="0" y="0"/>
        <a:ext cx="4314645" cy="464664"/>
      </dsp:txXfrm>
    </dsp:sp>
    <dsp:sp modelId="{F67D4D9E-97F1-4053-95DC-D5CF72DA87FF}">
      <dsp:nvSpPr>
        <dsp:cNvPr id="0" name=""/>
        <dsp:cNvSpPr/>
      </dsp:nvSpPr>
      <dsp:spPr>
        <a:xfrm>
          <a:off x="0" y="464664"/>
          <a:ext cx="4314645"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CD191B83-1324-4E3E-8A95-B0D9D3BF618F}">
      <dsp:nvSpPr>
        <dsp:cNvPr id="0" name=""/>
        <dsp:cNvSpPr/>
      </dsp:nvSpPr>
      <dsp:spPr>
        <a:xfrm>
          <a:off x="0" y="464664"/>
          <a:ext cx="4314645" cy="4646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t" anchorCtr="0">
          <a:noAutofit/>
        </a:bodyPr>
        <a:lstStyle/>
        <a:p>
          <a:pPr marL="0" lvl="0" indent="0" algn="just" defTabSz="400050">
            <a:lnSpc>
              <a:spcPct val="90000"/>
            </a:lnSpc>
            <a:spcBef>
              <a:spcPct val="0"/>
            </a:spcBef>
            <a:spcAft>
              <a:spcPct val="35000"/>
            </a:spcAft>
            <a:buNone/>
          </a:pPr>
          <a:r>
            <a:rPr sz="900" kern="1200"/>
            <a:t>Bisiklet paylaşımı: Kullanıcıların genellikle saat veya dakika olarak kısa bir süre için bisiklet kiralamasına izin verir. Bisiklet paylaşım hizmetleri istasyon tabanlı veya serbest yüzer olabilir.</a:t>
          </a:r>
        </a:p>
      </dsp:txBody>
      <dsp:txXfrm>
        <a:off x="0" y="464664"/>
        <a:ext cx="4314645" cy="464664"/>
      </dsp:txXfrm>
    </dsp:sp>
    <dsp:sp modelId="{22523843-1A54-4AE7-95A8-C49870BF35B1}">
      <dsp:nvSpPr>
        <dsp:cNvPr id="0" name=""/>
        <dsp:cNvSpPr/>
      </dsp:nvSpPr>
      <dsp:spPr>
        <a:xfrm>
          <a:off x="0" y="929329"/>
          <a:ext cx="4314645"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4573FD48-0BF9-4799-A44B-90301406922D}">
      <dsp:nvSpPr>
        <dsp:cNvPr id="0" name=""/>
        <dsp:cNvSpPr/>
      </dsp:nvSpPr>
      <dsp:spPr>
        <a:xfrm>
          <a:off x="0" y="929329"/>
          <a:ext cx="4314645" cy="4646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t" anchorCtr="0">
          <a:noAutofit/>
        </a:bodyPr>
        <a:lstStyle/>
        <a:p>
          <a:pPr marL="0" lvl="0" indent="0" algn="just" defTabSz="400050">
            <a:lnSpc>
              <a:spcPct val="90000"/>
            </a:lnSpc>
            <a:spcBef>
              <a:spcPct val="0"/>
            </a:spcBef>
            <a:spcAft>
              <a:spcPct val="35000"/>
            </a:spcAft>
            <a:buNone/>
          </a:pPr>
          <a:r>
            <a:rPr sz="900" kern="1200"/>
            <a:t>Yolculuk paylaşımı: Kullanıcıların aynı yöne giden başkalarıyla yolculuk paylaşmasına olanak tanır. Yolculuk paylaşım hizmetleri özel şahıslar veya şirketler tarafından sağlanabilir.</a:t>
          </a:r>
        </a:p>
      </dsp:txBody>
      <dsp:txXfrm>
        <a:off x="0" y="929329"/>
        <a:ext cx="4314645" cy="464664"/>
      </dsp:txXfrm>
    </dsp:sp>
    <dsp:sp modelId="{70724973-3A2C-4FE9-88C5-BB1208C44E6B}">
      <dsp:nvSpPr>
        <dsp:cNvPr id="0" name=""/>
        <dsp:cNvSpPr/>
      </dsp:nvSpPr>
      <dsp:spPr>
        <a:xfrm>
          <a:off x="0" y="1393993"/>
          <a:ext cx="4314645"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BC671FEB-611D-41C3-B1BC-73322D1A9600}">
      <dsp:nvSpPr>
        <dsp:cNvPr id="0" name=""/>
        <dsp:cNvSpPr/>
      </dsp:nvSpPr>
      <dsp:spPr>
        <a:xfrm>
          <a:off x="0" y="1393993"/>
          <a:ext cx="4314645" cy="4646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t" anchorCtr="0">
          <a:noAutofit/>
        </a:bodyPr>
        <a:lstStyle/>
        <a:p>
          <a:pPr marL="0" lvl="0" indent="0" algn="just" defTabSz="400050">
            <a:lnSpc>
              <a:spcPct val="90000"/>
            </a:lnSpc>
            <a:spcBef>
              <a:spcPct val="0"/>
            </a:spcBef>
            <a:spcAft>
              <a:spcPct val="35000"/>
            </a:spcAft>
            <a:buNone/>
          </a:pPr>
          <a:r>
            <a:rPr sz="900" kern="1200"/>
            <a:t>Scooter paylaşımı: Kullanıcıların kısa bir süre için, genellikle dakika başına motorlu bir scooter kiralamasına izin verir. Scooter paylaşım hizmetleri genellikle özel şirketler tarafından sağlanmaktadır.</a:t>
          </a:r>
        </a:p>
      </dsp:txBody>
      <dsp:txXfrm>
        <a:off x="0" y="1393993"/>
        <a:ext cx="4314645" cy="464664"/>
      </dsp:txXfrm>
    </dsp:sp>
    <dsp:sp modelId="{A51003EE-F4BD-43EB-AB40-F2C4ADD37F16}">
      <dsp:nvSpPr>
        <dsp:cNvPr id="0" name=""/>
        <dsp:cNvSpPr/>
      </dsp:nvSpPr>
      <dsp:spPr>
        <a:xfrm>
          <a:off x="0" y="1858658"/>
          <a:ext cx="4314645"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9C989269-92E0-4A7D-8D6A-7CDF731F1D17}">
      <dsp:nvSpPr>
        <dsp:cNvPr id="0" name=""/>
        <dsp:cNvSpPr/>
      </dsp:nvSpPr>
      <dsp:spPr>
        <a:xfrm>
          <a:off x="0" y="1858658"/>
          <a:ext cx="4314645" cy="4646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t" anchorCtr="0">
          <a:noAutofit/>
        </a:bodyPr>
        <a:lstStyle/>
        <a:p>
          <a:pPr marL="0" lvl="0" indent="0" algn="just" defTabSz="400050">
            <a:lnSpc>
              <a:spcPct val="90000"/>
            </a:lnSpc>
            <a:spcBef>
              <a:spcPct val="0"/>
            </a:spcBef>
            <a:spcAft>
              <a:spcPct val="35000"/>
            </a:spcAft>
            <a:buNone/>
          </a:pPr>
          <a:r>
            <a:rPr sz="900" kern="1200"/>
            <a:t>İstasyon tabanlı bisiklet paylaşım sistemleri, kullanıcıların belirlenen istasyonlarda bisiklet alıp bırakmalarını gerektirir ve bu da sistemin esnekliğini sınırlayabilir.</a:t>
          </a:r>
        </a:p>
      </dsp:txBody>
      <dsp:txXfrm>
        <a:off x="0" y="1858658"/>
        <a:ext cx="4314645" cy="464664"/>
      </dsp:txXfrm>
    </dsp:sp>
    <dsp:sp modelId="{E409FC67-8F6E-409A-8D47-33725B4A9100}">
      <dsp:nvSpPr>
        <dsp:cNvPr id="0" name=""/>
        <dsp:cNvSpPr/>
      </dsp:nvSpPr>
      <dsp:spPr>
        <a:xfrm>
          <a:off x="0" y="2323323"/>
          <a:ext cx="4314645"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1DEF5F8B-2362-413D-9742-322511E49FB2}">
      <dsp:nvSpPr>
        <dsp:cNvPr id="0" name=""/>
        <dsp:cNvSpPr/>
      </dsp:nvSpPr>
      <dsp:spPr>
        <a:xfrm>
          <a:off x="0" y="2323323"/>
          <a:ext cx="4314645" cy="4646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t" anchorCtr="0">
          <a:noAutofit/>
        </a:bodyPr>
        <a:lstStyle/>
        <a:p>
          <a:pPr marL="0" lvl="0" indent="0" algn="just" defTabSz="400050">
            <a:lnSpc>
              <a:spcPct val="90000"/>
            </a:lnSpc>
            <a:spcBef>
              <a:spcPct val="0"/>
            </a:spcBef>
            <a:spcAft>
              <a:spcPct val="35000"/>
            </a:spcAft>
            <a:buNone/>
          </a:pPr>
          <a:r>
            <a:rPr sz="900" kern="1200"/>
            <a:t>Serbest yüzer bisiklet paylaşım sistemleri, kullanıcıların bisiklet kullanılabilirliğini sağlamak ve hırsızlığı önlemek için gelişmiş GPS izleme ve coğrafi eskrim teknolojileri gerektiren herhangi bir halka açık yere bisiklet park etmelerini ve kilitlemelerini sağlar.</a:t>
          </a:r>
        </a:p>
      </dsp:txBody>
      <dsp:txXfrm>
        <a:off x="0" y="2323323"/>
        <a:ext cx="4314645" cy="464664"/>
      </dsp:txXfrm>
    </dsp:sp>
    <dsp:sp modelId="{9F2CC80E-3F58-4163-AA9D-78766406B010}">
      <dsp:nvSpPr>
        <dsp:cNvPr id="0" name=""/>
        <dsp:cNvSpPr/>
      </dsp:nvSpPr>
      <dsp:spPr>
        <a:xfrm>
          <a:off x="0" y="2787987"/>
          <a:ext cx="4314645"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EF3A97FB-8396-4AA8-AEFE-36AB3342AD45}">
      <dsp:nvSpPr>
        <dsp:cNvPr id="0" name=""/>
        <dsp:cNvSpPr/>
      </dsp:nvSpPr>
      <dsp:spPr>
        <a:xfrm>
          <a:off x="0" y="2787987"/>
          <a:ext cx="4314645" cy="4646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t" anchorCtr="0">
          <a:noAutofit/>
        </a:bodyPr>
        <a:lstStyle/>
        <a:p>
          <a:pPr marL="0" lvl="0" indent="0" algn="just" defTabSz="400050">
            <a:lnSpc>
              <a:spcPct val="90000"/>
            </a:lnSpc>
            <a:spcBef>
              <a:spcPct val="0"/>
            </a:spcBef>
            <a:spcAft>
              <a:spcPct val="35000"/>
            </a:spcAft>
            <a:buNone/>
          </a:pPr>
          <a:r>
            <a:rPr sz="900" kern="1200"/>
            <a:t>Yolculuk paylaşımı hizmetleri, aynı yöne giden sürücü ortaklarıyla yolcuları eşleştirmek ve güzergah planlamasını optimize etmek için algoritmalar kullanan mobil uygulamalarla kolaylaştırılabilir.</a:t>
          </a:r>
        </a:p>
      </dsp:txBody>
      <dsp:txXfrm>
        <a:off x="0" y="2787987"/>
        <a:ext cx="4314645" cy="464664"/>
      </dsp:txXfrm>
    </dsp:sp>
    <dsp:sp modelId="{2B98A810-55C2-46EC-8986-0707B8EB8300}">
      <dsp:nvSpPr>
        <dsp:cNvPr id="0" name=""/>
        <dsp:cNvSpPr/>
      </dsp:nvSpPr>
      <dsp:spPr>
        <a:xfrm>
          <a:off x="0" y="3252652"/>
          <a:ext cx="4314645" cy="0"/>
        </a:xfrm>
        <a:prstGeom prst="line">
          <a:avLst/>
        </a:prstGeom>
        <a:gradFill rotWithShape="0">
          <a:gsLst>
            <a:gs pos="0">
              <a:schemeClr val="dk2">
                <a:hueOff val="0"/>
                <a:satOff val="0"/>
                <a:lumOff val="0"/>
                <a:alphaOff val="0"/>
                <a:satMod val="103000"/>
                <a:lumMod val="102000"/>
                <a:tint val="94000"/>
              </a:schemeClr>
            </a:gs>
            <a:gs pos="50000">
              <a:schemeClr val="dk2">
                <a:hueOff val="0"/>
                <a:satOff val="0"/>
                <a:lumOff val="0"/>
                <a:alphaOff val="0"/>
                <a:satMod val="110000"/>
                <a:lumMod val="100000"/>
                <a:shade val="100000"/>
              </a:schemeClr>
            </a:gs>
            <a:gs pos="100000">
              <a:schemeClr val="dk2">
                <a:hueOff val="0"/>
                <a:satOff val="0"/>
                <a:lumOff val="0"/>
                <a:alphaOff val="0"/>
                <a:lumMod val="99000"/>
                <a:satMod val="120000"/>
                <a:shade val="78000"/>
              </a:schemeClr>
            </a:gs>
          </a:gsLst>
          <a:lin ang="5400000" scaled="0"/>
        </a:gradFill>
        <a:ln w="6350" cap="flat" cmpd="sng" algn="ctr">
          <a:solidFill>
            <a:schemeClr val="dk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E1A6852D-4059-48DC-A320-73F6DEAF14AD}">
      <dsp:nvSpPr>
        <dsp:cNvPr id="0" name=""/>
        <dsp:cNvSpPr/>
      </dsp:nvSpPr>
      <dsp:spPr>
        <a:xfrm>
          <a:off x="0" y="3252652"/>
          <a:ext cx="4314645" cy="4646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t" anchorCtr="0">
          <a:noAutofit/>
        </a:bodyPr>
        <a:lstStyle/>
        <a:p>
          <a:pPr marL="0" lvl="0" indent="0" algn="just" defTabSz="400050">
            <a:lnSpc>
              <a:spcPct val="90000"/>
            </a:lnSpc>
            <a:spcBef>
              <a:spcPct val="0"/>
            </a:spcBef>
            <a:spcAft>
              <a:spcPct val="35000"/>
            </a:spcAft>
            <a:buNone/>
          </a:pPr>
          <a:r>
            <a:rPr sz="900" kern="1200"/>
            <a:t>Scooter paylaşım hizmetleri genellikle gelişmiş pil yönetim sistemleri ve scooter kullanılabilirliği, şarj ve bakım yönetmek için gerçek zamanlı GPS izleme gerektirir.</a:t>
          </a:r>
        </a:p>
      </dsp:txBody>
      <dsp:txXfrm>
        <a:off x="0" y="3252652"/>
        <a:ext cx="4314645" cy="464664"/>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156A87-AAB8-4E36-9447-636A7D98F772}">
      <dsp:nvSpPr>
        <dsp:cNvPr id="0" name=""/>
        <dsp:cNvSpPr/>
      </dsp:nvSpPr>
      <dsp:spPr>
        <a:xfrm>
          <a:off x="0" y="195420"/>
          <a:ext cx="1591310" cy="954786"/>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sz="800" kern="1200"/>
            <a:t>Bakım, sigorta ve park etme gibi araçla ilgili masraflarda kullanıcılardan tasarruf sağlayan araç sahipliği ihtiyacını azaltır.</a:t>
          </a:r>
        </a:p>
      </dsp:txBody>
      <dsp:txXfrm>
        <a:off x="0" y="195420"/>
        <a:ext cx="1591310" cy="954786"/>
      </dsp:txXfrm>
    </dsp:sp>
    <dsp:sp modelId="{61D0249D-AB3B-4DCB-A61A-81F190BB6F23}">
      <dsp:nvSpPr>
        <dsp:cNvPr id="0" name=""/>
        <dsp:cNvSpPr/>
      </dsp:nvSpPr>
      <dsp:spPr>
        <a:xfrm>
          <a:off x="1750441" y="195420"/>
          <a:ext cx="1591310" cy="954786"/>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sz="800" kern="1200"/>
            <a:t>Özellikle toplu ulaşımın sınırlı olduğu veya olmadığı alanlarda ulaşım seçeneklerine erişimi artırır.</a:t>
          </a:r>
        </a:p>
      </dsp:txBody>
      <dsp:txXfrm>
        <a:off x="1750441" y="195420"/>
        <a:ext cx="1591310" cy="954786"/>
      </dsp:txXfrm>
    </dsp:sp>
    <dsp:sp modelId="{484CABBC-BFBD-407B-B5DB-83FD9629742E}">
      <dsp:nvSpPr>
        <dsp:cNvPr id="0" name=""/>
        <dsp:cNvSpPr/>
      </dsp:nvSpPr>
      <dsp:spPr>
        <a:xfrm>
          <a:off x="3500883" y="195420"/>
          <a:ext cx="1591310" cy="954786"/>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sz="800" kern="1200"/>
            <a:t>Yoldaki tek kullanımlık araç sayısını azaltarak trafik sıkışıklığını azaltır.</a:t>
          </a:r>
        </a:p>
      </dsp:txBody>
      <dsp:txXfrm>
        <a:off x="3500883" y="195420"/>
        <a:ext cx="1591310" cy="954786"/>
      </dsp:txXfrm>
    </dsp:sp>
    <dsp:sp modelId="{BC107FFF-8A8B-47A2-AD7F-E9E2C073DCF8}">
      <dsp:nvSpPr>
        <dsp:cNvPr id="0" name=""/>
        <dsp:cNvSpPr/>
      </dsp:nvSpPr>
      <dsp:spPr>
        <a:xfrm>
          <a:off x="0" y="1309338"/>
          <a:ext cx="1591310" cy="954786"/>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sz="800" kern="1200" dirty="0" err="1"/>
            <a:t>Daha</a:t>
          </a:r>
          <a:r>
            <a:rPr sz="800" kern="1200" dirty="0"/>
            <a:t> </a:t>
          </a:r>
          <a:r>
            <a:rPr sz="800" kern="1200" dirty="0" err="1"/>
            <a:t>sürdürülebilir</a:t>
          </a:r>
          <a:r>
            <a:rPr sz="800" kern="1200" dirty="0"/>
            <a:t> </a:t>
          </a:r>
          <a:r>
            <a:rPr sz="800" kern="1200" dirty="0" err="1"/>
            <a:t>ulaşım</a:t>
          </a:r>
          <a:r>
            <a:rPr sz="800" kern="1200" dirty="0"/>
            <a:t> </a:t>
          </a:r>
          <a:r>
            <a:rPr sz="800" kern="1200" dirty="0" err="1"/>
            <a:t>seçeneklerini</a:t>
          </a:r>
          <a:r>
            <a:rPr sz="800" kern="1200" dirty="0"/>
            <a:t> </a:t>
          </a:r>
          <a:r>
            <a:rPr sz="800" kern="1200" dirty="0" err="1"/>
            <a:t>teşvik</a:t>
          </a:r>
          <a:r>
            <a:rPr sz="800" kern="1200" dirty="0"/>
            <a:t> </a:t>
          </a:r>
          <a:r>
            <a:rPr sz="800" kern="1200" dirty="0" err="1"/>
            <a:t>ederek</a:t>
          </a:r>
          <a:r>
            <a:rPr sz="800" kern="1200" dirty="0"/>
            <a:t> sera </a:t>
          </a:r>
          <a:r>
            <a:rPr sz="800" kern="1200" dirty="0" err="1"/>
            <a:t>gazı</a:t>
          </a:r>
          <a:r>
            <a:rPr sz="800" kern="1200" dirty="0"/>
            <a:t> </a:t>
          </a:r>
          <a:r>
            <a:rPr sz="800" kern="1200" dirty="0" err="1"/>
            <a:t>emisyonlarını</a:t>
          </a:r>
          <a:r>
            <a:rPr sz="800" kern="1200" dirty="0"/>
            <a:t> </a:t>
          </a:r>
          <a:r>
            <a:rPr sz="800" kern="1200" dirty="0" err="1"/>
            <a:t>ve</a:t>
          </a:r>
          <a:r>
            <a:rPr sz="800" kern="1200" dirty="0"/>
            <a:t> </a:t>
          </a:r>
          <a:r>
            <a:rPr sz="800" kern="1200" dirty="0" err="1"/>
            <a:t>hava</a:t>
          </a:r>
          <a:r>
            <a:rPr sz="800" kern="1200" dirty="0"/>
            <a:t> </a:t>
          </a:r>
          <a:r>
            <a:rPr sz="800" kern="1200" dirty="0" err="1"/>
            <a:t>kirliliğini</a:t>
          </a:r>
          <a:r>
            <a:rPr sz="800" kern="1200" dirty="0"/>
            <a:t> </a:t>
          </a:r>
          <a:r>
            <a:rPr sz="800" kern="1200" dirty="0" err="1"/>
            <a:t>azaltır</a:t>
          </a:r>
          <a:r>
            <a:rPr sz="800" kern="1200" dirty="0"/>
            <a:t>.</a:t>
          </a:r>
        </a:p>
      </dsp:txBody>
      <dsp:txXfrm>
        <a:off x="0" y="1309338"/>
        <a:ext cx="1591310" cy="954786"/>
      </dsp:txXfrm>
    </dsp:sp>
    <dsp:sp modelId="{E0F0DFC9-DD40-4417-B2F7-A6E83AE88821}">
      <dsp:nvSpPr>
        <dsp:cNvPr id="0" name=""/>
        <dsp:cNvSpPr/>
      </dsp:nvSpPr>
      <dsp:spPr>
        <a:xfrm>
          <a:off x="1750441" y="1309338"/>
          <a:ext cx="1591310" cy="954786"/>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sz="800" kern="1200"/>
            <a:t>Düşük gelirli bireyler ve topluluklar için hareketlilik seçeneklerini geliştirebilir.</a:t>
          </a:r>
        </a:p>
      </dsp:txBody>
      <dsp:txXfrm>
        <a:off x="1750441" y="1309338"/>
        <a:ext cx="1591310" cy="954786"/>
      </dsp:txXfrm>
    </dsp:sp>
    <dsp:sp modelId="{AA4927E4-1485-4695-B019-CB5B25364067}">
      <dsp:nvSpPr>
        <dsp:cNvPr id="0" name=""/>
        <dsp:cNvSpPr/>
      </dsp:nvSpPr>
      <dsp:spPr>
        <a:xfrm>
          <a:off x="3500883" y="1309338"/>
          <a:ext cx="1591310" cy="954786"/>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sz="800" kern="1200" dirty="0" err="1"/>
            <a:t>Paylaşılan</a:t>
          </a:r>
          <a:r>
            <a:rPr sz="800" kern="1200" dirty="0"/>
            <a:t> </a:t>
          </a:r>
          <a:r>
            <a:rPr sz="800" kern="1200" dirty="0" err="1"/>
            <a:t>mobilite</a:t>
          </a:r>
          <a:r>
            <a:rPr sz="800" kern="1200" dirty="0"/>
            <a:t> </a:t>
          </a:r>
          <a:r>
            <a:rPr sz="800" kern="1200" dirty="0" err="1"/>
            <a:t>hizmetleri</a:t>
          </a:r>
          <a:r>
            <a:rPr sz="800" kern="1200" dirty="0"/>
            <a:t>, </a:t>
          </a:r>
          <a:r>
            <a:rPr sz="800" kern="1200" dirty="0" err="1"/>
            <a:t>hizmet</a:t>
          </a:r>
          <a:r>
            <a:rPr sz="800" kern="1200" dirty="0"/>
            <a:t> </a:t>
          </a:r>
          <a:r>
            <a:rPr sz="800" kern="1200" dirty="0" err="1"/>
            <a:t>verimliliğini</a:t>
          </a:r>
          <a:r>
            <a:rPr sz="800" kern="1200" dirty="0"/>
            <a:t> </a:t>
          </a:r>
          <a:r>
            <a:rPr sz="800" kern="1200" dirty="0" err="1"/>
            <a:t>artırmak</a:t>
          </a:r>
          <a:r>
            <a:rPr sz="800" kern="1200" dirty="0"/>
            <a:t> </a:t>
          </a:r>
          <a:r>
            <a:rPr sz="800" kern="1200" dirty="0" err="1"/>
            <a:t>ve</a:t>
          </a:r>
          <a:r>
            <a:rPr sz="800" kern="1200" dirty="0"/>
            <a:t> </a:t>
          </a:r>
          <a:r>
            <a:rPr sz="800" kern="1200" dirty="0" err="1"/>
            <a:t>ulaşım</a:t>
          </a:r>
          <a:r>
            <a:rPr sz="800" kern="1200" dirty="0"/>
            <a:t> </a:t>
          </a:r>
          <a:r>
            <a:rPr sz="800" kern="1200" dirty="0" err="1"/>
            <a:t>planlamasını</a:t>
          </a:r>
          <a:r>
            <a:rPr sz="800" kern="1200" dirty="0"/>
            <a:t> </a:t>
          </a:r>
          <a:r>
            <a:rPr sz="800" kern="1200" dirty="0" err="1"/>
            <a:t>bilgilendirmek</a:t>
          </a:r>
          <a:r>
            <a:rPr sz="800" kern="1200" dirty="0"/>
            <a:t> </a:t>
          </a:r>
          <a:r>
            <a:rPr sz="800" kern="1200" dirty="0" err="1"/>
            <a:t>için</a:t>
          </a:r>
          <a:r>
            <a:rPr sz="800" kern="1200" dirty="0"/>
            <a:t> </a:t>
          </a:r>
          <a:r>
            <a:rPr sz="800" kern="1200" dirty="0" err="1"/>
            <a:t>kullanılabilecek</a:t>
          </a:r>
          <a:r>
            <a:rPr sz="800" kern="1200" dirty="0"/>
            <a:t> </a:t>
          </a:r>
          <a:r>
            <a:rPr sz="800" kern="1200" dirty="0" err="1"/>
            <a:t>kullanıcı</a:t>
          </a:r>
          <a:r>
            <a:rPr sz="800" kern="1200" dirty="0"/>
            <a:t> </a:t>
          </a:r>
          <a:r>
            <a:rPr sz="800" kern="1200" dirty="0" err="1"/>
            <a:t>davranışı</a:t>
          </a:r>
          <a:r>
            <a:rPr sz="800" kern="1200" dirty="0"/>
            <a:t>, </a:t>
          </a:r>
          <a:r>
            <a:rPr sz="800" kern="1200" dirty="0" err="1"/>
            <a:t>seyahat</a:t>
          </a:r>
          <a:r>
            <a:rPr sz="800" kern="1200" dirty="0"/>
            <a:t> </a:t>
          </a:r>
          <a:r>
            <a:rPr sz="800" kern="1200" dirty="0" err="1"/>
            <a:t>kalıpları</a:t>
          </a:r>
          <a:r>
            <a:rPr sz="800" kern="1200" dirty="0"/>
            <a:t> </a:t>
          </a:r>
          <a:r>
            <a:rPr sz="800" kern="1200" dirty="0" err="1"/>
            <a:t>ve</a:t>
          </a:r>
          <a:r>
            <a:rPr sz="800" kern="1200" dirty="0"/>
            <a:t> </a:t>
          </a:r>
          <a:r>
            <a:rPr sz="800" kern="1200" dirty="0" err="1"/>
            <a:t>kullanım</a:t>
          </a:r>
          <a:r>
            <a:rPr sz="800" kern="1200" dirty="0"/>
            <a:t> </a:t>
          </a:r>
          <a:r>
            <a:rPr sz="800" kern="1200" dirty="0" err="1"/>
            <a:t>kalıpları</a:t>
          </a:r>
          <a:r>
            <a:rPr sz="800" kern="1200" dirty="0"/>
            <a:t> </a:t>
          </a:r>
          <a:r>
            <a:rPr sz="800" kern="1200" dirty="0" err="1"/>
            <a:t>hakkında</a:t>
          </a:r>
          <a:r>
            <a:rPr sz="800" kern="1200" dirty="0"/>
            <a:t> </a:t>
          </a:r>
          <a:r>
            <a:rPr sz="800" kern="1200" dirty="0" err="1"/>
            <a:t>büyük</a:t>
          </a:r>
          <a:r>
            <a:rPr sz="800" kern="1200" dirty="0"/>
            <a:t> </a:t>
          </a:r>
          <a:r>
            <a:rPr sz="800" kern="1200" dirty="0" err="1"/>
            <a:t>miktarda</a:t>
          </a:r>
          <a:r>
            <a:rPr sz="800" kern="1200" dirty="0"/>
            <a:t> </a:t>
          </a:r>
          <a:r>
            <a:rPr sz="800" kern="1200" dirty="0" err="1"/>
            <a:t>veri</a:t>
          </a:r>
          <a:r>
            <a:rPr sz="800" kern="1200" dirty="0"/>
            <a:t> </a:t>
          </a:r>
          <a:r>
            <a:rPr sz="800" kern="1200" dirty="0" err="1"/>
            <a:t>üretebilir</a:t>
          </a:r>
          <a:r>
            <a:rPr sz="800" kern="1200" dirty="0"/>
            <a:t>.</a:t>
          </a:r>
        </a:p>
      </dsp:txBody>
      <dsp:txXfrm>
        <a:off x="3500883" y="1309338"/>
        <a:ext cx="1591310" cy="954786"/>
      </dsp:txXfrm>
    </dsp:sp>
    <dsp:sp modelId="{02C5B5E3-AA88-4929-9FFD-889CC4DFC20B}">
      <dsp:nvSpPr>
        <dsp:cNvPr id="0" name=""/>
        <dsp:cNvSpPr/>
      </dsp:nvSpPr>
      <dsp:spPr>
        <a:xfrm>
          <a:off x="1750441" y="2423255"/>
          <a:ext cx="1591310" cy="954786"/>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ctr" defTabSz="355600">
            <a:lnSpc>
              <a:spcPct val="90000"/>
            </a:lnSpc>
            <a:spcBef>
              <a:spcPct val="0"/>
            </a:spcBef>
            <a:spcAft>
              <a:spcPct val="35000"/>
            </a:spcAft>
            <a:buNone/>
          </a:pPr>
          <a:r>
            <a:rPr sz="800" kern="1200"/>
            <a:t>Paylaşımlı mobilite hizmetlerinin toplu taşıma gibi diğer ulaşım modlarıyla entegrasyonu, kullanıcılar için kesintisiz ve çok modlu ulaşım seçenekleri sağlayabilir.</a:t>
          </a:r>
        </a:p>
      </dsp:txBody>
      <dsp:txXfrm>
        <a:off x="1750441" y="2423255"/>
        <a:ext cx="1591310" cy="95478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BD0619B-ED60-4EA7-AA86-619A3A74ECC5}">
      <dsp:nvSpPr>
        <dsp:cNvPr id="0" name=""/>
        <dsp:cNvSpPr/>
      </dsp:nvSpPr>
      <dsp:spPr>
        <a:xfrm>
          <a:off x="196275" y="382"/>
          <a:ext cx="3341482" cy="3037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l" defTabSz="533400">
            <a:lnSpc>
              <a:spcPct val="90000"/>
            </a:lnSpc>
            <a:spcBef>
              <a:spcPct val="0"/>
            </a:spcBef>
            <a:spcAft>
              <a:spcPct val="35000"/>
            </a:spcAft>
            <a:buNone/>
            <a:defRPr sz="1100"/>
          </a:pPr>
          <a:r>
            <a:rPr sz="1200" kern="1200" dirty="0" err="1"/>
            <a:t>Sorun</a:t>
          </a:r>
          <a:r>
            <a:rPr sz="1200" kern="1200" dirty="0"/>
            <a:t> 2: </a:t>
          </a:r>
          <a:r>
            <a:rPr sz="1200" kern="1200" dirty="0" err="1"/>
            <a:t>Toplu</a:t>
          </a:r>
          <a:r>
            <a:rPr sz="1200" kern="1200" dirty="0"/>
            <a:t> </a:t>
          </a:r>
          <a:r>
            <a:rPr sz="1200" kern="1200" dirty="0" err="1"/>
            <a:t>Taşıma</a:t>
          </a:r>
          <a:r>
            <a:rPr sz="1200" kern="1200" dirty="0"/>
            <a:t> </a:t>
          </a:r>
          <a:r>
            <a:rPr sz="1200" kern="1200" dirty="0" err="1"/>
            <a:t>Yetersizliği</a:t>
          </a:r>
          <a:endParaRPr sz="1200" kern="1200" dirty="0"/>
        </a:p>
      </dsp:txBody>
      <dsp:txXfrm>
        <a:off x="196275" y="382"/>
        <a:ext cx="3341482" cy="303771"/>
      </dsp:txXfrm>
    </dsp:sp>
    <dsp:sp modelId="{599180D1-BBF6-4C82-8622-DED63620C93F}">
      <dsp:nvSpPr>
        <dsp:cNvPr id="0" name=""/>
        <dsp:cNvSpPr/>
      </dsp:nvSpPr>
      <dsp:spPr>
        <a:xfrm>
          <a:off x="196275" y="304154"/>
          <a:ext cx="781906" cy="618793"/>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EC4690D-692F-4D4C-B995-D7451FD22A08}">
      <dsp:nvSpPr>
        <dsp:cNvPr id="0" name=""/>
        <dsp:cNvSpPr/>
      </dsp:nvSpPr>
      <dsp:spPr>
        <a:xfrm>
          <a:off x="665939" y="304154"/>
          <a:ext cx="781906" cy="618793"/>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163BEEF-AC58-4F46-8165-40BEC0718786}">
      <dsp:nvSpPr>
        <dsp:cNvPr id="0" name=""/>
        <dsp:cNvSpPr/>
      </dsp:nvSpPr>
      <dsp:spPr>
        <a:xfrm>
          <a:off x="1135974" y="304154"/>
          <a:ext cx="781906" cy="618793"/>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04037DB-7B20-4DC1-967D-CB7DCF2F5CB9}">
      <dsp:nvSpPr>
        <dsp:cNvPr id="0" name=""/>
        <dsp:cNvSpPr/>
      </dsp:nvSpPr>
      <dsp:spPr>
        <a:xfrm>
          <a:off x="1605638" y="304154"/>
          <a:ext cx="781906" cy="618793"/>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72B07FA-67FC-4A60-85BA-714C5CB44541}">
      <dsp:nvSpPr>
        <dsp:cNvPr id="0" name=""/>
        <dsp:cNvSpPr/>
      </dsp:nvSpPr>
      <dsp:spPr>
        <a:xfrm>
          <a:off x="2075673" y="304154"/>
          <a:ext cx="781906" cy="618793"/>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DA3214B-37AC-45AB-9B8C-F91E4B8B8960}">
      <dsp:nvSpPr>
        <dsp:cNvPr id="0" name=""/>
        <dsp:cNvSpPr/>
      </dsp:nvSpPr>
      <dsp:spPr>
        <a:xfrm>
          <a:off x="2545337" y="304154"/>
          <a:ext cx="781906" cy="618793"/>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F368841-7626-4E57-9529-50CC1CF1DC6D}">
      <dsp:nvSpPr>
        <dsp:cNvPr id="0" name=""/>
        <dsp:cNvSpPr/>
      </dsp:nvSpPr>
      <dsp:spPr>
        <a:xfrm>
          <a:off x="3015372" y="304154"/>
          <a:ext cx="781906" cy="618793"/>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882AC1B-DB88-4DB8-A551-14C43AE69237}">
      <dsp:nvSpPr>
        <dsp:cNvPr id="0" name=""/>
        <dsp:cNvSpPr/>
      </dsp:nvSpPr>
      <dsp:spPr>
        <a:xfrm>
          <a:off x="196275" y="366033"/>
          <a:ext cx="3384921" cy="495034"/>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just" defTabSz="444500">
            <a:lnSpc>
              <a:spcPct val="90000"/>
            </a:lnSpc>
            <a:spcBef>
              <a:spcPct val="0"/>
            </a:spcBef>
            <a:spcAft>
              <a:spcPct val="35000"/>
            </a:spcAft>
            <a:buNone/>
            <a:defRPr sz="1000" kern="1200">
              <a:solidFill>
                <a:prstClr val="black">
                  <a:hueOff val="0"/>
                  <a:satOff val="0"/>
                  <a:lumOff val="0"/>
                  <a:alphaOff val="0"/>
                </a:prstClr>
              </a:solidFill>
              <a:latin typeface="Calibri" panose="020F0502020204030204"/>
              <a:ea typeface="+mn-ea"/>
              <a:cs typeface="+mn-cs"/>
            </a:defRPr>
          </a:pPr>
          <a:r>
            <a:rPr lang="tr-TR" sz="1000" kern="1200" noProof="0" dirty="0"/>
            <a:t>Çözüm: Rota genişletmeleri, artan frekans ve diğer modlarla geliştirilmiş bağlantı yoluyla toplu taşıma ağlarını geliştirin.</a:t>
          </a:r>
        </a:p>
      </dsp:txBody>
      <dsp:txXfrm>
        <a:off x="196275" y="366033"/>
        <a:ext cx="3384921" cy="495034"/>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C6F3BC6-DFA8-4A4C-B422-8A7BF96D0F4A}">
      <dsp:nvSpPr>
        <dsp:cNvPr id="0" name=""/>
        <dsp:cNvSpPr/>
      </dsp:nvSpPr>
      <dsp:spPr>
        <a:xfrm>
          <a:off x="1746384" y="3926"/>
          <a:ext cx="2327564" cy="2327564"/>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just" defTabSz="355600">
            <a:lnSpc>
              <a:spcPct val="90000"/>
            </a:lnSpc>
            <a:spcBef>
              <a:spcPct val="0"/>
            </a:spcBef>
            <a:spcAft>
              <a:spcPct val="35000"/>
            </a:spcAft>
            <a:buNone/>
          </a:pPr>
          <a:r>
            <a:rPr sz="800" kern="1200" dirty="0" err="1"/>
            <a:t>Akıllı</a:t>
          </a:r>
          <a:r>
            <a:rPr sz="800" kern="1200" dirty="0"/>
            <a:t> Ulaşım </a:t>
          </a:r>
          <a:r>
            <a:rPr sz="800" kern="1200" dirty="0" err="1"/>
            <a:t>Sistemleri</a:t>
          </a:r>
          <a:r>
            <a:rPr sz="800" kern="1200" dirty="0"/>
            <a:t> (</a:t>
          </a:r>
          <a:r>
            <a:rPr lang="en-US" sz="800" kern="1200" dirty="0"/>
            <a:t>AUS</a:t>
          </a:r>
          <a:r>
            <a:rPr sz="800" kern="1200" dirty="0"/>
            <a:t>), </a:t>
          </a:r>
          <a:r>
            <a:rPr sz="800" kern="1200" dirty="0" err="1"/>
            <a:t>ulaşım</a:t>
          </a:r>
          <a:r>
            <a:rPr sz="800" kern="1200" dirty="0"/>
            <a:t> </a:t>
          </a:r>
          <a:r>
            <a:rPr sz="800" kern="1200" dirty="0" err="1"/>
            <a:t>sistemlerinin</a:t>
          </a:r>
          <a:r>
            <a:rPr sz="800" kern="1200" dirty="0"/>
            <a:t> </a:t>
          </a:r>
          <a:r>
            <a:rPr sz="800" kern="1200" dirty="0" err="1"/>
            <a:t>güvenliğini</a:t>
          </a:r>
          <a:r>
            <a:rPr sz="800" kern="1200" dirty="0"/>
            <a:t>, </a:t>
          </a:r>
          <a:r>
            <a:rPr sz="800" kern="1200" dirty="0" err="1"/>
            <a:t>verimliliğini</a:t>
          </a:r>
          <a:r>
            <a:rPr sz="800" kern="1200" dirty="0"/>
            <a:t> </a:t>
          </a:r>
          <a:r>
            <a:rPr sz="800" kern="1200" dirty="0" err="1"/>
            <a:t>ve</a:t>
          </a:r>
          <a:r>
            <a:rPr sz="800" kern="1200" dirty="0"/>
            <a:t> </a:t>
          </a:r>
          <a:r>
            <a:rPr sz="800" kern="1200" dirty="0" err="1"/>
            <a:t>sürdürülebilirliğini</a:t>
          </a:r>
          <a:r>
            <a:rPr sz="800" kern="1200" dirty="0"/>
            <a:t> </a:t>
          </a:r>
          <a:r>
            <a:rPr sz="800" kern="1200" dirty="0" err="1"/>
            <a:t>artırmak</a:t>
          </a:r>
          <a:r>
            <a:rPr sz="800" kern="1200" dirty="0"/>
            <a:t> </a:t>
          </a:r>
          <a:r>
            <a:rPr sz="800" kern="1200" dirty="0" err="1"/>
            <a:t>için</a:t>
          </a:r>
          <a:r>
            <a:rPr sz="800" kern="1200" dirty="0"/>
            <a:t> </a:t>
          </a:r>
          <a:r>
            <a:rPr sz="800" kern="1200" dirty="0" err="1"/>
            <a:t>ileri</a:t>
          </a:r>
          <a:r>
            <a:rPr sz="800" kern="1200" dirty="0"/>
            <a:t> </a:t>
          </a:r>
          <a:r>
            <a:rPr sz="800" kern="1200" dirty="0" err="1"/>
            <a:t>teknolojilerin</a:t>
          </a:r>
          <a:r>
            <a:rPr sz="800" kern="1200" dirty="0"/>
            <a:t> </a:t>
          </a:r>
          <a:r>
            <a:rPr sz="800" kern="1200" dirty="0" err="1"/>
            <a:t>uygulanmasını</a:t>
          </a:r>
          <a:r>
            <a:rPr sz="800" kern="1200" dirty="0"/>
            <a:t> </a:t>
          </a:r>
          <a:r>
            <a:rPr sz="800" kern="1200" dirty="0" err="1"/>
            <a:t>ifade</a:t>
          </a:r>
          <a:r>
            <a:rPr sz="800" kern="1200" dirty="0"/>
            <a:t> </a:t>
          </a:r>
          <a:r>
            <a:rPr sz="800" kern="1200" dirty="0" err="1"/>
            <a:t>eder</a:t>
          </a:r>
          <a:r>
            <a:rPr sz="800" kern="1200" dirty="0"/>
            <a:t>. </a:t>
          </a:r>
          <a:r>
            <a:rPr lang="en-US" sz="800" kern="1200" dirty="0"/>
            <a:t>AUS</a:t>
          </a:r>
          <a:r>
            <a:rPr sz="800" kern="1200" dirty="0"/>
            <a:t>, </a:t>
          </a:r>
          <a:r>
            <a:rPr sz="800" kern="1200" dirty="0" err="1"/>
            <a:t>araçtan</a:t>
          </a:r>
          <a:r>
            <a:rPr sz="800" kern="1200" dirty="0"/>
            <a:t> araca (V2V) </a:t>
          </a:r>
          <a:r>
            <a:rPr sz="800" kern="1200" dirty="0" err="1"/>
            <a:t>ve</a:t>
          </a:r>
          <a:r>
            <a:rPr sz="800" kern="1200" dirty="0"/>
            <a:t> </a:t>
          </a:r>
          <a:r>
            <a:rPr sz="800" kern="1200" dirty="0" err="1"/>
            <a:t>araçtan</a:t>
          </a:r>
          <a:r>
            <a:rPr sz="800" kern="1200" dirty="0"/>
            <a:t> </a:t>
          </a:r>
          <a:r>
            <a:rPr sz="800" kern="1200" dirty="0" err="1"/>
            <a:t>altyapıya</a:t>
          </a:r>
          <a:r>
            <a:rPr sz="800" kern="1200" dirty="0"/>
            <a:t> (V2I) </a:t>
          </a:r>
          <a:r>
            <a:rPr sz="800" kern="1200" dirty="0" err="1"/>
            <a:t>iletişim</a:t>
          </a:r>
          <a:r>
            <a:rPr sz="800" kern="1200" dirty="0"/>
            <a:t> </a:t>
          </a:r>
          <a:r>
            <a:rPr sz="800" kern="1200" dirty="0" err="1"/>
            <a:t>sistemleri</a:t>
          </a:r>
          <a:r>
            <a:rPr sz="800" kern="1200" dirty="0"/>
            <a:t>, </a:t>
          </a:r>
          <a:r>
            <a:rPr sz="800" kern="1200" dirty="0" err="1"/>
            <a:t>gelişmiş</a:t>
          </a:r>
          <a:r>
            <a:rPr sz="800" kern="1200" dirty="0"/>
            <a:t> </a:t>
          </a:r>
          <a:r>
            <a:rPr sz="800" kern="1200" dirty="0" err="1"/>
            <a:t>trafik</a:t>
          </a:r>
          <a:r>
            <a:rPr sz="800" kern="1200" dirty="0"/>
            <a:t> </a:t>
          </a:r>
          <a:r>
            <a:rPr sz="800" kern="1200" dirty="0" err="1"/>
            <a:t>yönetim</a:t>
          </a:r>
          <a:r>
            <a:rPr sz="800" kern="1200" dirty="0"/>
            <a:t> </a:t>
          </a:r>
          <a:r>
            <a:rPr sz="800" kern="1200" dirty="0" err="1"/>
            <a:t>sistemleri</a:t>
          </a:r>
          <a:r>
            <a:rPr sz="800" kern="1200" dirty="0"/>
            <a:t> </a:t>
          </a:r>
          <a:r>
            <a:rPr sz="800" kern="1200" dirty="0" err="1"/>
            <a:t>ve</a:t>
          </a:r>
          <a:r>
            <a:rPr sz="800" kern="1200" dirty="0"/>
            <a:t> </a:t>
          </a:r>
          <a:r>
            <a:rPr sz="800" kern="1200" dirty="0" err="1"/>
            <a:t>otomatik</a:t>
          </a:r>
          <a:r>
            <a:rPr sz="800" kern="1200" dirty="0"/>
            <a:t> </a:t>
          </a:r>
          <a:r>
            <a:rPr sz="800" kern="1200" dirty="0" err="1"/>
            <a:t>araçlar</a:t>
          </a:r>
          <a:r>
            <a:rPr sz="800" kern="1200" dirty="0"/>
            <a:t> </a:t>
          </a:r>
          <a:r>
            <a:rPr sz="800" kern="1200" dirty="0" err="1"/>
            <a:t>gibi</a:t>
          </a:r>
          <a:r>
            <a:rPr sz="800" kern="1200" dirty="0"/>
            <a:t> </a:t>
          </a:r>
          <a:r>
            <a:rPr sz="800" kern="1200" dirty="0" err="1"/>
            <a:t>bir</a:t>
          </a:r>
          <a:r>
            <a:rPr sz="800" kern="1200" dirty="0"/>
            <a:t> dizi </a:t>
          </a:r>
          <a:r>
            <a:rPr sz="800" kern="1200" dirty="0" err="1"/>
            <a:t>teknolojiyi</a:t>
          </a:r>
          <a:r>
            <a:rPr sz="800" kern="1200" dirty="0"/>
            <a:t> </a:t>
          </a:r>
          <a:r>
            <a:rPr sz="800" kern="1200" dirty="0" err="1"/>
            <a:t>içerebilir</a:t>
          </a:r>
          <a:r>
            <a:rPr sz="800" kern="1200" dirty="0"/>
            <a:t>. </a:t>
          </a:r>
          <a:r>
            <a:rPr lang="en-US" sz="800" kern="1200" dirty="0" err="1"/>
            <a:t>AUS</a:t>
          </a:r>
          <a:r>
            <a:rPr sz="800" kern="1200" dirty="0" err="1"/>
            <a:t>'nin</a:t>
          </a:r>
          <a:r>
            <a:rPr sz="800" kern="1200" dirty="0"/>
            <a:t> </a:t>
          </a:r>
          <a:r>
            <a:rPr sz="800" kern="1200" dirty="0" err="1"/>
            <a:t>nihai</a:t>
          </a:r>
          <a:r>
            <a:rPr sz="800" kern="1200" dirty="0"/>
            <a:t> </a:t>
          </a:r>
          <a:r>
            <a:rPr sz="800" kern="1200" dirty="0" err="1"/>
            <a:t>hedefi</a:t>
          </a:r>
          <a:r>
            <a:rPr sz="800" kern="1200" dirty="0"/>
            <a:t>, </a:t>
          </a:r>
          <a:r>
            <a:rPr sz="800" kern="1200" dirty="0" err="1"/>
            <a:t>kullanıcıların</a:t>
          </a:r>
          <a:r>
            <a:rPr sz="800" kern="1200" dirty="0"/>
            <a:t> </a:t>
          </a:r>
          <a:r>
            <a:rPr sz="800" kern="1200" dirty="0" err="1"/>
            <a:t>ihtiyaçlarına</a:t>
          </a:r>
          <a:r>
            <a:rPr sz="800" kern="1200" dirty="0"/>
            <a:t> </a:t>
          </a:r>
          <a:r>
            <a:rPr sz="800" kern="1200" dirty="0" err="1"/>
            <a:t>daha</a:t>
          </a:r>
          <a:r>
            <a:rPr sz="800" kern="1200" dirty="0"/>
            <a:t> iyi </a:t>
          </a:r>
          <a:r>
            <a:rPr sz="800" kern="1200" dirty="0" err="1"/>
            <a:t>cevap</a:t>
          </a:r>
          <a:r>
            <a:rPr sz="800" kern="1200" dirty="0"/>
            <a:t> </a:t>
          </a:r>
          <a:r>
            <a:rPr sz="800" kern="1200" dirty="0" err="1"/>
            <a:t>verebilecek</a:t>
          </a:r>
          <a:r>
            <a:rPr sz="800" kern="1200" dirty="0"/>
            <a:t> </a:t>
          </a:r>
          <a:r>
            <a:rPr sz="800" kern="1200" dirty="0" err="1"/>
            <a:t>ve</a:t>
          </a:r>
          <a:r>
            <a:rPr sz="800" kern="1200" dirty="0"/>
            <a:t> </a:t>
          </a:r>
          <a:r>
            <a:rPr sz="800" kern="1200" dirty="0" err="1"/>
            <a:t>genel</a:t>
          </a:r>
          <a:r>
            <a:rPr sz="800" kern="1200" dirty="0"/>
            <a:t> </a:t>
          </a:r>
          <a:r>
            <a:rPr sz="800" kern="1200" dirty="0" err="1"/>
            <a:t>ulaşım</a:t>
          </a:r>
          <a:r>
            <a:rPr sz="800" kern="1200" dirty="0"/>
            <a:t> </a:t>
          </a:r>
          <a:r>
            <a:rPr sz="800" kern="1200" dirty="0" err="1"/>
            <a:t>sonuçlarını</a:t>
          </a:r>
          <a:r>
            <a:rPr sz="800" kern="1200" dirty="0"/>
            <a:t> </a:t>
          </a:r>
          <a:r>
            <a:rPr sz="800" kern="1200" dirty="0" err="1"/>
            <a:t>iyileştirebilecek</a:t>
          </a:r>
          <a:r>
            <a:rPr sz="800" kern="1200" dirty="0"/>
            <a:t> </a:t>
          </a:r>
          <a:r>
            <a:rPr sz="800" kern="1200" dirty="0" err="1"/>
            <a:t>daha</a:t>
          </a:r>
          <a:r>
            <a:rPr sz="800" kern="1200" dirty="0"/>
            <a:t> </a:t>
          </a:r>
          <a:r>
            <a:rPr sz="800" kern="1200" dirty="0" err="1"/>
            <a:t>entegre</a:t>
          </a:r>
          <a:r>
            <a:rPr sz="800" kern="1200" dirty="0"/>
            <a:t> </a:t>
          </a:r>
          <a:r>
            <a:rPr sz="800" kern="1200" dirty="0" err="1"/>
            <a:t>ve</a:t>
          </a:r>
          <a:r>
            <a:rPr sz="800" kern="1200" dirty="0"/>
            <a:t> </a:t>
          </a:r>
          <a:r>
            <a:rPr sz="800" kern="1200" dirty="0" err="1"/>
            <a:t>bağlantılı</a:t>
          </a:r>
          <a:r>
            <a:rPr sz="800" kern="1200" dirty="0"/>
            <a:t> </a:t>
          </a:r>
          <a:r>
            <a:rPr sz="800" kern="1200" dirty="0" err="1"/>
            <a:t>bir</a:t>
          </a:r>
          <a:r>
            <a:rPr sz="800" kern="1200" dirty="0"/>
            <a:t> </a:t>
          </a:r>
          <a:r>
            <a:rPr sz="800" kern="1200" dirty="0" err="1"/>
            <a:t>ulaşım</a:t>
          </a:r>
          <a:r>
            <a:rPr sz="800" kern="1200" dirty="0"/>
            <a:t> </a:t>
          </a:r>
          <a:r>
            <a:rPr sz="800" kern="1200" dirty="0" err="1"/>
            <a:t>sistemi</a:t>
          </a:r>
          <a:r>
            <a:rPr sz="800" kern="1200" dirty="0"/>
            <a:t> </a:t>
          </a:r>
          <a:r>
            <a:rPr sz="800" kern="1200" dirty="0" err="1"/>
            <a:t>oluşturmaktır</a:t>
          </a:r>
          <a:r>
            <a:rPr sz="800" kern="1200" dirty="0"/>
            <a:t>.</a:t>
          </a:r>
        </a:p>
      </dsp:txBody>
      <dsp:txXfrm>
        <a:off x="2087248" y="344790"/>
        <a:ext cx="1645836" cy="1645836"/>
      </dsp:txXfrm>
    </dsp:sp>
    <dsp:sp modelId="{8A4DFFA3-906F-43AF-A74E-046B0BDC1664}">
      <dsp:nvSpPr>
        <dsp:cNvPr id="0" name=""/>
        <dsp:cNvSpPr/>
      </dsp:nvSpPr>
      <dsp:spPr>
        <a:xfrm rot="3600000">
          <a:off x="3465859" y="2271852"/>
          <a:ext cx="617107" cy="785553"/>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just" defTabSz="266700">
            <a:lnSpc>
              <a:spcPct val="90000"/>
            </a:lnSpc>
            <a:spcBef>
              <a:spcPct val="0"/>
            </a:spcBef>
            <a:spcAft>
              <a:spcPct val="35000"/>
            </a:spcAft>
            <a:buNone/>
          </a:pPr>
          <a:endParaRPr lang="en-US" sz="600" kern="1200"/>
        </a:p>
      </dsp:txBody>
      <dsp:txXfrm>
        <a:off x="3512142" y="2348798"/>
        <a:ext cx="431975" cy="471331"/>
      </dsp:txXfrm>
    </dsp:sp>
    <dsp:sp modelId="{C7183626-7E10-4860-8FEF-F47EAA744A0C}">
      <dsp:nvSpPr>
        <dsp:cNvPr id="0" name=""/>
        <dsp:cNvSpPr/>
      </dsp:nvSpPr>
      <dsp:spPr>
        <a:xfrm>
          <a:off x="3492343" y="3028016"/>
          <a:ext cx="2327564" cy="2327564"/>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just" defTabSz="355600">
            <a:lnSpc>
              <a:spcPct val="90000"/>
            </a:lnSpc>
            <a:spcBef>
              <a:spcPct val="0"/>
            </a:spcBef>
            <a:spcAft>
              <a:spcPct val="35000"/>
            </a:spcAft>
            <a:buNone/>
          </a:pPr>
          <a:r>
            <a:rPr sz="800" kern="1200" dirty="0"/>
            <a:t>Bir dizi </a:t>
          </a:r>
          <a:r>
            <a:rPr sz="800" kern="1200" dirty="0" err="1"/>
            <a:t>gelişmiş</a:t>
          </a:r>
          <a:r>
            <a:rPr sz="800" kern="1200" dirty="0"/>
            <a:t> </a:t>
          </a:r>
          <a:r>
            <a:rPr sz="800" kern="1200" dirty="0" err="1"/>
            <a:t>teknolojiyi</a:t>
          </a:r>
          <a:r>
            <a:rPr sz="800" kern="1200" dirty="0"/>
            <a:t> </a:t>
          </a:r>
          <a:r>
            <a:rPr sz="800" kern="1200" dirty="0" err="1"/>
            <a:t>entegre</a:t>
          </a:r>
          <a:r>
            <a:rPr sz="800" kern="1200" dirty="0"/>
            <a:t> </a:t>
          </a:r>
          <a:r>
            <a:rPr sz="800" kern="1200" dirty="0" err="1"/>
            <a:t>ederek</a:t>
          </a:r>
          <a:r>
            <a:rPr sz="800" kern="1200" dirty="0"/>
            <a:t>, </a:t>
          </a:r>
          <a:r>
            <a:rPr lang="en-US" sz="800" kern="1200" dirty="0"/>
            <a:t>AUS</a:t>
          </a:r>
          <a:r>
            <a:rPr sz="800" kern="1200" dirty="0"/>
            <a:t> </a:t>
          </a:r>
          <a:r>
            <a:rPr sz="800" kern="1200" dirty="0" err="1"/>
            <a:t>seyahat</a:t>
          </a:r>
          <a:r>
            <a:rPr sz="800" kern="1200" dirty="0"/>
            <a:t> </a:t>
          </a:r>
          <a:r>
            <a:rPr sz="800" kern="1200" dirty="0" err="1"/>
            <a:t>süresini</a:t>
          </a:r>
          <a:r>
            <a:rPr sz="800" kern="1200" dirty="0"/>
            <a:t> </a:t>
          </a:r>
          <a:r>
            <a:rPr sz="800" kern="1200" dirty="0" err="1"/>
            <a:t>azaltan</a:t>
          </a:r>
          <a:r>
            <a:rPr sz="800" kern="1200" dirty="0"/>
            <a:t>, </a:t>
          </a:r>
          <a:r>
            <a:rPr sz="800" kern="1200" dirty="0" err="1"/>
            <a:t>güvenliği</a:t>
          </a:r>
          <a:r>
            <a:rPr sz="800" kern="1200" dirty="0"/>
            <a:t> </a:t>
          </a:r>
          <a:r>
            <a:rPr sz="800" kern="1200" dirty="0" err="1"/>
            <a:t>artıran</a:t>
          </a:r>
          <a:r>
            <a:rPr sz="800" kern="1200" dirty="0"/>
            <a:t> </a:t>
          </a:r>
          <a:r>
            <a:rPr sz="800" kern="1200" dirty="0" err="1"/>
            <a:t>ve</a:t>
          </a:r>
          <a:r>
            <a:rPr sz="800" kern="1200" dirty="0"/>
            <a:t> </a:t>
          </a:r>
          <a:r>
            <a:rPr sz="800" kern="1200" dirty="0" err="1"/>
            <a:t>çevresel</a:t>
          </a:r>
          <a:r>
            <a:rPr sz="800" kern="1200" dirty="0"/>
            <a:t> </a:t>
          </a:r>
          <a:r>
            <a:rPr sz="800" kern="1200" dirty="0" err="1"/>
            <a:t>etkiyi</a:t>
          </a:r>
          <a:r>
            <a:rPr sz="800" kern="1200" dirty="0"/>
            <a:t> </a:t>
          </a:r>
          <a:r>
            <a:rPr sz="800" kern="1200" dirty="0" err="1"/>
            <a:t>en</a:t>
          </a:r>
          <a:r>
            <a:rPr sz="800" kern="1200" dirty="0"/>
            <a:t> </a:t>
          </a:r>
          <a:r>
            <a:rPr sz="800" kern="1200" dirty="0" err="1"/>
            <a:t>aza</a:t>
          </a:r>
          <a:r>
            <a:rPr sz="800" kern="1200" dirty="0"/>
            <a:t> </a:t>
          </a:r>
          <a:r>
            <a:rPr sz="800" kern="1200" dirty="0" err="1"/>
            <a:t>indiren</a:t>
          </a:r>
          <a:r>
            <a:rPr sz="800" kern="1200" dirty="0"/>
            <a:t> </a:t>
          </a:r>
          <a:r>
            <a:rPr sz="800" kern="1200" dirty="0" err="1"/>
            <a:t>daha</a:t>
          </a:r>
          <a:r>
            <a:rPr sz="800" kern="1200" dirty="0"/>
            <a:t> </a:t>
          </a:r>
          <a:r>
            <a:rPr sz="800" kern="1200" dirty="0" err="1"/>
            <a:t>sorunsuz</a:t>
          </a:r>
          <a:r>
            <a:rPr sz="800" kern="1200" dirty="0"/>
            <a:t> </a:t>
          </a:r>
          <a:r>
            <a:rPr sz="800" kern="1200" dirty="0" err="1"/>
            <a:t>ve</a:t>
          </a:r>
          <a:r>
            <a:rPr sz="800" kern="1200" dirty="0"/>
            <a:t> </a:t>
          </a:r>
          <a:r>
            <a:rPr sz="800" kern="1200" dirty="0" err="1"/>
            <a:t>verimli</a:t>
          </a:r>
          <a:r>
            <a:rPr sz="800" kern="1200" dirty="0"/>
            <a:t> </a:t>
          </a:r>
          <a:r>
            <a:rPr sz="800" kern="1200" dirty="0" err="1"/>
            <a:t>bir</a:t>
          </a:r>
          <a:r>
            <a:rPr sz="800" kern="1200" dirty="0"/>
            <a:t> </a:t>
          </a:r>
          <a:r>
            <a:rPr sz="800" kern="1200" dirty="0" err="1"/>
            <a:t>ulaşım</a:t>
          </a:r>
          <a:r>
            <a:rPr sz="800" kern="1200" dirty="0"/>
            <a:t> </a:t>
          </a:r>
          <a:r>
            <a:rPr sz="800" kern="1200" dirty="0" err="1"/>
            <a:t>sistemi</a:t>
          </a:r>
          <a:r>
            <a:rPr sz="800" kern="1200" dirty="0"/>
            <a:t> </a:t>
          </a:r>
          <a:r>
            <a:rPr sz="800" kern="1200" dirty="0" err="1"/>
            <a:t>oluşturabilir</a:t>
          </a:r>
          <a:r>
            <a:rPr sz="800" kern="1200" dirty="0"/>
            <a:t>. Bu </a:t>
          </a:r>
          <a:r>
            <a:rPr sz="800" kern="1200" dirty="0" err="1"/>
            <a:t>teknolojiler</a:t>
          </a:r>
          <a:r>
            <a:rPr sz="800" kern="1200" dirty="0"/>
            <a:t>, </a:t>
          </a:r>
          <a:r>
            <a:rPr sz="800" kern="1200" dirty="0" err="1"/>
            <a:t>gerçek</a:t>
          </a:r>
          <a:r>
            <a:rPr sz="800" kern="1200" dirty="0"/>
            <a:t> </a:t>
          </a:r>
          <a:r>
            <a:rPr sz="800" kern="1200" dirty="0" err="1"/>
            <a:t>zamanlı</a:t>
          </a:r>
          <a:r>
            <a:rPr sz="800" kern="1200" dirty="0"/>
            <a:t> </a:t>
          </a:r>
          <a:r>
            <a:rPr sz="800" kern="1200" dirty="0" err="1"/>
            <a:t>trafik</a:t>
          </a:r>
          <a:r>
            <a:rPr sz="800" kern="1200" dirty="0"/>
            <a:t> </a:t>
          </a:r>
          <a:r>
            <a:rPr sz="800" kern="1200" dirty="0" err="1"/>
            <a:t>güncellemeleri</a:t>
          </a:r>
          <a:r>
            <a:rPr sz="800" kern="1200" dirty="0"/>
            <a:t> </a:t>
          </a:r>
          <a:r>
            <a:rPr sz="800" kern="1200" dirty="0" err="1"/>
            <a:t>sağlayan</a:t>
          </a:r>
          <a:r>
            <a:rPr sz="800" kern="1200" dirty="0"/>
            <a:t> </a:t>
          </a:r>
          <a:r>
            <a:rPr sz="800" kern="1200" dirty="0" err="1"/>
            <a:t>temel</a:t>
          </a:r>
          <a:r>
            <a:rPr sz="800" kern="1200" dirty="0"/>
            <a:t> </a:t>
          </a:r>
          <a:r>
            <a:rPr sz="800" kern="1200" dirty="0" err="1"/>
            <a:t>trafik</a:t>
          </a:r>
          <a:r>
            <a:rPr sz="800" kern="1200" dirty="0"/>
            <a:t> </a:t>
          </a:r>
          <a:r>
            <a:rPr sz="800" kern="1200" dirty="0" err="1"/>
            <a:t>izleme</a:t>
          </a:r>
          <a:r>
            <a:rPr sz="800" kern="1200" dirty="0"/>
            <a:t> </a:t>
          </a:r>
          <a:r>
            <a:rPr sz="800" kern="1200" dirty="0" err="1"/>
            <a:t>sistemlerinden</a:t>
          </a:r>
          <a:r>
            <a:rPr sz="800" kern="1200" dirty="0"/>
            <a:t>, </a:t>
          </a:r>
          <a:r>
            <a:rPr sz="800" kern="1200" dirty="0" err="1"/>
            <a:t>trafik</a:t>
          </a:r>
          <a:r>
            <a:rPr sz="800" kern="1200" dirty="0"/>
            <a:t> </a:t>
          </a:r>
          <a:r>
            <a:rPr sz="800" kern="1200" dirty="0" err="1"/>
            <a:t>modellerini</a:t>
          </a:r>
          <a:r>
            <a:rPr sz="800" kern="1200" dirty="0"/>
            <a:t> </a:t>
          </a:r>
          <a:r>
            <a:rPr sz="800" kern="1200" dirty="0" err="1"/>
            <a:t>tahmin</a:t>
          </a:r>
          <a:r>
            <a:rPr sz="800" kern="1200" dirty="0"/>
            <a:t> </a:t>
          </a:r>
          <a:r>
            <a:rPr sz="800" kern="1200" dirty="0" err="1"/>
            <a:t>etmek</a:t>
          </a:r>
          <a:r>
            <a:rPr sz="800" kern="1200" dirty="0"/>
            <a:t> </a:t>
          </a:r>
          <a:r>
            <a:rPr sz="800" kern="1200" dirty="0" err="1"/>
            <a:t>ve</a:t>
          </a:r>
          <a:r>
            <a:rPr sz="800" kern="1200" dirty="0"/>
            <a:t> </a:t>
          </a:r>
          <a:r>
            <a:rPr sz="800" kern="1200" dirty="0" err="1"/>
            <a:t>trafik</a:t>
          </a:r>
          <a:r>
            <a:rPr sz="800" kern="1200" dirty="0"/>
            <a:t> </a:t>
          </a:r>
          <a:r>
            <a:rPr sz="800" kern="1200" dirty="0" err="1"/>
            <a:t>akışını</a:t>
          </a:r>
          <a:r>
            <a:rPr sz="800" kern="1200" dirty="0"/>
            <a:t> optimize </a:t>
          </a:r>
          <a:r>
            <a:rPr sz="800" kern="1200" dirty="0" err="1"/>
            <a:t>etmek</a:t>
          </a:r>
          <a:r>
            <a:rPr sz="800" kern="1200" dirty="0"/>
            <a:t> </a:t>
          </a:r>
          <a:r>
            <a:rPr sz="800" kern="1200" dirty="0" err="1"/>
            <a:t>için</a:t>
          </a:r>
          <a:r>
            <a:rPr sz="800" kern="1200" dirty="0"/>
            <a:t> </a:t>
          </a:r>
          <a:r>
            <a:rPr sz="800" kern="1200" dirty="0" err="1"/>
            <a:t>yapay</a:t>
          </a:r>
          <a:r>
            <a:rPr sz="800" kern="1200" dirty="0"/>
            <a:t> </a:t>
          </a:r>
          <a:r>
            <a:rPr sz="800" kern="1200" dirty="0" err="1"/>
            <a:t>zeka</a:t>
          </a:r>
          <a:r>
            <a:rPr sz="800" kern="1200" dirty="0"/>
            <a:t> </a:t>
          </a:r>
          <a:r>
            <a:rPr sz="800" kern="1200" dirty="0" err="1"/>
            <a:t>ve</a:t>
          </a:r>
          <a:r>
            <a:rPr sz="800" kern="1200" dirty="0"/>
            <a:t> </a:t>
          </a:r>
          <a:r>
            <a:rPr sz="800" kern="1200" dirty="0" err="1"/>
            <a:t>makine</a:t>
          </a:r>
          <a:r>
            <a:rPr sz="800" kern="1200" dirty="0"/>
            <a:t> </a:t>
          </a:r>
          <a:r>
            <a:rPr sz="800" kern="1200" dirty="0" err="1"/>
            <a:t>öğrenimi</a:t>
          </a:r>
          <a:r>
            <a:rPr sz="800" kern="1200" dirty="0"/>
            <a:t> </a:t>
          </a:r>
          <a:r>
            <a:rPr sz="800" kern="1200" dirty="0" err="1"/>
            <a:t>algoritmalarını</a:t>
          </a:r>
          <a:r>
            <a:rPr sz="800" kern="1200" dirty="0"/>
            <a:t> </a:t>
          </a:r>
          <a:r>
            <a:rPr sz="800" kern="1200" dirty="0" err="1"/>
            <a:t>kullanan</a:t>
          </a:r>
          <a:r>
            <a:rPr sz="800" kern="1200" dirty="0"/>
            <a:t> </a:t>
          </a:r>
          <a:r>
            <a:rPr sz="800" kern="1200" dirty="0" err="1"/>
            <a:t>karmaşık</a:t>
          </a:r>
          <a:r>
            <a:rPr sz="800" kern="1200" dirty="0"/>
            <a:t> </a:t>
          </a:r>
          <a:r>
            <a:rPr sz="800" kern="1200" dirty="0" err="1"/>
            <a:t>otomatik</a:t>
          </a:r>
          <a:r>
            <a:rPr sz="800" kern="1200" dirty="0"/>
            <a:t> </a:t>
          </a:r>
          <a:r>
            <a:rPr sz="800" kern="1200" dirty="0" err="1"/>
            <a:t>sistemlere</a:t>
          </a:r>
          <a:r>
            <a:rPr sz="800" kern="1200" dirty="0"/>
            <a:t> </a:t>
          </a:r>
          <a:r>
            <a:rPr sz="800" kern="1200" dirty="0" err="1"/>
            <a:t>kadar</a:t>
          </a:r>
          <a:r>
            <a:rPr sz="800" kern="1200" dirty="0"/>
            <a:t> </a:t>
          </a:r>
          <a:r>
            <a:rPr sz="800" kern="1200" dirty="0" err="1"/>
            <a:t>değişebilir</a:t>
          </a:r>
          <a:r>
            <a:rPr sz="800" kern="1200" dirty="0"/>
            <a:t>.</a:t>
          </a:r>
        </a:p>
      </dsp:txBody>
      <dsp:txXfrm>
        <a:off x="3833207" y="3368880"/>
        <a:ext cx="1645836" cy="1645836"/>
      </dsp:txXfrm>
    </dsp:sp>
    <dsp:sp modelId="{246A82E3-3AD1-410B-ABC4-514578AC168D}">
      <dsp:nvSpPr>
        <dsp:cNvPr id="0" name=""/>
        <dsp:cNvSpPr/>
      </dsp:nvSpPr>
      <dsp:spPr>
        <a:xfrm rot="10800000">
          <a:off x="2619078" y="3799022"/>
          <a:ext cx="617107" cy="785553"/>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just" defTabSz="266700">
            <a:lnSpc>
              <a:spcPct val="90000"/>
            </a:lnSpc>
            <a:spcBef>
              <a:spcPct val="0"/>
            </a:spcBef>
            <a:spcAft>
              <a:spcPct val="35000"/>
            </a:spcAft>
            <a:buNone/>
          </a:pPr>
          <a:endParaRPr lang="en-US" sz="600" kern="1200"/>
        </a:p>
      </dsp:txBody>
      <dsp:txXfrm rot="10800000">
        <a:off x="2804210" y="3956133"/>
        <a:ext cx="431975" cy="471331"/>
      </dsp:txXfrm>
    </dsp:sp>
    <dsp:sp modelId="{22C3646A-A6B5-465B-A163-2649D70BD0A5}">
      <dsp:nvSpPr>
        <dsp:cNvPr id="0" name=""/>
        <dsp:cNvSpPr/>
      </dsp:nvSpPr>
      <dsp:spPr>
        <a:xfrm>
          <a:off x="424" y="3028016"/>
          <a:ext cx="2327564" cy="2327564"/>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marL="0" lvl="0" indent="0" algn="just" defTabSz="355600">
            <a:lnSpc>
              <a:spcPct val="90000"/>
            </a:lnSpc>
            <a:spcBef>
              <a:spcPct val="0"/>
            </a:spcBef>
            <a:spcAft>
              <a:spcPct val="35000"/>
            </a:spcAft>
            <a:buNone/>
          </a:pPr>
          <a:r>
            <a:rPr sz="800" kern="1200" dirty="0" err="1"/>
            <a:t>Teknolojilerinin</a:t>
          </a:r>
          <a:r>
            <a:rPr sz="800" kern="1200" dirty="0"/>
            <a:t> </a:t>
          </a:r>
          <a:r>
            <a:rPr sz="800" kern="1200" dirty="0" err="1"/>
            <a:t>bazı</a:t>
          </a:r>
          <a:r>
            <a:rPr sz="800" kern="1200" dirty="0"/>
            <a:t> </a:t>
          </a:r>
          <a:r>
            <a:rPr sz="800" kern="1200" dirty="0" err="1"/>
            <a:t>örnekleri</a:t>
          </a:r>
          <a:r>
            <a:rPr sz="800" kern="1200" dirty="0"/>
            <a:t>, </a:t>
          </a:r>
          <a:r>
            <a:rPr sz="800" kern="1200" dirty="0" err="1"/>
            <a:t>trafik</a:t>
          </a:r>
          <a:r>
            <a:rPr sz="800" kern="1200" dirty="0"/>
            <a:t> </a:t>
          </a:r>
          <a:r>
            <a:rPr sz="800" kern="1200" dirty="0" err="1"/>
            <a:t>akışını</a:t>
          </a:r>
          <a:r>
            <a:rPr sz="800" kern="1200" dirty="0"/>
            <a:t> optimize </a:t>
          </a:r>
          <a:r>
            <a:rPr sz="800" kern="1200" dirty="0" err="1"/>
            <a:t>etmek</a:t>
          </a:r>
          <a:r>
            <a:rPr sz="800" kern="1200" dirty="0"/>
            <a:t> </a:t>
          </a:r>
          <a:r>
            <a:rPr sz="800" kern="1200" dirty="0" err="1"/>
            <a:t>ve</a:t>
          </a:r>
          <a:r>
            <a:rPr sz="800" kern="1200" dirty="0"/>
            <a:t> </a:t>
          </a:r>
          <a:r>
            <a:rPr sz="800" kern="1200" dirty="0" err="1"/>
            <a:t>tıkanıklığı</a:t>
          </a:r>
          <a:r>
            <a:rPr sz="800" kern="1200" dirty="0"/>
            <a:t> </a:t>
          </a:r>
          <a:r>
            <a:rPr sz="800" kern="1200" dirty="0" err="1"/>
            <a:t>azaltmak</a:t>
          </a:r>
          <a:r>
            <a:rPr sz="800" kern="1200" dirty="0"/>
            <a:t> </a:t>
          </a:r>
          <a:r>
            <a:rPr sz="800" kern="1200" dirty="0" err="1"/>
            <a:t>için</a:t>
          </a:r>
          <a:r>
            <a:rPr sz="800" kern="1200" dirty="0"/>
            <a:t> </a:t>
          </a:r>
          <a:r>
            <a:rPr sz="800" kern="1200" dirty="0" err="1"/>
            <a:t>gerçek</a:t>
          </a:r>
          <a:r>
            <a:rPr sz="800" kern="1200" dirty="0"/>
            <a:t> </a:t>
          </a:r>
          <a:r>
            <a:rPr sz="800" kern="1200" dirty="0" err="1"/>
            <a:t>zamanlı</a:t>
          </a:r>
          <a:r>
            <a:rPr sz="800" kern="1200" dirty="0"/>
            <a:t> </a:t>
          </a:r>
          <a:r>
            <a:rPr sz="800" kern="1200" dirty="0" err="1"/>
            <a:t>trafik</a:t>
          </a:r>
          <a:r>
            <a:rPr sz="800" kern="1200" dirty="0"/>
            <a:t> </a:t>
          </a:r>
          <a:r>
            <a:rPr sz="800" kern="1200" dirty="0" err="1"/>
            <a:t>verilerini</a:t>
          </a:r>
          <a:r>
            <a:rPr sz="800" kern="1200" dirty="0"/>
            <a:t> </a:t>
          </a:r>
          <a:r>
            <a:rPr sz="800" kern="1200" dirty="0" err="1"/>
            <a:t>kullanan</a:t>
          </a:r>
          <a:r>
            <a:rPr sz="800" kern="1200" dirty="0"/>
            <a:t> </a:t>
          </a:r>
          <a:r>
            <a:rPr sz="800" kern="1200" dirty="0" err="1"/>
            <a:t>gelişmiş</a:t>
          </a:r>
          <a:r>
            <a:rPr sz="800" kern="1200" dirty="0"/>
            <a:t> </a:t>
          </a:r>
          <a:r>
            <a:rPr sz="800" kern="1200" dirty="0" err="1"/>
            <a:t>trafik</a:t>
          </a:r>
          <a:r>
            <a:rPr sz="800" kern="1200" dirty="0"/>
            <a:t> </a:t>
          </a:r>
          <a:r>
            <a:rPr sz="800" kern="1200" dirty="0" err="1"/>
            <a:t>yönetim</a:t>
          </a:r>
          <a:r>
            <a:rPr sz="800" kern="1200" dirty="0"/>
            <a:t> </a:t>
          </a:r>
          <a:r>
            <a:rPr sz="800" kern="1200" dirty="0" err="1"/>
            <a:t>sistemlerini</a:t>
          </a:r>
          <a:r>
            <a:rPr sz="800" kern="1200" dirty="0"/>
            <a:t> </a:t>
          </a:r>
          <a:r>
            <a:rPr sz="800" kern="1200" dirty="0" err="1"/>
            <a:t>ve</a:t>
          </a:r>
          <a:r>
            <a:rPr sz="800" kern="1200" dirty="0"/>
            <a:t> </a:t>
          </a:r>
          <a:r>
            <a:rPr sz="800" kern="1200" dirty="0" err="1"/>
            <a:t>karayollarında</a:t>
          </a:r>
          <a:r>
            <a:rPr sz="800" kern="1200" dirty="0"/>
            <a:t> </a:t>
          </a:r>
          <a:r>
            <a:rPr sz="800" kern="1200" dirty="0" err="1"/>
            <a:t>gezinmek</a:t>
          </a:r>
          <a:r>
            <a:rPr sz="800" kern="1200" dirty="0"/>
            <a:t> </a:t>
          </a:r>
          <a:r>
            <a:rPr sz="800" kern="1200" dirty="0" err="1"/>
            <a:t>ve</a:t>
          </a:r>
          <a:r>
            <a:rPr sz="800" kern="1200" dirty="0"/>
            <a:t> </a:t>
          </a:r>
          <a:r>
            <a:rPr sz="800" kern="1200" dirty="0" err="1"/>
            <a:t>diğer</a:t>
          </a:r>
          <a:r>
            <a:rPr sz="800" kern="1200" dirty="0"/>
            <a:t> </a:t>
          </a:r>
          <a:r>
            <a:rPr sz="800" kern="1200" dirty="0" err="1"/>
            <a:t>araçlarla</a:t>
          </a:r>
          <a:r>
            <a:rPr sz="800" kern="1200" dirty="0"/>
            <a:t> </a:t>
          </a:r>
          <a:r>
            <a:rPr sz="800" kern="1200" dirty="0" err="1"/>
            <a:t>etkileşim</a:t>
          </a:r>
          <a:r>
            <a:rPr sz="800" kern="1200" dirty="0"/>
            <a:t> </a:t>
          </a:r>
          <a:r>
            <a:rPr sz="800" kern="1200" dirty="0" err="1"/>
            <a:t>kurmak</a:t>
          </a:r>
          <a:r>
            <a:rPr sz="800" kern="1200" dirty="0"/>
            <a:t> </a:t>
          </a:r>
          <a:r>
            <a:rPr sz="800" kern="1200" dirty="0" err="1"/>
            <a:t>için</a:t>
          </a:r>
          <a:r>
            <a:rPr sz="800" kern="1200" dirty="0"/>
            <a:t> </a:t>
          </a:r>
          <a:r>
            <a:rPr sz="800" kern="1200" dirty="0" err="1"/>
            <a:t>bir</a:t>
          </a:r>
          <a:r>
            <a:rPr sz="800" kern="1200" dirty="0"/>
            <a:t> dizi </a:t>
          </a:r>
          <a:r>
            <a:rPr sz="800" kern="1200" dirty="0" err="1"/>
            <a:t>sensör</a:t>
          </a:r>
          <a:r>
            <a:rPr sz="800" kern="1200" dirty="0"/>
            <a:t> </a:t>
          </a:r>
          <a:r>
            <a:rPr sz="800" kern="1200" dirty="0" err="1"/>
            <a:t>ve</a:t>
          </a:r>
          <a:r>
            <a:rPr sz="800" kern="1200" dirty="0"/>
            <a:t> </a:t>
          </a:r>
          <a:r>
            <a:rPr sz="800" kern="1200" dirty="0" err="1"/>
            <a:t>iletişim</a:t>
          </a:r>
          <a:r>
            <a:rPr sz="800" kern="1200" dirty="0"/>
            <a:t> </a:t>
          </a:r>
          <a:r>
            <a:rPr sz="800" kern="1200" dirty="0" err="1"/>
            <a:t>teknolojisini</a:t>
          </a:r>
          <a:r>
            <a:rPr sz="800" kern="1200" dirty="0"/>
            <a:t> </a:t>
          </a:r>
          <a:r>
            <a:rPr sz="800" kern="1200" dirty="0" err="1"/>
            <a:t>kullanan</a:t>
          </a:r>
          <a:r>
            <a:rPr sz="800" kern="1200" dirty="0"/>
            <a:t> </a:t>
          </a:r>
          <a:r>
            <a:rPr sz="800" kern="1200" dirty="0" err="1"/>
            <a:t>otomatik</a:t>
          </a:r>
          <a:r>
            <a:rPr sz="800" kern="1200" dirty="0"/>
            <a:t> </a:t>
          </a:r>
          <a:r>
            <a:rPr sz="800" kern="1200" dirty="0" err="1"/>
            <a:t>araçları</a:t>
          </a:r>
          <a:r>
            <a:rPr sz="800" kern="1200" dirty="0"/>
            <a:t> </a:t>
          </a:r>
          <a:r>
            <a:rPr sz="800" kern="1200" dirty="0" err="1"/>
            <a:t>içerir</a:t>
          </a:r>
          <a:r>
            <a:rPr sz="800" kern="1200" dirty="0"/>
            <a:t>. </a:t>
          </a:r>
          <a:r>
            <a:rPr sz="800" kern="1200" dirty="0" err="1"/>
            <a:t>Araçtan</a:t>
          </a:r>
          <a:r>
            <a:rPr sz="800" kern="1200" dirty="0"/>
            <a:t> araca (V2V) </a:t>
          </a:r>
          <a:r>
            <a:rPr sz="800" kern="1200" dirty="0" err="1"/>
            <a:t>ve</a:t>
          </a:r>
          <a:r>
            <a:rPr sz="800" kern="1200" dirty="0"/>
            <a:t> </a:t>
          </a:r>
          <a:r>
            <a:rPr sz="800" kern="1200" dirty="0" err="1"/>
            <a:t>araçtan</a:t>
          </a:r>
          <a:r>
            <a:rPr sz="800" kern="1200" dirty="0"/>
            <a:t> </a:t>
          </a:r>
          <a:r>
            <a:rPr sz="800" kern="1200" dirty="0" err="1"/>
            <a:t>altyapıya</a:t>
          </a:r>
          <a:r>
            <a:rPr sz="800" kern="1200" dirty="0"/>
            <a:t> (V2I) </a:t>
          </a:r>
          <a:r>
            <a:rPr sz="800" kern="1200" dirty="0" err="1"/>
            <a:t>iletişim</a:t>
          </a:r>
          <a:r>
            <a:rPr sz="800" kern="1200" dirty="0"/>
            <a:t> </a:t>
          </a:r>
          <a:r>
            <a:rPr sz="800" kern="1200" dirty="0" err="1"/>
            <a:t>sistemleri</a:t>
          </a:r>
          <a:r>
            <a:rPr sz="800" kern="1200" dirty="0"/>
            <a:t>, </a:t>
          </a:r>
          <a:r>
            <a:rPr sz="800" kern="1200" dirty="0" err="1"/>
            <a:t>güvenlik</a:t>
          </a:r>
          <a:r>
            <a:rPr sz="800" kern="1200" dirty="0"/>
            <a:t> </a:t>
          </a:r>
          <a:r>
            <a:rPr sz="800" kern="1200" dirty="0" err="1"/>
            <a:t>ve</a:t>
          </a:r>
          <a:r>
            <a:rPr sz="800" kern="1200" dirty="0"/>
            <a:t> </a:t>
          </a:r>
          <a:r>
            <a:rPr sz="800" kern="1200" dirty="0" err="1"/>
            <a:t>verimliliği</a:t>
          </a:r>
          <a:r>
            <a:rPr sz="800" kern="1200" dirty="0"/>
            <a:t> </a:t>
          </a:r>
          <a:r>
            <a:rPr sz="800" kern="1200" dirty="0" err="1"/>
            <a:t>artırmak</a:t>
          </a:r>
          <a:r>
            <a:rPr sz="800" kern="1200" dirty="0"/>
            <a:t> </a:t>
          </a:r>
          <a:r>
            <a:rPr sz="800" kern="1200" dirty="0" err="1"/>
            <a:t>için</a:t>
          </a:r>
          <a:r>
            <a:rPr sz="800" kern="1200" dirty="0"/>
            <a:t> </a:t>
          </a:r>
          <a:r>
            <a:rPr sz="800" kern="1200" dirty="0" err="1"/>
            <a:t>trafik</a:t>
          </a:r>
          <a:r>
            <a:rPr sz="800" kern="1200" dirty="0"/>
            <a:t> </a:t>
          </a:r>
          <a:r>
            <a:rPr sz="800" kern="1200" dirty="0" err="1"/>
            <a:t>sinyalleri</a:t>
          </a:r>
          <a:r>
            <a:rPr sz="800" kern="1200" dirty="0"/>
            <a:t> </a:t>
          </a:r>
          <a:r>
            <a:rPr sz="800" kern="1200" dirty="0" err="1"/>
            <a:t>gibi</a:t>
          </a:r>
          <a:r>
            <a:rPr sz="800" kern="1200" dirty="0"/>
            <a:t> </a:t>
          </a:r>
          <a:r>
            <a:rPr sz="800" kern="1200" dirty="0" err="1"/>
            <a:t>araçlar</a:t>
          </a:r>
          <a:r>
            <a:rPr sz="800" kern="1200" dirty="0"/>
            <a:t> </a:t>
          </a:r>
          <a:r>
            <a:rPr sz="800" kern="1200" dirty="0" err="1"/>
            <a:t>ve</a:t>
          </a:r>
          <a:r>
            <a:rPr sz="800" kern="1200" dirty="0"/>
            <a:t> </a:t>
          </a:r>
          <a:r>
            <a:rPr sz="800" kern="1200" dirty="0" err="1"/>
            <a:t>altyapı</a:t>
          </a:r>
          <a:r>
            <a:rPr sz="800" kern="1200" dirty="0"/>
            <a:t> </a:t>
          </a:r>
          <a:r>
            <a:rPr sz="800" kern="1200" dirty="0" err="1"/>
            <a:t>arasında</a:t>
          </a:r>
          <a:r>
            <a:rPr sz="800" kern="1200" dirty="0"/>
            <a:t> </a:t>
          </a:r>
          <a:r>
            <a:rPr sz="800" kern="1200" dirty="0" err="1"/>
            <a:t>gerçek</a:t>
          </a:r>
          <a:r>
            <a:rPr sz="800" kern="1200" dirty="0"/>
            <a:t> </a:t>
          </a:r>
          <a:r>
            <a:rPr sz="800" kern="1200" dirty="0" err="1"/>
            <a:t>zamanlı</a:t>
          </a:r>
          <a:r>
            <a:rPr sz="800" kern="1200" dirty="0"/>
            <a:t> </a:t>
          </a:r>
          <a:r>
            <a:rPr sz="800" kern="1200" dirty="0" err="1"/>
            <a:t>iletişim</a:t>
          </a:r>
          <a:r>
            <a:rPr sz="800" kern="1200" dirty="0"/>
            <a:t> </a:t>
          </a:r>
          <a:r>
            <a:rPr sz="800" kern="1200" dirty="0" err="1"/>
            <a:t>sağlayabilir</a:t>
          </a:r>
          <a:r>
            <a:rPr sz="800" kern="1200" dirty="0"/>
            <a:t>.</a:t>
          </a:r>
        </a:p>
      </dsp:txBody>
      <dsp:txXfrm>
        <a:off x="341288" y="3368880"/>
        <a:ext cx="1645836" cy="1645836"/>
      </dsp:txXfrm>
    </dsp:sp>
    <dsp:sp modelId="{DAD93920-3DE9-4669-9CD8-DF6DD3DEE6C2}">
      <dsp:nvSpPr>
        <dsp:cNvPr id="0" name=""/>
        <dsp:cNvSpPr/>
      </dsp:nvSpPr>
      <dsp:spPr>
        <a:xfrm rot="18000000">
          <a:off x="1719900" y="2302102"/>
          <a:ext cx="617107" cy="785553"/>
        </a:xfrm>
        <a:prstGeom prst="rightArrow">
          <a:avLst>
            <a:gd name="adj1" fmla="val 60000"/>
            <a:gd name="adj2" fmla="val 50000"/>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just" defTabSz="266700">
            <a:lnSpc>
              <a:spcPct val="90000"/>
            </a:lnSpc>
            <a:spcBef>
              <a:spcPct val="0"/>
            </a:spcBef>
            <a:spcAft>
              <a:spcPct val="35000"/>
            </a:spcAft>
            <a:buNone/>
          </a:pPr>
          <a:endParaRPr lang="en-US" sz="600" kern="1200"/>
        </a:p>
      </dsp:txBody>
      <dsp:txXfrm>
        <a:off x="1766183" y="2539378"/>
        <a:ext cx="431975" cy="471331"/>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59F437-6475-4ACC-84CE-22F809A55B46}">
      <dsp:nvSpPr>
        <dsp:cNvPr id="0" name=""/>
        <dsp:cNvSpPr/>
      </dsp:nvSpPr>
      <dsp:spPr>
        <a:xfrm>
          <a:off x="0" y="447"/>
          <a:ext cx="5806668"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E85662D-B24D-4EB7-8914-C68A8753DBE8}">
      <dsp:nvSpPr>
        <dsp:cNvPr id="0" name=""/>
        <dsp:cNvSpPr/>
      </dsp:nvSpPr>
      <dsp:spPr>
        <a:xfrm>
          <a:off x="0" y="447"/>
          <a:ext cx="5806668" cy="733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sz="1300" kern="1200"/>
            <a:t>Gelişmiş trafik yönetim sistemleri, trafik akışını optimize etmek ve tıkanıklığı azaltmak için trafik sensörlerinden gelen veriler gibi gerçek zamanlı trafik verilerini kullanabilir.</a:t>
          </a:r>
        </a:p>
      </dsp:txBody>
      <dsp:txXfrm>
        <a:off x="0" y="447"/>
        <a:ext cx="5806668" cy="733371"/>
      </dsp:txXfrm>
    </dsp:sp>
    <dsp:sp modelId="{AA3E31CA-D67D-47BA-BC97-0F14229CBCCA}">
      <dsp:nvSpPr>
        <dsp:cNvPr id="0" name=""/>
        <dsp:cNvSpPr/>
      </dsp:nvSpPr>
      <dsp:spPr>
        <a:xfrm>
          <a:off x="0" y="733819"/>
          <a:ext cx="5806668" cy="0"/>
        </a:xfrm>
        <a:prstGeom prst="line">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46DB592-4328-419F-B92B-2E83F3F81F07}">
      <dsp:nvSpPr>
        <dsp:cNvPr id="0" name=""/>
        <dsp:cNvSpPr/>
      </dsp:nvSpPr>
      <dsp:spPr>
        <a:xfrm>
          <a:off x="0" y="733819"/>
          <a:ext cx="5806668" cy="733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sz="1300" kern="1200"/>
            <a:t>Otomatik araçlar, karayollarında gezinmek ve diğer araçlarla ve altyapılarla etkileşim kurmak için bir dizi sensör ve iletişim teknolojisini kullanabilir.</a:t>
          </a:r>
        </a:p>
      </dsp:txBody>
      <dsp:txXfrm>
        <a:off x="0" y="733819"/>
        <a:ext cx="5806668" cy="733371"/>
      </dsp:txXfrm>
    </dsp:sp>
    <dsp:sp modelId="{C4FE8388-387E-4344-9C00-FDE2F48F0B08}">
      <dsp:nvSpPr>
        <dsp:cNvPr id="0" name=""/>
        <dsp:cNvSpPr/>
      </dsp:nvSpPr>
      <dsp:spPr>
        <a:xfrm>
          <a:off x="0" y="1467191"/>
          <a:ext cx="5806668" cy="0"/>
        </a:xfrm>
        <a:prstGeom prst="line">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4101D49-FB38-44ED-9FB2-D46BDB6201E8}">
      <dsp:nvSpPr>
        <dsp:cNvPr id="0" name=""/>
        <dsp:cNvSpPr/>
      </dsp:nvSpPr>
      <dsp:spPr>
        <a:xfrm>
          <a:off x="0" y="1467191"/>
          <a:ext cx="5806668" cy="733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sz="1300" kern="1200"/>
            <a:t>Araçtan araca (V2V) ve araçtan altyapıya (V2I) iletişim sistemleri, güvenlik ve verimliliği artırmak için trafik sinyalleri gibi araçlar ve altyapı arasında gerçek zamanlı iletişim sağlayabilir.</a:t>
          </a:r>
        </a:p>
      </dsp:txBody>
      <dsp:txXfrm>
        <a:off x="0" y="1467191"/>
        <a:ext cx="5806668" cy="733371"/>
      </dsp:txXfrm>
    </dsp:sp>
    <dsp:sp modelId="{7BE98147-D360-4002-83DC-D00211C71528}">
      <dsp:nvSpPr>
        <dsp:cNvPr id="0" name=""/>
        <dsp:cNvSpPr/>
      </dsp:nvSpPr>
      <dsp:spPr>
        <a:xfrm>
          <a:off x="0" y="2200562"/>
          <a:ext cx="5806668" cy="0"/>
        </a:xfrm>
        <a:prstGeom prst="line">
          <a:avLst/>
        </a:prstGeom>
        <a:solidFill>
          <a:schemeClr val="accent5">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AE9959-319B-4901-B895-0C94E2582197}">
      <dsp:nvSpPr>
        <dsp:cNvPr id="0" name=""/>
        <dsp:cNvSpPr/>
      </dsp:nvSpPr>
      <dsp:spPr>
        <a:xfrm>
          <a:off x="0" y="2200562"/>
          <a:ext cx="5806668" cy="733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sz="1300" kern="1200"/>
            <a:t>Gelişmiş gezgin bilgi sistemleri, gezginlere trafik koşulları, toplu taşıma programları ve diğer ulaşım seçenekleri hakkında gerçek zamanlı bilgi sağlayabilir.</a:t>
          </a:r>
        </a:p>
      </dsp:txBody>
      <dsp:txXfrm>
        <a:off x="0" y="2200562"/>
        <a:ext cx="5806668" cy="733371"/>
      </dsp:txXfrm>
    </dsp:sp>
    <dsp:sp modelId="{0B99B634-A07C-443C-8DD2-5272DC2F2564}">
      <dsp:nvSpPr>
        <dsp:cNvPr id="0" name=""/>
        <dsp:cNvSpPr/>
      </dsp:nvSpPr>
      <dsp:spPr>
        <a:xfrm>
          <a:off x="0" y="2933934"/>
          <a:ext cx="5806668" cy="0"/>
        </a:xfrm>
        <a:prstGeom prst="line">
          <a:avLst/>
        </a:prstGeom>
        <a:solidFill>
          <a:schemeClr val="accent6">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F2451F9-9EE3-495E-9CFC-192EDE9590B1}">
      <dsp:nvSpPr>
        <dsp:cNvPr id="0" name=""/>
        <dsp:cNvSpPr/>
      </dsp:nvSpPr>
      <dsp:spPr>
        <a:xfrm>
          <a:off x="0" y="2933934"/>
          <a:ext cx="5806668" cy="7333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9530" tIns="49530" rIns="49530" bIns="49530" numCol="1" spcCol="1270" anchor="t" anchorCtr="0">
          <a:noAutofit/>
        </a:bodyPr>
        <a:lstStyle/>
        <a:p>
          <a:pPr marL="0" lvl="0" indent="0" algn="l" defTabSz="577850">
            <a:lnSpc>
              <a:spcPct val="90000"/>
            </a:lnSpc>
            <a:spcBef>
              <a:spcPct val="0"/>
            </a:spcBef>
            <a:spcAft>
              <a:spcPct val="35000"/>
            </a:spcAft>
            <a:buNone/>
          </a:pPr>
          <a:r>
            <a:rPr sz="1300" kern="1200"/>
            <a:t>Teknolojiler genellikle, trafik sensörleri ve araç GPS sistemleri gibi çeşitli kaynaklardan büyük miktarda veri toplamak ve analiz etmek için hücresel ağlar, bulut bilişim ve veri analitiği gibi gelişmiş iletişim ve veri yönetimi teknolojilerine dayanır.</a:t>
          </a:r>
        </a:p>
      </dsp:txBody>
      <dsp:txXfrm>
        <a:off x="0" y="2933934"/>
        <a:ext cx="5806668" cy="733371"/>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D0EDCA2-B425-4085-8F8A-80BD352B6444}">
      <dsp:nvSpPr>
        <dsp:cNvPr id="0" name=""/>
        <dsp:cNvSpPr/>
      </dsp:nvSpPr>
      <dsp:spPr>
        <a:xfrm>
          <a:off x="0" y="342532"/>
          <a:ext cx="8048625" cy="779439"/>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sz="1100" b="1" kern="1200" dirty="0" err="1"/>
            <a:t>Akıllı</a:t>
          </a:r>
          <a:r>
            <a:rPr sz="1100" b="1" kern="1200" dirty="0"/>
            <a:t> Ulaşım </a:t>
          </a:r>
          <a:r>
            <a:rPr sz="1100" b="1" kern="1200" dirty="0" err="1"/>
            <a:t>Sistemleri</a:t>
          </a:r>
          <a:r>
            <a:rPr sz="1100" b="1" kern="1200" dirty="0"/>
            <a:t> (</a:t>
          </a:r>
          <a:r>
            <a:rPr lang="en-US" sz="1100" b="1" kern="1200" dirty="0"/>
            <a:t>AUS</a:t>
          </a:r>
          <a:r>
            <a:rPr sz="1100" b="1" kern="1200" dirty="0"/>
            <a:t>), </a:t>
          </a:r>
          <a:r>
            <a:rPr sz="1100" kern="1200" dirty="0" err="1"/>
            <a:t>ulaşım</a:t>
          </a:r>
          <a:r>
            <a:rPr sz="1100" kern="1200" dirty="0"/>
            <a:t> </a:t>
          </a:r>
          <a:r>
            <a:rPr sz="1100" kern="1200" dirty="0" err="1"/>
            <a:t>sistemlerinin</a:t>
          </a:r>
          <a:r>
            <a:rPr sz="1100" kern="1200" dirty="0"/>
            <a:t> </a:t>
          </a:r>
          <a:r>
            <a:rPr sz="1100" kern="1200" dirty="0" err="1"/>
            <a:t>güvenliğini</a:t>
          </a:r>
          <a:r>
            <a:rPr sz="1100" kern="1200" dirty="0"/>
            <a:t>, </a:t>
          </a:r>
          <a:r>
            <a:rPr sz="1100" kern="1200" dirty="0" err="1"/>
            <a:t>verimliliğini</a:t>
          </a:r>
          <a:r>
            <a:rPr sz="1100" kern="1200" dirty="0"/>
            <a:t> </a:t>
          </a:r>
          <a:r>
            <a:rPr sz="1100" kern="1200" dirty="0" err="1"/>
            <a:t>ve</a:t>
          </a:r>
          <a:r>
            <a:rPr sz="1100" kern="1200" dirty="0"/>
            <a:t> </a:t>
          </a:r>
          <a:r>
            <a:rPr sz="1100" kern="1200" dirty="0" err="1"/>
            <a:t>sürdürülebilirliğini</a:t>
          </a:r>
          <a:r>
            <a:rPr sz="1100" kern="1200" dirty="0"/>
            <a:t> </a:t>
          </a:r>
          <a:r>
            <a:rPr sz="1100" kern="1200" dirty="0" err="1"/>
            <a:t>artıran</a:t>
          </a:r>
          <a:r>
            <a:rPr sz="1100" kern="1200" dirty="0"/>
            <a:t> </a:t>
          </a:r>
          <a:r>
            <a:rPr sz="1100" kern="1200" dirty="0" err="1"/>
            <a:t>bir</a:t>
          </a:r>
          <a:r>
            <a:rPr sz="1100" kern="1200" dirty="0"/>
            <a:t> dizi </a:t>
          </a:r>
          <a:r>
            <a:rPr sz="1100" kern="1200" dirty="0" err="1"/>
            <a:t>avantaj</a:t>
          </a:r>
          <a:r>
            <a:rPr sz="1100" kern="1200" dirty="0"/>
            <a:t> </a:t>
          </a:r>
          <a:r>
            <a:rPr sz="1100" kern="1200" dirty="0" err="1"/>
            <a:t>sunar</a:t>
          </a:r>
          <a:r>
            <a:rPr sz="1100" kern="1200" dirty="0"/>
            <a:t>. Bu </a:t>
          </a:r>
          <a:r>
            <a:rPr sz="1100" kern="1200" dirty="0" err="1"/>
            <a:t>faydalar</a:t>
          </a:r>
          <a:r>
            <a:rPr sz="1100" kern="1200" dirty="0"/>
            <a:t> </a:t>
          </a:r>
          <a:r>
            <a:rPr sz="1100" kern="1200" dirty="0" err="1"/>
            <a:t>şunları</a:t>
          </a:r>
          <a:r>
            <a:rPr sz="1100" kern="1200" dirty="0"/>
            <a:t> </a:t>
          </a:r>
          <a:r>
            <a:rPr sz="1100" kern="1200" dirty="0" err="1"/>
            <a:t>içerir</a:t>
          </a:r>
          <a:r>
            <a:rPr sz="1100" kern="1200" dirty="0"/>
            <a:t>:</a:t>
          </a:r>
        </a:p>
      </dsp:txBody>
      <dsp:txXfrm>
        <a:off x="38049" y="380581"/>
        <a:ext cx="7972527" cy="703341"/>
      </dsp:txXfrm>
    </dsp:sp>
    <dsp:sp modelId="{281D3753-905C-43EC-AEF6-9499421896AE}">
      <dsp:nvSpPr>
        <dsp:cNvPr id="0" name=""/>
        <dsp:cNvSpPr/>
      </dsp:nvSpPr>
      <dsp:spPr>
        <a:xfrm>
          <a:off x="0" y="1153651"/>
          <a:ext cx="8048625" cy="779439"/>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sz="1100" b="1" kern="1200" dirty="0" err="1"/>
            <a:t>Geliştirilmiş</a:t>
          </a:r>
          <a:r>
            <a:rPr sz="1100" b="1" kern="1200" dirty="0"/>
            <a:t> </a:t>
          </a:r>
          <a:r>
            <a:rPr sz="1100" b="1" kern="1200" dirty="0" err="1"/>
            <a:t>Güvenlik</a:t>
          </a:r>
          <a:r>
            <a:rPr sz="1100" b="1" kern="1200" dirty="0"/>
            <a:t>: </a:t>
          </a:r>
          <a:r>
            <a:rPr lang="en-US" sz="1100" kern="1200" dirty="0"/>
            <a:t>AUS</a:t>
          </a:r>
          <a:r>
            <a:rPr sz="1100" kern="1200" dirty="0"/>
            <a:t>, </a:t>
          </a:r>
          <a:r>
            <a:rPr sz="1100" kern="1200" dirty="0" err="1"/>
            <a:t>dikkat</a:t>
          </a:r>
          <a:r>
            <a:rPr sz="1100" kern="1200" dirty="0"/>
            <a:t> </a:t>
          </a:r>
          <a:r>
            <a:rPr sz="1100" kern="1200" dirty="0" err="1"/>
            <a:t>dağıtıcı</a:t>
          </a:r>
          <a:r>
            <a:rPr sz="1100" kern="1200" dirty="0"/>
            <a:t> </a:t>
          </a:r>
          <a:r>
            <a:rPr sz="1100" kern="1200" dirty="0" err="1"/>
            <a:t>sürüş</a:t>
          </a:r>
          <a:r>
            <a:rPr sz="1100" kern="1200" dirty="0"/>
            <a:t> </a:t>
          </a:r>
          <a:r>
            <a:rPr sz="1100" kern="1200" dirty="0" err="1"/>
            <a:t>gibi</a:t>
          </a:r>
          <a:r>
            <a:rPr sz="1100" kern="1200" dirty="0"/>
            <a:t> </a:t>
          </a:r>
          <a:r>
            <a:rPr sz="1100" kern="1200" dirty="0" err="1"/>
            <a:t>insan</a:t>
          </a:r>
          <a:r>
            <a:rPr sz="1100" kern="1200" dirty="0"/>
            <a:t> </a:t>
          </a:r>
          <a:r>
            <a:rPr sz="1100" kern="1200" dirty="0" err="1"/>
            <a:t>hatalarından</a:t>
          </a:r>
          <a:r>
            <a:rPr sz="1100" kern="1200" dirty="0"/>
            <a:t> </a:t>
          </a:r>
          <a:r>
            <a:rPr sz="1100" kern="1200" dirty="0" err="1"/>
            <a:t>kaynaklanan</a:t>
          </a:r>
          <a:r>
            <a:rPr sz="1100" kern="1200" dirty="0"/>
            <a:t> </a:t>
          </a:r>
          <a:r>
            <a:rPr sz="1100" kern="1200" dirty="0" err="1"/>
            <a:t>kazaları</a:t>
          </a:r>
          <a:r>
            <a:rPr sz="1100" kern="1200" dirty="0"/>
            <a:t> </a:t>
          </a:r>
          <a:r>
            <a:rPr sz="1100" kern="1200" dirty="0" err="1"/>
            <a:t>azaltarak</a:t>
          </a:r>
          <a:r>
            <a:rPr sz="1100" kern="1200" dirty="0"/>
            <a:t> </a:t>
          </a:r>
          <a:r>
            <a:rPr sz="1100" kern="1200" dirty="0" err="1"/>
            <a:t>güvenliği</a:t>
          </a:r>
          <a:r>
            <a:rPr sz="1100" kern="1200" dirty="0"/>
            <a:t> </a:t>
          </a:r>
          <a:r>
            <a:rPr sz="1100" kern="1200" dirty="0" err="1"/>
            <a:t>artırabilir</a:t>
          </a:r>
          <a:r>
            <a:rPr sz="1100" kern="1200" dirty="0"/>
            <a:t>. </a:t>
          </a:r>
          <a:r>
            <a:rPr sz="1100" kern="1200" dirty="0" err="1"/>
            <a:t>Örneğin</a:t>
          </a:r>
          <a:r>
            <a:rPr sz="1100" kern="1200" dirty="0"/>
            <a:t>, </a:t>
          </a:r>
          <a:r>
            <a:rPr sz="1100" kern="1200" dirty="0" err="1"/>
            <a:t>gelişmiş</a:t>
          </a:r>
          <a:r>
            <a:rPr sz="1100" kern="1200" dirty="0"/>
            <a:t> </a:t>
          </a:r>
          <a:r>
            <a:rPr sz="1100" kern="1200" dirty="0" err="1"/>
            <a:t>sürücü</a:t>
          </a:r>
          <a:r>
            <a:rPr sz="1100" kern="1200" dirty="0"/>
            <a:t> </a:t>
          </a:r>
          <a:r>
            <a:rPr sz="1100" kern="1200" dirty="0" err="1"/>
            <a:t>destek</a:t>
          </a:r>
          <a:r>
            <a:rPr sz="1100" kern="1200" dirty="0"/>
            <a:t> </a:t>
          </a:r>
          <a:r>
            <a:rPr sz="1100" kern="1200" dirty="0" err="1"/>
            <a:t>sistemleri</a:t>
          </a:r>
          <a:r>
            <a:rPr sz="1100" kern="1200" dirty="0"/>
            <a:t> (ADAS), </a:t>
          </a:r>
          <a:r>
            <a:rPr sz="1100" kern="1200" dirty="0" err="1"/>
            <a:t>sürücüleri</a:t>
          </a:r>
          <a:r>
            <a:rPr sz="1100" kern="1200" dirty="0"/>
            <a:t> </a:t>
          </a:r>
          <a:r>
            <a:rPr sz="1100" kern="1200" dirty="0" err="1"/>
            <a:t>yoldaki</a:t>
          </a:r>
          <a:r>
            <a:rPr sz="1100" kern="1200" dirty="0"/>
            <a:t> </a:t>
          </a:r>
          <a:r>
            <a:rPr sz="1100" kern="1200" dirty="0" err="1"/>
            <a:t>olası</a:t>
          </a:r>
          <a:r>
            <a:rPr sz="1100" kern="1200" dirty="0"/>
            <a:t> </a:t>
          </a:r>
          <a:r>
            <a:rPr sz="1100" kern="1200" dirty="0" err="1"/>
            <a:t>çarpışmalar</a:t>
          </a:r>
          <a:r>
            <a:rPr sz="1100" kern="1200" dirty="0"/>
            <a:t> </a:t>
          </a:r>
          <a:r>
            <a:rPr sz="1100" kern="1200" dirty="0" err="1"/>
            <a:t>veya</a:t>
          </a:r>
          <a:r>
            <a:rPr sz="1100" kern="1200" dirty="0"/>
            <a:t> </a:t>
          </a:r>
          <a:r>
            <a:rPr sz="1100" kern="1200" dirty="0" err="1"/>
            <a:t>tehlikeler</a:t>
          </a:r>
          <a:r>
            <a:rPr sz="1100" kern="1200" dirty="0"/>
            <a:t> </a:t>
          </a:r>
          <a:r>
            <a:rPr sz="1100" kern="1200" dirty="0" err="1"/>
            <a:t>konusunda</a:t>
          </a:r>
          <a:r>
            <a:rPr sz="1100" kern="1200" dirty="0"/>
            <a:t> </a:t>
          </a:r>
          <a:r>
            <a:rPr sz="1100" kern="1200" dirty="0" err="1"/>
            <a:t>uyarmak</a:t>
          </a:r>
          <a:r>
            <a:rPr sz="1100" kern="1200" dirty="0"/>
            <a:t> </a:t>
          </a:r>
          <a:r>
            <a:rPr sz="1100" kern="1200" dirty="0" err="1"/>
            <a:t>için</a:t>
          </a:r>
          <a:r>
            <a:rPr sz="1100" kern="1200" dirty="0"/>
            <a:t> </a:t>
          </a:r>
          <a:r>
            <a:rPr sz="1100" kern="1200" dirty="0" err="1"/>
            <a:t>sensörler</a:t>
          </a:r>
          <a:r>
            <a:rPr sz="1100" kern="1200" dirty="0"/>
            <a:t> </a:t>
          </a:r>
          <a:r>
            <a:rPr sz="1100" kern="1200" dirty="0" err="1"/>
            <a:t>ve</a:t>
          </a:r>
          <a:r>
            <a:rPr sz="1100" kern="1200" dirty="0"/>
            <a:t> </a:t>
          </a:r>
          <a:r>
            <a:rPr sz="1100" kern="1200" dirty="0" err="1"/>
            <a:t>kameralar</a:t>
          </a:r>
          <a:r>
            <a:rPr sz="1100" kern="1200" dirty="0"/>
            <a:t> </a:t>
          </a:r>
          <a:r>
            <a:rPr sz="1100" kern="1200" dirty="0" err="1"/>
            <a:t>kullanır</a:t>
          </a:r>
          <a:r>
            <a:rPr sz="1100" kern="1200" dirty="0"/>
            <a:t> </a:t>
          </a:r>
          <a:r>
            <a:rPr sz="1100" kern="1200" dirty="0" err="1"/>
            <a:t>ve</a:t>
          </a:r>
          <a:r>
            <a:rPr sz="1100" kern="1200" dirty="0"/>
            <a:t> </a:t>
          </a:r>
          <a:r>
            <a:rPr sz="1100" kern="1200" dirty="0" err="1"/>
            <a:t>kazaları</a:t>
          </a:r>
          <a:r>
            <a:rPr sz="1100" kern="1200" dirty="0"/>
            <a:t> </a:t>
          </a:r>
          <a:r>
            <a:rPr sz="1100" kern="1200" dirty="0" err="1"/>
            <a:t>meydana</a:t>
          </a:r>
          <a:r>
            <a:rPr sz="1100" kern="1200" dirty="0"/>
            <a:t> </a:t>
          </a:r>
          <a:r>
            <a:rPr sz="1100" kern="1200" dirty="0" err="1"/>
            <a:t>gelmeden</a:t>
          </a:r>
          <a:r>
            <a:rPr sz="1100" kern="1200" dirty="0"/>
            <a:t> </a:t>
          </a:r>
          <a:r>
            <a:rPr sz="1100" kern="1200" dirty="0" err="1"/>
            <a:t>önce</a:t>
          </a:r>
          <a:r>
            <a:rPr sz="1100" kern="1200" dirty="0"/>
            <a:t> </a:t>
          </a:r>
          <a:r>
            <a:rPr sz="1100" kern="1200" dirty="0" err="1"/>
            <a:t>önlemeye</a:t>
          </a:r>
          <a:r>
            <a:rPr sz="1100" kern="1200" dirty="0"/>
            <a:t> </a:t>
          </a:r>
          <a:r>
            <a:rPr sz="1100" kern="1200" dirty="0" err="1"/>
            <a:t>yardımcı</a:t>
          </a:r>
          <a:r>
            <a:rPr sz="1100" kern="1200" dirty="0"/>
            <a:t> </a:t>
          </a:r>
          <a:r>
            <a:rPr sz="1100" kern="1200" dirty="0" err="1"/>
            <a:t>olur</a:t>
          </a:r>
          <a:r>
            <a:rPr sz="1100" kern="1200" dirty="0"/>
            <a:t>. </a:t>
          </a:r>
          <a:r>
            <a:rPr lang="en-US" sz="1100" kern="1200" dirty="0"/>
            <a:t>AUS</a:t>
          </a:r>
          <a:r>
            <a:rPr sz="1100" kern="1200" dirty="0"/>
            <a:t> </a:t>
          </a:r>
          <a:r>
            <a:rPr sz="1100" kern="1200" dirty="0" err="1"/>
            <a:t>ayrıca</a:t>
          </a:r>
          <a:r>
            <a:rPr sz="1100" kern="1200" dirty="0"/>
            <a:t> ilk </a:t>
          </a:r>
          <a:r>
            <a:rPr sz="1100" kern="1200" dirty="0" err="1"/>
            <a:t>müdahale</a:t>
          </a:r>
          <a:r>
            <a:rPr sz="1100" kern="1200" dirty="0"/>
            <a:t> </a:t>
          </a:r>
          <a:r>
            <a:rPr sz="1100" kern="1200" dirty="0" err="1"/>
            <a:t>edenlere</a:t>
          </a:r>
          <a:r>
            <a:rPr sz="1100" kern="1200" dirty="0"/>
            <a:t> </a:t>
          </a:r>
          <a:r>
            <a:rPr sz="1100" kern="1200" dirty="0" err="1"/>
            <a:t>gerçek</a:t>
          </a:r>
          <a:r>
            <a:rPr sz="1100" kern="1200" dirty="0"/>
            <a:t> </a:t>
          </a:r>
          <a:r>
            <a:rPr sz="1100" kern="1200" dirty="0" err="1"/>
            <a:t>zamanlı</a:t>
          </a:r>
          <a:r>
            <a:rPr sz="1100" kern="1200" dirty="0"/>
            <a:t> </a:t>
          </a:r>
          <a:r>
            <a:rPr sz="1100" kern="1200" dirty="0" err="1"/>
            <a:t>bilgi</a:t>
          </a:r>
          <a:r>
            <a:rPr sz="1100" kern="1200" dirty="0"/>
            <a:t> </a:t>
          </a:r>
          <a:r>
            <a:rPr sz="1100" kern="1200" dirty="0" err="1"/>
            <a:t>sağlayarak</a:t>
          </a:r>
          <a:r>
            <a:rPr sz="1100" kern="1200" dirty="0"/>
            <a:t> </a:t>
          </a:r>
          <a:r>
            <a:rPr sz="1100" kern="1200" dirty="0" err="1"/>
            <a:t>acil</a:t>
          </a:r>
          <a:r>
            <a:rPr sz="1100" kern="1200" dirty="0"/>
            <a:t> </a:t>
          </a:r>
          <a:r>
            <a:rPr sz="1100" kern="1200" dirty="0" err="1"/>
            <a:t>müdahale</a:t>
          </a:r>
          <a:r>
            <a:rPr sz="1100" kern="1200" dirty="0"/>
            <a:t> </a:t>
          </a:r>
          <a:r>
            <a:rPr sz="1100" kern="1200" dirty="0" err="1"/>
            <a:t>sürelerini</a:t>
          </a:r>
          <a:r>
            <a:rPr sz="1100" kern="1200" dirty="0"/>
            <a:t> </a:t>
          </a:r>
          <a:r>
            <a:rPr sz="1100" kern="1200" dirty="0" err="1"/>
            <a:t>iyileştirebilir</a:t>
          </a:r>
          <a:r>
            <a:rPr sz="1100" kern="1200" dirty="0"/>
            <a:t>.</a:t>
          </a:r>
        </a:p>
      </dsp:txBody>
      <dsp:txXfrm>
        <a:off x="38049" y="1191700"/>
        <a:ext cx="7972527" cy="703341"/>
      </dsp:txXfrm>
    </dsp:sp>
    <dsp:sp modelId="{4EC6018A-F088-4486-87C0-585F5705CB77}">
      <dsp:nvSpPr>
        <dsp:cNvPr id="0" name=""/>
        <dsp:cNvSpPr/>
      </dsp:nvSpPr>
      <dsp:spPr>
        <a:xfrm>
          <a:off x="0" y="1964770"/>
          <a:ext cx="8048625" cy="779439"/>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sz="1100" b="1" kern="1200" dirty="0" err="1"/>
            <a:t>Azaltılmış</a:t>
          </a:r>
          <a:r>
            <a:rPr sz="1100" b="1" kern="1200" dirty="0"/>
            <a:t> </a:t>
          </a:r>
          <a:r>
            <a:rPr sz="1100" b="1" kern="1200" dirty="0" err="1"/>
            <a:t>Tıkanıklık</a:t>
          </a:r>
          <a:r>
            <a:rPr sz="1100" b="1" kern="1200" dirty="0"/>
            <a:t> </a:t>
          </a:r>
          <a:r>
            <a:rPr sz="1100" b="1" kern="1200" dirty="0" err="1"/>
            <a:t>ve</a:t>
          </a:r>
          <a:r>
            <a:rPr sz="1100" b="1" kern="1200" dirty="0"/>
            <a:t> </a:t>
          </a:r>
          <a:r>
            <a:rPr sz="1100" b="1" kern="1200" dirty="0" err="1"/>
            <a:t>Geliştirilmiş</a:t>
          </a:r>
          <a:r>
            <a:rPr sz="1100" b="1" kern="1200" dirty="0"/>
            <a:t> </a:t>
          </a:r>
          <a:r>
            <a:rPr sz="1100" b="1" kern="1200" dirty="0" err="1"/>
            <a:t>Trafik</a:t>
          </a:r>
          <a:r>
            <a:rPr sz="1100" b="1" kern="1200" dirty="0"/>
            <a:t> </a:t>
          </a:r>
          <a:r>
            <a:rPr sz="1100" b="1" kern="1200" dirty="0" err="1"/>
            <a:t>Akışı</a:t>
          </a:r>
          <a:r>
            <a:rPr sz="1100" b="1" kern="1200" dirty="0"/>
            <a:t>: </a:t>
          </a:r>
          <a:r>
            <a:rPr lang="en-US" sz="1100" kern="1200" dirty="0" err="1"/>
            <a:t>AUS</a:t>
          </a:r>
          <a:r>
            <a:rPr sz="1100" kern="1200" dirty="0" err="1"/>
            <a:t>'nin</a:t>
          </a:r>
          <a:r>
            <a:rPr sz="1100" kern="1200" dirty="0"/>
            <a:t> </a:t>
          </a:r>
          <a:r>
            <a:rPr sz="1100" kern="1200" dirty="0" err="1"/>
            <a:t>en</a:t>
          </a:r>
          <a:r>
            <a:rPr sz="1100" kern="1200" dirty="0"/>
            <a:t> </a:t>
          </a:r>
          <a:r>
            <a:rPr sz="1100" kern="1200" dirty="0" err="1"/>
            <a:t>önemli</a:t>
          </a:r>
          <a:r>
            <a:rPr sz="1100" kern="1200" dirty="0"/>
            <a:t> </a:t>
          </a:r>
          <a:r>
            <a:rPr sz="1100" kern="1200" dirty="0" err="1"/>
            <a:t>faydalarından</a:t>
          </a:r>
          <a:r>
            <a:rPr sz="1100" kern="1200" dirty="0"/>
            <a:t> </a:t>
          </a:r>
          <a:r>
            <a:rPr sz="1100" kern="1200" dirty="0" err="1"/>
            <a:t>biri</a:t>
          </a:r>
          <a:r>
            <a:rPr sz="1100" kern="1200" dirty="0"/>
            <a:t>, </a:t>
          </a:r>
          <a:r>
            <a:rPr sz="1100" kern="1200" dirty="0" err="1"/>
            <a:t>trafik</a:t>
          </a:r>
          <a:r>
            <a:rPr sz="1100" kern="1200" dirty="0"/>
            <a:t> </a:t>
          </a:r>
          <a:r>
            <a:rPr sz="1100" kern="1200" dirty="0" err="1"/>
            <a:t>akışını</a:t>
          </a:r>
          <a:r>
            <a:rPr sz="1100" kern="1200" dirty="0"/>
            <a:t> </a:t>
          </a:r>
          <a:r>
            <a:rPr sz="1100" kern="1200" dirty="0" err="1"/>
            <a:t>iyileştirme</a:t>
          </a:r>
          <a:r>
            <a:rPr sz="1100" kern="1200" dirty="0"/>
            <a:t> </a:t>
          </a:r>
          <a:r>
            <a:rPr sz="1100" kern="1200" dirty="0" err="1"/>
            <a:t>ve</a:t>
          </a:r>
          <a:r>
            <a:rPr sz="1100" kern="1200" dirty="0"/>
            <a:t> </a:t>
          </a:r>
          <a:r>
            <a:rPr sz="1100" kern="1200" dirty="0" err="1"/>
            <a:t>tıkanıklığı</a:t>
          </a:r>
          <a:r>
            <a:rPr sz="1100" kern="1200" dirty="0"/>
            <a:t> </a:t>
          </a:r>
          <a:r>
            <a:rPr sz="1100" kern="1200" dirty="0" err="1"/>
            <a:t>azaltma</a:t>
          </a:r>
          <a:r>
            <a:rPr sz="1100" kern="1200" dirty="0"/>
            <a:t> </a:t>
          </a:r>
          <a:r>
            <a:rPr sz="1100" kern="1200" dirty="0" err="1"/>
            <a:t>yeteneğidir</a:t>
          </a:r>
          <a:r>
            <a:rPr sz="1100" kern="1200" dirty="0"/>
            <a:t>; </a:t>
          </a:r>
          <a:r>
            <a:rPr sz="1100" kern="1200" dirty="0" err="1"/>
            <a:t>bu</a:t>
          </a:r>
          <a:r>
            <a:rPr sz="1100" kern="1200" dirty="0"/>
            <a:t> da zaman </a:t>
          </a:r>
          <a:r>
            <a:rPr sz="1100" kern="1200" dirty="0" err="1"/>
            <a:t>tasarrufu</a:t>
          </a:r>
          <a:r>
            <a:rPr sz="1100" kern="1200" dirty="0"/>
            <a:t> </a:t>
          </a:r>
          <a:r>
            <a:rPr sz="1100" kern="1200" dirty="0" err="1"/>
            <a:t>sağlayabilir</a:t>
          </a:r>
          <a:r>
            <a:rPr sz="1100" kern="1200" dirty="0"/>
            <a:t>, </a:t>
          </a:r>
          <a:r>
            <a:rPr sz="1100" kern="1200" dirty="0" err="1"/>
            <a:t>yakıt</a:t>
          </a:r>
          <a:r>
            <a:rPr sz="1100" kern="1200" dirty="0"/>
            <a:t> </a:t>
          </a:r>
          <a:r>
            <a:rPr sz="1100" kern="1200" dirty="0" err="1"/>
            <a:t>tüketimini</a:t>
          </a:r>
          <a:r>
            <a:rPr sz="1100" kern="1200" dirty="0"/>
            <a:t> </a:t>
          </a:r>
          <a:r>
            <a:rPr sz="1100" kern="1200" dirty="0" err="1"/>
            <a:t>azaltabilir</a:t>
          </a:r>
          <a:r>
            <a:rPr sz="1100" kern="1200" dirty="0"/>
            <a:t> </a:t>
          </a:r>
          <a:r>
            <a:rPr sz="1100" kern="1200" dirty="0" err="1"/>
            <a:t>ve</a:t>
          </a:r>
          <a:r>
            <a:rPr sz="1100" kern="1200" dirty="0"/>
            <a:t> </a:t>
          </a:r>
          <a:r>
            <a:rPr sz="1100" kern="1200" dirty="0" err="1"/>
            <a:t>hava</a:t>
          </a:r>
          <a:r>
            <a:rPr sz="1100" kern="1200" dirty="0"/>
            <a:t> </a:t>
          </a:r>
          <a:r>
            <a:rPr sz="1100" kern="1200" dirty="0" err="1"/>
            <a:t>kalitesini</a:t>
          </a:r>
          <a:r>
            <a:rPr sz="1100" kern="1200" dirty="0"/>
            <a:t> </a:t>
          </a:r>
          <a:r>
            <a:rPr sz="1100" kern="1200" dirty="0" err="1"/>
            <a:t>iyileştirebilir</a:t>
          </a:r>
          <a:r>
            <a:rPr sz="1100" kern="1200" dirty="0"/>
            <a:t>. </a:t>
          </a:r>
          <a:r>
            <a:rPr lang="en-US" sz="1100" kern="1200" dirty="0"/>
            <a:t>AUS</a:t>
          </a:r>
          <a:r>
            <a:rPr sz="1100" kern="1200" dirty="0"/>
            <a:t>, </a:t>
          </a:r>
          <a:r>
            <a:rPr sz="1100" kern="1200" dirty="0" err="1"/>
            <a:t>trafik</a:t>
          </a:r>
          <a:r>
            <a:rPr sz="1100" kern="1200" dirty="0"/>
            <a:t> </a:t>
          </a:r>
          <a:r>
            <a:rPr sz="1100" kern="1200" dirty="0" err="1"/>
            <a:t>koşulları</a:t>
          </a:r>
          <a:r>
            <a:rPr sz="1100" kern="1200" dirty="0"/>
            <a:t> </a:t>
          </a:r>
          <a:r>
            <a:rPr sz="1100" kern="1200" dirty="0" err="1"/>
            <a:t>hakkında</a:t>
          </a:r>
          <a:r>
            <a:rPr sz="1100" kern="1200" dirty="0"/>
            <a:t> </a:t>
          </a:r>
          <a:r>
            <a:rPr sz="1100" kern="1200" dirty="0" err="1"/>
            <a:t>gerçek</a:t>
          </a:r>
          <a:r>
            <a:rPr sz="1100" kern="1200" dirty="0"/>
            <a:t> </a:t>
          </a:r>
          <a:r>
            <a:rPr sz="1100" kern="1200" dirty="0" err="1"/>
            <a:t>zamanlı</a:t>
          </a:r>
          <a:r>
            <a:rPr sz="1100" kern="1200" dirty="0"/>
            <a:t> </a:t>
          </a:r>
          <a:r>
            <a:rPr sz="1100" kern="1200" dirty="0" err="1"/>
            <a:t>bilgi</a:t>
          </a:r>
          <a:r>
            <a:rPr sz="1100" kern="1200" dirty="0"/>
            <a:t> </a:t>
          </a:r>
          <a:r>
            <a:rPr sz="1100" kern="1200" dirty="0" err="1"/>
            <a:t>sağlayabilir</a:t>
          </a:r>
          <a:r>
            <a:rPr sz="1100" kern="1200" dirty="0"/>
            <a:t> </a:t>
          </a:r>
          <a:r>
            <a:rPr sz="1100" kern="1200" dirty="0" err="1"/>
            <a:t>ve</a:t>
          </a:r>
          <a:r>
            <a:rPr sz="1100" kern="1200" dirty="0"/>
            <a:t> </a:t>
          </a:r>
          <a:r>
            <a:rPr sz="1100" kern="1200" dirty="0" err="1"/>
            <a:t>sürücülerin</a:t>
          </a:r>
          <a:r>
            <a:rPr sz="1100" kern="1200" dirty="0"/>
            <a:t> </a:t>
          </a:r>
          <a:r>
            <a:rPr sz="1100" kern="1200" dirty="0" err="1"/>
            <a:t>alternatif</a:t>
          </a:r>
          <a:r>
            <a:rPr sz="1100" kern="1200" dirty="0"/>
            <a:t> </a:t>
          </a:r>
          <a:r>
            <a:rPr sz="1100" kern="1200" dirty="0" err="1"/>
            <a:t>güzergahlar</a:t>
          </a:r>
          <a:r>
            <a:rPr sz="1100" kern="1200" dirty="0"/>
            <a:t> </a:t>
          </a:r>
          <a:r>
            <a:rPr sz="1100" kern="1200" dirty="0" err="1"/>
            <a:t>veya</a:t>
          </a:r>
          <a:r>
            <a:rPr sz="1100" kern="1200" dirty="0"/>
            <a:t> </a:t>
          </a:r>
          <a:r>
            <a:rPr sz="1100" kern="1200" dirty="0" err="1"/>
            <a:t>ulaşım</a:t>
          </a:r>
          <a:r>
            <a:rPr sz="1100" kern="1200" dirty="0"/>
            <a:t> </a:t>
          </a:r>
          <a:r>
            <a:rPr sz="1100" kern="1200" dirty="0" err="1"/>
            <a:t>modları</a:t>
          </a:r>
          <a:r>
            <a:rPr sz="1100" kern="1200" dirty="0"/>
            <a:t> </a:t>
          </a:r>
          <a:r>
            <a:rPr sz="1100" kern="1200" dirty="0" err="1"/>
            <a:t>seçmelerine</a:t>
          </a:r>
          <a:r>
            <a:rPr sz="1100" kern="1200" dirty="0"/>
            <a:t> </a:t>
          </a:r>
          <a:r>
            <a:rPr sz="1100" kern="1200" dirty="0" err="1"/>
            <a:t>olanak</a:t>
          </a:r>
          <a:r>
            <a:rPr sz="1100" kern="1200" dirty="0"/>
            <a:t> </a:t>
          </a:r>
          <a:r>
            <a:rPr sz="1100" kern="1200" dirty="0" err="1"/>
            <a:t>tanır</a:t>
          </a:r>
          <a:r>
            <a:rPr sz="1100" kern="1200" dirty="0"/>
            <a:t>. Ek </a:t>
          </a:r>
          <a:r>
            <a:rPr sz="1100" kern="1200" dirty="0" err="1"/>
            <a:t>olarak</a:t>
          </a:r>
          <a:r>
            <a:rPr sz="1100" kern="1200" dirty="0"/>
            <a:t> </a:t>
          </a:r>
          <a:r>
            <a:rPr lang="en-US" sz="1100" kern="1200" dirty="0"/>
            <a:t>AUS</a:t>
          </a:r>
          <a:r>
            <a:rPr sz="1100" kern="1200" dirty="0"/>
            <a:t>, </a:t>
          </a:r>
          <a:r>
            <a:rPr sz="1100" kern="1200" dirty="0" err="1"/>
            <a:t>trafik</a:t>
          </a:r>
          <a:r>
            <a:rPr sz="1100" kern="1200" dirty="0"/>
            <a:t> </a:t>
          </a:r>
          <a:r>
            <a:rPr sz="1100" kern="1200" dirty="0" err="1"/>
            <a:t>sinyali</a:t>
          </a:r>
          <a:r>
            <a:rPr sz="1100" kern="1200" dirty="0"/>
            <a:t> </a:t>
          </a:r>
          <a:r>
            <a:rPr sz="1100" kern="1200" dirty="0" err="1"/>
            <a:t>zamanlamasını</a:t>
          </a:r>
          <a:r>
            <a:rPr sz="1100" kern="1200" dirty="0"/>
            <a:t> optimize </a:t>
          </a:r>
          <a:r>
            <a:rPr sz="1100" kern="1200" dirty="0" err="1"/>
            <a:t>edebilir</a:t>
          </a:r>
          <a:r>
            <a:rPr sz="1100" kern="1200" dirty="0"/>
            <a:t>, </a:t>
          </a:r>
          <a:r>
            <a:rPr sz="1100" kern="1200" dirty="0" err="1"/>
            <a:t>kavşaklarda</a:t>
          </a:r>
          <a:r>
            <a:rPr sz="1100" kern="1200" dirty="0"/>
            <a:t> </a:t>
          </a:r>
          <a:r>
            <a:rPr sz="1100" kern="1200" dirty="0" err="1"/>
            <a:t>gecikmeleri</a:t>
          </a:r>
          <a:r>
            <a:rPr sz="1100" kern="1200" dirty="0"/>
            <a:t> </a:t>
          </a:r>
          <a:r>
            <a:rPr sz="1100" kern="1200" dirty="0" err="1"/>
            <a:t>azaltabilir</a:t>
          </a:r>
          <a:r>
            <a:rPr sz="1100" kern="1200" dirty="0"/>
            <a:t> </a:t>
          </a:r>
          <a:r>
            <a:rPr sz="1100" kern="1200" dirty="0" err="1"/>
            <a:t>ve</a:t>
          </a:r>
          <a:r>
            <a:rPr sz="1100" kern="1200" dirty="0"/>
            <a:t> </a:t>
          </a:r>
          <a:r>
            <a:rPr sz="1100" kern="1200" dirty="0" err="1"/>
            <a:t>trafik</a:t>
          </a:r>
          <a:r>
            <a:rPr sz="1100" kern="1200" dirty="0"/>
            <a:t> </a:t>
          </a:r>
          <a:r>
            <a:rPr sz="1100" kern="1200" dirty="0" err="1"/>
            <a:t>akışını</a:t>
          </a:r>
          <a:r>
            <a:rPr sz="1100" kern="1200" dirty="0"/>
            <a:t> </a:t>
          </a:r>
          <a:r>
            <a:rPr sz="1100" kern="1200" dirty="0" err="1"/>
            <a:t>iyileştirebilir</a:t>
          </a:r>
          <a:r>
            <a:rPr sz="1100" kern="1200" dirty="0"/>
            <a:t>.</a:t>
          </a:r>
        </a:p>
      </dsp:txBody>
      <dsp:txXfrm>
        <a:off x="38049" y="2002819"/>
        <a:ext cx="7972527" cy="703341"/>
      </dsp:txXfrm>
    </dsp:sp>
    <dsp:sp modelId="{12095086-8C66-4E54-957C-70622D8BEF8A}">
      <dsp:nvSpPr>
        <dsp:cNvPr id="0" name=""/>
        <dsp:cNvSpPr/>
      </dsp:nvSpPr>
      <dsp:spPr>
        <a:xfrm>
          <a:off x="0" y="2775890"/>
          <a:ext cx="8048625" cy="779439"/>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sz="1100" b="1" kern="1200" dirty="0" err="1"/>
            <a:t>Gelişmiş</a:t>
          </a:r>
          <a:r>
            <a:rPr sz="1100" b="1" kern="1200" dirty="0"/>
            <a:t> </a:t>
          </a:r>
          <a:r>
            <a:rPr sz="1100" b="1" kern="1200" dirty="0" err="1"/>
            <a:t>Erişilebilirlik</a:t>
          </a:r>
          <a:r>
            <a:rPr sz="1100" b="1" kern="1200" dirty="0"/>
            <a:t> </a:t>
          </a:r>
          <a:r>
            <a:rPr sz="1100" b="1" kern="1200" dirty="0" err="1"/>
            <a:t>ve</a:t>
          </a:r>
          <a:r>
            <a:rPr sz="1100" b="1" kern="1200" dirty="0"/>
            <a:t> </a:t>
          </a:r>
          <a:r>
            <a:rPr sz="1100" b="1" kern="1200" dirty="0" err="1"/>
            <a:t>Hareketlilik</a:t>
          </a:r>
          <a:r>
            <a:rPr sz="1100" b="1" kern="1200" dirty="0"/>
            <a:t>: </a:t>
          </a:r>
          <a:r>
            <a:rPr lang="en-US" sz="1100" kern="1200" dirty="0"/>
            <a:t>AUS</a:t>
          </a:r>
          <a:r>
            <a:rPr sz="1100" kern="1200" dirty="0"/>
            <a:t>, </a:t>
          </a:r>
          <a:r>
            <a:rPr sz="1100" kern="1200" dirty="0" err="1"/>
            <a:t>engelli</a:t>
          </a:r>
          <a:r>
            <a:rPr sz="1100" kern="1200" dirty="0"/>
            <a:t> </a:t>
          </a:r>
          <a:r>
            <a:rPr sz="1100" kern="1200" dirty="0" err="1"/>
            <a:t>insanlar</a:t>
          </a:r>
          <a:r>
            <a:rPr sz="1100" kern="1200" dirty="0"/>
            <a:t>, </a:t>
          </a:r>
          <a:r>
            <a:rPr sz="1100" kern="1200" dirty="0" err="1"/>
            <a:t>yaşlı</a:t>
          </a:r>
          <a:r>
            <a:rPr sz="1100" kern="1200" dirty="0"/>
            <a:t> </a:t>
          </a:r>
          <a:r>
            <a:rPr sz="1100" kern="1200" dirty="0" err="1"/>
            <a:t>yetişkinler</a:t>
          </a:r>
          <a:r>
            <a:rPr sz="1100" kern="1200" dirty="0"/>
            <a:t> </a:t>
          </a:r>
          <a:r>
            <a:rPr sz="1100" kern="1200" dirty="0" err="1"/>
            <a:t>ve</a:t>
          </a:r>
          <a:r>
            <a:rPr sz="1100" kern="1200" dirty="0"/>
            <a:t> </a:t>
          </a:r>
          <a:r>
            <a:rPr sz="1100" kern="1200" dirty="0" err="1"/>
            <a:t>diğer</a:t>
          </a:r>
          <a:r>
            <a:rPr sz="1100" kern="1200" dirty="0"/>
            <a:t> </a:t>
          </a:r>
          <a:r>
            <a:rPr sz="1100" kern="1200" dirty="0" err="1"/>
            <a:t>savunmasız</a:t>
          </a:r>
          <a:r>
            <a:rPr sz="1100" kern="1200" dirty="0"/>
            <a:t> </a:t>
          </a:r>
          <a:r>
            <a:rPr sz="1100" kern="1200" dirty="0" err="1"/>
            <a:t>popülasyonlar</a:t>
          </a:r>
          <a:r>
            <a:rPr sz="1100" kern="1200" dirty="0"/>
            <a:t> </a:t>
          </a:r>
          <a:r>
            <a:rPr sz="1100" kern="1200" dirty="0" err="1"/>
            <a:t>için</a:t>
          </a:r>
          <a:r>
            <a:rPr sz="1100" kern="1200" dirty="0"/>
            <a:t> </a:t>
          </a:r>
          <a:r>
            <a:rPr sz="1100" kern="1200" dirty="0" err="1"/>
            <a:t>erişilebilirliği</a:t>
          </a:r>
          <a:r>
            <a:rPr sz="1100" kern="1200" dirty="0"/>
            <a:t> </a:t>
          </a:r>
          <a:r>
            <a:rPr sz="1100" kern="1200" dirty="0" err="1"/>
            <a:t>ve</a:t>
          </a:r>
          <a:r>
            <a:rPr sz="1100" kern="1200" dirty="0"/>
            <a:t> </a:t>
          </a:r>
          <a:r>
            <a:rPr sz="1100" kern="1200" dirty="0" err="1"/>
            <a:t>hareketliliği</a:t>
          </a:r>
          <a:r>
            <a:rPr sz="1100" kern="1200" dirty="0"/>
            <a:t> </a:t>
          </a:r>
          <a:r>
            <a:rPr sz="1100" kern="1200" dirty="0" err="1"/>
            <a:t>artırabilir</a:t>
          </a:r>
          <a:r>
            <a:rPr sz="1100" kern="1200" dirty="0"/>
            <a:t>. </a:t>
          </a:r>
          <a:r>
            <a:rPr sz="1100" kern="1200" dirty="0" err="1"/>
            <a:t>Örneğin</a:t>
          </a:r>
          <a:r>
            <a:rPr sz="1100" kern="1200" dirty="0"/>
            <a:t>, </a:t>
          </a:r>
          <a:r>
            <a:rPr lang="en-US" sz="1100" kern="1200" dirty="0"/>
            <a:t>AUS</a:t>
          </a:r>
          <a:r>
            <a:rPr sz="1100" kern="1200" dirty="0"/>
            <a:t> </a:t>
          </a:r>
          <a:r>
            <a:rPr sz="1100" kern="1200" dirty="0" err="1"/>
            <a:t>tekerlekli</a:t>
          </a:r>
          <a:r>
            <a:rPr sz="1100" kern="1200" dirty="0"/>
            <a:t> </a:t>
          </a:r>
          <a:r>
            <a:rPr sz="1100" kern="1200" dirty="0" err="1"/>
            <a:t>sandalye</a:t>
          </a:r>
          <a:r>
            <a:rPr sz="1100" kern="1200" dirty="0"/>
            <a:t> </a:t>
          </a:r>
          <a:r>
            <a:rPr sz="1100" kern="1200" dirty="0" err="1"/>
            <a:t>ile</a:t>
          </a:r>
          <a:r>
            <a:rPr sz="1100" kern="1200" dirty="0"/>
            <a:t> </a:t>
          </a:r>
          <a:r>
            <a:rPr sz="1100" kern="1200" dirty="0" err="1"/>
            <a:t>erişilebilen</a:t>
          </a:r>
          <a:r>
            <a:rPr sz="1100" kern="1200" dirty="0"/>
            <a:t> </a:t>
          </a:r>
          <a:r>
            <a:rPr sz="1100" kern="1200" dirty="0" err="1"/>
            <a:t>otobüsler</a:t>
          </a:r>
          <a:r>
            <a:rPr sz="1100" kern="1200" dirty="0"/>
            <a:t> </a:t>
          </a:r>
          <a:r>
            <a:rPr sz="1100" kern="1200" dirty="0" err="1"/>
            <a:t>veya</a:t>
          </a:r>
          <a:r>
            <a:rPr sz="1100" kern="1200" dirty="0"/>
            <a:t> </a:t>
          </a:r>
          <a:r>
            <a:rPr sz="1100" kern="1200" dirty="0" err="1"/>
            <a:t>trenler</a:t>
          </a:r>
          <a:r>
            <a:rPr sz="1100" kern="1200" dirty="0"/>
            <a:t> </a:t>
          </a:r>
          <a:r>
            <a:rPr sz="1100" kern="1200" dirty="0" err="1"/>
            <a:t>gibi</a:t>
          </a:r>
          <a:r>
            <a:rPr sz="1100" kern="1200" dirty="0"/>
            <a:t> </a:t>
          </a:r>
          <a:r>
            <a:rPr sz="1100" kern="1200" dirty="0" err="1"/>
            <a:t>erişilebilir</a:t>
          </a:r>
          <a:r>
            <a:rPr sz="1100" kern="1200" dirty="0"/>
            <a:t> </a:t>
          </a:r>
          <a:r>
            <a:rPr sz="1100" kern="1200" dirty="0" err="1"/>
            <a:t>ulaşım</a:t>
          </a:r>
          <a:r>
            <a:rPr sz="1100" kern="1200" dirty="0"/>
            <a:t> </a:t>
          </a:r>
          <a:r>
            <a:rPr sz="1100" kern="1200" dirty="0" err="1"/>
            <a:t>seçenekleri</a:t>
          </a:r>
          <a:r>
            <a:rPr sz="1100" kern="1200" dirty="0"/>
            <a:t> </a:t>
          </a:r>
          <a:r>
            <a:rPr sz="1100" kern="1200" dirty="0" err="1"/>
            <a:t>hakkında</a:t>
          </a:r>
          <a:r>
            <a:rPr sz="1100" kern="1200" dirty="0"/>
            <a:t> </a:t>
          </a:r>
          <a:r>
            <a:rPr sz="1100" kern="1200" dirty="0" err="1"/>
            <a:t>gerçek</a:t>
          </a:r>
          <a:r>
            <a:rPr sz="1100" kern="1200" dirty="0"/>
            <a:t> </a:t>
          </a:r>
          <a:r>
            <a:rPr sz="1100" kern="1200" dirty="0" err="1"/>
            <a:t>zamanlı</a:t>
          </a:r>
          <a:r>
            <a:rPr sz="1100" kern="1200" dirty="0"/>
            <a:t> </a:t>
          </a:r>
          <a:r>
            <a:rPr sz="1100" kern="1200" dirty="0" err="1"/>
            <a:t>bilgi</a:t>
          </a:r>
          <a:r>
            <a:rPr sz="1100" kern="1200" dirty="0"/>
            <a:t> </a:t>
          </a:r>
          <a:r>
            <a:rPr sz="1100" kern="1200" dirty="0" err="1"/>
            <a:t>sağlayabilir</a:t>
          </a:r>
          <a:r>
            <a:rPr sz="1100" kern="1200" dirty="0"/>
            <a:t> </a:t>
          </a:r>
          <a:r>
            <a:rPr sz="1100" kern="1200" dirty="0" err="1"/>
            <a:t>ve</a:t>
          </a:r>
          <a:r>
            <a:rPr sz="1100" kern="1200" dirty="0"/>
            <a:t> </a:t>
          </a:r>
          <a:r>
            <a:rPr sz="1100" kern="1200" dirty="0" err="1"/>
            <a:t>engelli</a:t>
          </a:r>
          <a:r>
            <a:rPr sz="1100" kern="1200" dirty="0"/>
            <a:t> </a:t>
          </a:r>
          <a:r>
            <a:rPr sz="1100" kern="1200" dirty="0" err="1"/>
            <a:t>insanlar</a:t>
          </a:r>
          <a:r>
            <a:rPr sz="1100" kern="1200" dirty="0"/>
            <a:t> </a:t>
          </a:r>
          <a:r>
            <a:rPr sz="1100" kern="1200" dirty="0" err="1"/>
            <a:t>için</a:t>
          </a:r>
          <a:r>
            <a:rPr sz="1100" kern="1200" dirty="0"/>
            <a:t> </a:t>
          </a:r>
          <a:r>
            <a:rPr sz="1100" kern="1200" dirty="0" err="1"/>
            <a:t>mobilitenin</a:t>
          </a:r>
          <a:r>
            <a:rPr sz="1100" kern="1200" dirty="0"/>
            <a:t> </a:t>
          </a:r>
          <a:r>
            <a:rPr sz="1100" kern="1200" dirty="0" err="1"/>
            <a:t>geliştirilmesine</a:t>
          </a:r>
          <a:r>
            <a:rPr sz="1100" kern="1200" dirty="0"/>
            <a:t> </a:t>
          </a:r>
          <a:r>
            <a:rPr sz="1100" kern="1200" dirty="0" err="1"/>
            <a:t>yardımcı</a:t>
          </a:r>
          <a:r>
            <a:rPr sz="1100" kern="1200" dirty="0"/>
            <a:t> </a:t>
          </a:r>
          <a:r>
            <a:rPr sz="1100" kern="1200" dirty="0" err="1"/>
            <a:t>olabilir</a:t>
          </a:r>
          <a:r>
            <a:rPr sz="1100" kern="1200" dirty="0"/>
            <a:t>. </a:t>
          </a:r>
          <a:r>
            <a:rPr lang="en-US" sz="1100" kern="1200" dirty="0"/>
            <a:t>AUS</a:t>
          </a:r>
          <a:r>
            <a:rPr sz="1100" kern="1200" dirty="0"/>
            <a:t>, </a:t>
          </a:r>
          <a:r>
            <a:rPr sz="1100" kern="1200" dirty="0" err="1"/>
            <a:t>sınırlı</a:t>
          </a:r>
          <a:r>
            <a:rPr sz="1100" kern="1200" dirty="0"/>
            <a:t> </a:t>
          </a:r>
          <a:r>
            <a:rPr sz="1100" kern="1200" dirty="0" err="1"/>
            <a:t>toplu</a:t>
          </a:r>
          <a:r>
            <a:rPr sz="1100" kern="1200" dirty="0"/>
            <a:t> </a:t>
          </a:r>
          <a:r>
            <a:rPr sz="1100" kern="1200" dirty="0" err="1"/>
            <a:t>taşıma</a:t>
          </a:r>
          <a:r>
            <a:rPr sz="1100" kern="1200" dirty="0"/>
            <a:t> </a:t>
          </a:r>
          <a:r>
            <a:rPr sz="1100" kern="1200" dirty="0" err="1"/>
            <a:t>seçeneklerine</a:t>
          </a:r>
          <a:r>
            <a:rPr sz="1100" kern="1200" dirty="0"/>
            <a:t> </a:t>
          </a:r>
          <a:r>
            <a:rPr sz="1100" kern="1200" dirty="0" err="1"/>
            <a:t>sahip</a:t>
          </a:r>
          <a:r>
            <a:rPr sz="1100" kern="1200" dirty="0"/>
            <a:t> </a:t>
          </a:r>
          <a:r>
            <a:rPr sz="1100" kern="1200" dirty="0" err="1"/>
            <a:t>alanlarda</a:t>
          </a:r>
          <a:r>
            <a:rPr sz="1100" kern="1200" dirty="0"/>
            <a:t> </a:t>
          </a:r>
          <a:r>
            <a:rPr sz="1100" kern="1200" dirty="0" err="1"/>
            <a:t>erişilebilirliği</a:t>
          </a:r>
          <a:r>
            <a:rPr sz="1100" kern="1200" dirty="0"/>
            <a:t> </a:t>
          </a:r>
          <a:r>
            <a:rPr sz="1100" kern="1200" dirty="0" err="1"/>
            <a:t>artırabilen</a:t>
          </a:r>
          <a:r>
            <a:rPr sz="1100" kern="1200" dirty="0"/>
            <a:t> </a:t>
          </a:r>
          <a:r>
            <a:rPr sz="1100" kern="1200" dirty="0" err="1"/>
            <a:t>yolculuk</a:t>
          </a:r>
          <a:r>
            <a:rPr sz="1100" kern="1200" dirty="0"/>
            <a:t> </a:t>
          </a:r>
          <a:r>
            <a:rPr sz="1100" kern="1200" dirty="0" err="1"/>
            <a:t>paylaşımı</a:t>
          </a:r>
          <a:r>
            <a:rPr sz="1100" kern="1200" dirty="0"/>
            <a:t> </a:t>
          </a:r>
          <a:r>
            <a:rPr sz="1100" kern="1200" dirty="0" err="1"/>
            <a:t>veya</a:t>
          </a:r>
          <a:r>
            <a:rPr sz="1100" kern="1200" dirty="0"/>
            <a:t> </a:t>
          </a:r>
          <a:r>
            <a:rPr sz="1100" kern="1200" dirty="0" err="1"/>
            <a:t>mikrotransit</a:t>
          </a:r>
          <a:r>
            <a:rPr sz="1100" kern="1200" dirty="0"/>
            <a:t> </a:t>
          </a:r>
          <a:r>
            <a:rPr sz="1100" kern="1200" dirty="0" err="1"/>
            <a:t>hizmetleri</a:t>
          </a:r>
          <a:r>
            <a:rPr sz="1100" kern="1200" dirty="0"/>
            <a:t> </a:t>
          </a:r>
          <a:r>
            <a:rPr sz="1100" kern="1200" dirty="0" err="1"/>
            <a:t>gibi</a:t>
          </a:r>
          <a:r>
            <a:rPr sz="1100" kern="1200" dirty="0"/>
            <a:t> </a:t>
          </a:r>
          <a:r>
            <a:rPr sz="1100" kern="1200" dirty="0" err="1"/>
            <a:t>isteğe</a:t>
          </a:r>
          <a:r>
            <a:rPr sz="1100" kern="1200" dirty="0"/>
            <a:t> </a:t>
          </a:r>
          <a:r>
            <a:rPr sz="1100" kern="1200" dirty="0" err="1"/>
            <a:t>bağlı</a:t>
          </a:r>
          <a:r>
            <a:rPr sz="1100" kern="1200" dirty="0"/>
            <a:t> </a:t>
          </a:r>
          <a:r>
            <a:rPr sz="1100" kern="1200" dirty="0" err="1"/>
            <a:t>ulaşım</a:t>
          </a:r>
          <a:r>
            <a:rPr sz="1100" kern="1200" dirty="0"/>
            <a:t> </a:t>
          </a:r>
          <a:r>
            <a:rPr sz="1100" kern="1200" dirty="0" err="1"/>
            <a:t>hizmetleri</a:t>
          </a:r>
          <a:r>
            <a:rPr sz="1100" kern="1200" dirty="0"/>
            <a:t> de </a:t>
          </a:r>
          <a:r>
            <a:rPr sz="1100" kern="1200" dirty="0" err="1"/>
            <a:t>sağlayabilir</a:t>
          </a:r>
          <a:r>
            <a:rPr sz="1100" kern="1200" dirty="0"/>
            <a:t>.</a:t>
          </a:r>
        </a:p>
      </dsp:txBody>
      <dsp:txXfrm>
        <a:off x="38049" y="2813939"/>
        <a:ext cx="7972527" cy="703341"/>
      </dsp:txXfrm>
    </dsp:sp>
    <dsp:sp modelId="{2F26C50C-4BC6-4E60-BDF8-D1AB98E0F9DB}">
      <dsp:nvSpPr>
        <dsp:cNvPr id="0" name=""/>
        <dsp:cNvSpPr/>
      </dsp:nvSpPr>
      <dsp:spPr>
        <a:xfrm>
          <a:off x="0" y="3587009"/>
          <a:ext cx="8048625" cy="779439"/>
        </a:xfrm>
        <a:prstGeom prst="roundRect">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l" defTabSz="488950">
            <a:lnSpc>
              <a:spcPct val="90000"/>
            </a:lnSpc>
            <a:spcBef>
              <a:spcPct val="0"/>
            </a:spcBef>
            <a:spcAft>
              <a:spcPct val="35000"/>
            </a:spcAft>
            <a:buNone/>
          </a:pPr>
          <a:r>
            <a:rPr sz="1100" b="1" kern="1200" dirty="0" err="1"/>
            <a:t>Geliştirilmiş</a:t>
          </a:r>
          <a:r>
            <a:rPr sz="1100" b="1" kern="1200" dirty="0"/>
            <a:t> Ulaşım </a:t>
          </a:r>
          <a:r>
            <a:rPr sz="1100" b="1" kern="1200" dirty="0" err="1"/>
            <a:t>Eşitliği</a:t>
          </a:r>
          <a:r>
            <a:rPr sz="1100" b="1" kern="1200" dirty="0"/>
            <a:t>: </a:t>
          </a:r>
          <a:r>
            <a:rPr lang="en-US" sz="1100" kern="1200" dirty="0"/>
            <a:t>AUS</a:t>
          </a:r>
          <a:r>
            <a:rPr sz="1100" kern="1200" dirty="0"/>
            <a:t>, </a:t>
          </a:r>
          <a:r>
            <a:rPr sz="1100" kern="1200" dirty="0" err="1"/>
            <a:t>tüm</a:t>
          </a:r>
          <a:r>
            <a:rPr sz="1100" kern="1200" dirty="0"/>
            <a:t> </a:t>
          </a:r>
          <a:r>
            <a:rPr sz="1100" kern="1200" dirty="0" err="1"/>
            <a:t>kullanıcılara</a:t>
          </a:r>
          <a:r>
            <a:rPr sz="1100" kern="1200" dirty="0"/>
            <a:t> </a:t>
          </a:r>
          <a:r>
            <a:rPr sz="1100" kern="1200" dirty="0" err="1"/>
            <a:t>gerçek</a:t>
          </a:r>
          <a:r>
            <a:rPr sz="1100" kern="1200" dirty="0"/>
            <a:t> </a:t>
          </a:r>
          <a:r>
            <a:rPr sz="1100" kern="1200" dirty="0" err="1"/>
            <a:t>zamanlı</a:t>
          </a:r>
          <a:r>
            <a:rPr sz="1100" kern="1200" dirty="0"/>
            <a:t> </a:t>
          </a:r>
          <a:r>
            <a:rPr sz="1100" kern="1200" dirty="0" err="1"/>
            <a:t>bilgi</a:t>
          </a:r>
          <a:r>
            <a:rPr sz="1100" kern="1200" dirty="0"/>
            <a:t> </a:t>
          </a:r>
          <a:r>
            <a:rPr sz="1100" kern="1200" dirty="0" err="1"/>
            <a:t>ve</a:t>
          </a:r>
          <a:r>
            <a:rPr sz="1100" kern="1200" dirty="0"/>
            <a:t> multimodal </a:t>
          </a:r>
          <a:r>
            <a:rPr sz="1100" kern="1200" dirty="0" err="1"/>
            <a:t>ulaşım</a:t>
          </a:r>
          <a:r>
            <a:rPr sz="1100" kern="1200" dirty="0"/>
            <a:t> </a:t>
          </a:r>
          <a:r>
            <a:rPr sz="1100" kern="1200" dirty="0" err="1"/>
            <a:t>seçenekleri</a:t>
          </a:r>
          <a:r>
            <a:rPr sz="1100" kern="1200" dirty="0"/>
            <a:t> </a:t>
          </a:r>
          <a:r>
            <a:rPr sz="1100" kern="1200" dirty="0" err="1"/>
            <a:t>sunarak</a:t>
          </a:r>
          <a:r>
            <a:rPr sz="1100" kern="1200" dirty="0"/>
            <a:t> </a:t>
          </a:r>
          <a:r>
            <a:rPr sz="1100" kern="1200" dirty="0" err="1"/>
            <a:t>ulaşım</a:t>
          </a:r>
          <a:r>
            <a:rPr sz="1100" kern="1200" dirty="0"/>
            <a:t> </a:t>
          </a:r>
          <a:r>
            <a:rPr sz="1100" kern="1200" dirty="0" err="1"/>
            <a:t>eşitliğini</a:t>
          </a:r>
          <a:r>
            <a:rPr sz="1100" kern="1200" dirty="0"/>
            <a:t> </a:t>
          </a:r>
          <a:r>
            <a:rPr sz="1100" kern="1200" dirty="0" err="1"/>
            <a:t>artırabilir</a:t>
          </a:r>
          <a:r>
            <a:rPr sz="1100" kern="1200" dirty="0"/>
            <a:t>. </a:t>
          </a:r>
          <a:r>
            <a:rPr sz="1100" kern="1200" dirty="0" err="1"/>
            <a:t>Örneğin</a:t>
          </a:r>
          <a:r>
            <a:rPr sz="1100" kern="1200" dirty="0"/>
            <a:t>, </a:t>
          </a:r>
          <a:r>
            <a:rPr lang="en-US" sz="1100" kern="1200" dirty="0"/>
            <a:t>AUS</a:t>
          </a:r>
          <a:r>
            <a:rPr sz="1100" kern="1200" dirty="0"/>
            <a:t> </a:t>
          </a:r>
          <a:r>
            <a:rPr sz="1100" kern="1200" dirty="0" err="1"/>
            <a:t>toplu</a:t>
          </a:r>
          <a:r>
            <a:rPr sz="1100" kern="1200" dirty="0"/>
            <a:t> </a:t>
          </a:r>
          <a:r>
            <a:rPr sz="1100" kern="1200" dirty="0" err="1"/>
            <a:t>taşıma</a:t>
          </a:r>
          <a:r>
            <a:rPr sz="1100" kern="1200" dirty="0"/>
            <a:t> </a:t>
          </a:r>
          <a:r>
            <a:rPr sz="1100" kern="1200" dirty="0" err="1"/>
            <a:t>programları</a:t>
          </a:r>
          <a:r>
            <a:rPr sz="1100" kern="1200" dirty="0"/>
            <a:t> </a:t>
          </a:r>
          <a:r>
            <a:rPr sz="1100" kern="1200" dirty="0" err="1"/>
            <a:t>ve</a:t>
          </a:r>
          <a:r>
            <a:rPr sz="1100" kern="1200" dirty="0"/>
            <a:t> </a:t>
          </a:r>
          <a:r>
            <a:rPr sz="1100" kern="1200" dirty="0" err="1"/>
            <a:t>kullanılabilirliği</a:t>
          </a:r>
          <a:r>
            <a:rPr sz="1100" kern="1200" dirty="0"/>
            <a:t> </a:t>
          </a:r>
          <a:r>
            <a:rPr sz="1100" kern="1200" dirty="0" err="1"/>
            <a:t>hakkında</a:t>
          </a:r>
          <a:r>
            <a:rPr sz="1100" kern="1200" dirty="0"/>
            <a:t> </a:t>
          </a:r>
          <a:r>
            <a:rPr sz="1100" kern="1200" dirty="0" err="1"/>
            <a:t>gerçek</a:t>
          </a:r>
          <a:r>
            <a:rPr sz="1100" kern="1200" dirty="0"/>
            <a:t> </a:t>
          </a:r>
          <a:r>
            <a:rPr sz="1100" kern="1200" dirty="0" err="1"/>
            <a:t>zamanlı</a:t>
          </a:r>
          <a:r>
            <a:rPr sz="1100" kern="1200" dirty="0"/>
            <a:t> </a:t>
          </a:r>
          <a:r>
            <a:rPr sz="1100" kern="1200" dirty="0" err="1"/>
            <a:t>bilgi</a:t>
          </a:r>
          <a:r>
            <a:rPr sz="1100" kern="1200" dirty="0"/>
            <a:t> </a:t>
          </a:r>
          <a:r>
            <a:rPr sz="1100" kern="1200" dirty="0" err="1"/>
            <a:t>sağlayabilir</a:t>
          </a:r>
          <a:r>
            <a:rPr sz="1100" kern="1200" dirty="0"/>
            <a:t> </a:t>
          </a:r>
          <a:r>
            <a:rPr sz="1100" kern="1200" dirty="0" err="1"/>
            <a:t>ve</a:t>
          </a:r>
          <a:r>
            <a:rPr sz="1100" kern="1200" dirty="0"/>
            <a:t> </a:t>
          </a:r>
          <a:r>
            <a:rPr sz="1100" kern="1200" dirty="0" err="1"/>
            <a:t>düşük</a:t>
          </a:r>
          <a:r>
            <a:rPr sz="1100" kern="1200" dirty="0"/>
            <a:t> </a:t>
          </a:r>
          <a:r>
            <a:rPr sz="1100" kern="1200" dirty="0" err="1"/>
            <a:t>gelirli</a:t>
          </a:r>
          <a:r>
            <a:rPr sz="1100" kern="1200" dirty="0"/>
            <a:t> </a:t>
          </a:r>
          <a:r>
            <a:rPr sz="1100" kern="1200" dirty="0" err="1"/>
            <a:t>veya</a:t>
          </a:r>
          <a:r>
            <a:rPr sz="1100" kern="1200" dirty="0"/>
            <a:t> </a:t>
          </a:r>
          <a:r>
            <a:rPr sz="1100" kern="1200" dirty="0" err="1"/>
            <a:t>dezavantajlı</a:t>
          </a:r>
          <a:r>
            <a:rPr sz="1100" kern="1200" dirty="0"/>
            <a:t> </a:t>
          </a:r>
          <a:r>
            <a:rPr sz="1100" kern="1200" dirty="0" err="1"/>
            <a:t>nüfuslar</a:t>
          </a:r>
          <a:r>
            <a:rPr sz="1100" kern="1200" dirty="0"/>
            <a:t> </a:t>
          </a:r>
          <a:r>
            <a:rPr sz="1100" kern="1200" dirty="0" err="1"/>
            <a:t>için</a:t>
          </a:r>
          <a:r>
            <a:rPr sz="1100" kern="1200" dirty="0"/>
            <a:t> </a:t>
          </a:r>
          <a:r>
            <a:rPr sz="1100" kern="1200" dirty="0" err="1"/>
            <a:t>ulaşıma</a:t>
          </a:r>
          <a:r>
            <a:rPr sz="1100" kern="1200" dirty="0"/>
            <a:t> </a:t>
          </a:r>
          <a:r>
            <a:rPr sz="1100" kern="1200" dirty="0" err="1"/>
            <a:t>erişimi</a:t>
          </a:r>
          <a:r>
            <a:rPr sz="1100" kern="1200" dirty="0"/>
            <a:t> </a:t>
          </a:r>
          <a:r>
            <a:rPr sz="1100" kern="1200" dirty="0" err="1"/>
            <a:t>iyileştirmeye</a:t>
          </a:r>
          <a:r>
            <a:rPr sz="1100" kern="1200" dirty="0"/>
            <a:t> </a:t>
          </a:r>
          <a:r>
            <a:rPr sz="1100" kern="1200" dirty="0" err="1"/>
            <a:t>yardımcı</a:t>
          </a:r>
          <a:r>
            <a:rPr sz="1100" kern="1200" dirty="0"/>
            <a:t> </a:t>
          </a:r>
          <a:r>
            <a:rPr sz="1100" kern="1200" dirty="0" err="1"/>
            <a:t>olabilir</a:t>
          </a:r>
          <a:r>
            <a:rPr sz="1100" kern="1200" dirty="0"/>
            <a:t>. </a:t>
          </a:r>
          <a:r>
            <a:rPr lang="en-US" sz="1100" kern="1200" dirty="0"/>
            <a:t>AUS</a:t>
          </a:r>
          <a:r>
            <a:rPr sz="1100" kern="1200" dirty="0"/>
            <a:t> </a:t>
          </a:r>
          <a:r>
            <a:rPr sz="1100" kern="1200" dirty="0" err="1"/>
            <a:t>ayrıca</a:t>
          </a:r>
          <a:r>
            <a:rPr sz="1100" kern="1200" dirty="0"/>
            <a:t>, </a:t>
          </a:r>
          <a:r>
            <a:rPr sz="1100" kern="1200" dirty="0" err="1"/>
            <a:t>sınırlı</a:t>
          </a:r>
          <a:r>
            <a:rPr sz="1100" kern="1200" dirty="0"/>
            <a:t> </a:t>
          </a:r>
          <a:r>
            <a:rPr sz="1100" kern="1200" dirty="0" err="1"/>
            <a:t>toplu</a:t>
          </a:r>
          <a:r>
            <a:rPr sz="1100" kern="1200" dirty="0"/>
            <a:t> </a:t>
          </a:r>
          <a:r>
            <a:rPr sz="1100" kern="1200" dirty="0" err="1"/>
            <a:t>taşıma</a:t>
          </a:r>
          <a:r>
            <a:rPr sz="1100" kern="1200" dirty="0"/>
            <a:t> </a:t>
          </a:r>
          <a:r>
            <a:rPr sz="1100" kern="1200" dirty="0" err="1"/>
            <a:t>alanlarına</a:t>
          </a:r>
          <a:r>
            <a:rPr sz="1100" kern="1200" dirty="0"/>
            <a:t> </a:t>
          </a:r>
          <a:r>
            <a:rPr sz="1100" kern="1200" dirty="0" err="1"/>
            <a:t>ulaşım</a:t>
          </a:r>
          <a:r>
            <a:rPr sz="1100" kern="1200" dirty="0"/>
            <a:t> </a:t>
          </a:r>
          <a:r>
            <a:rPr sz="1100" kern="1200" dirty="0" err="1"/>
            <a:t>seçeneklerini</a:t>
          </a:r>
          <a:r>
            <a:rPr sz="1100" kern="1200" dirty="0"/>
            <a:t> </a:t>
          </a:r>
          <a:r>
            <a:rPr sz="1100" kern="1200" dirty="0" err="1"/>
            <a:t>iyileştirebilen</a:t>
          </a:r>
          <a:r>
            <a:rPr sz="1100" kern="1200" dirty="0"/>
            <a:t> </a:t>
          </a:r>
          <a:r>
            <a:rPr sz="1100" kern="1200" dirty="0" err="1"/>
            <a:t>yolculuk</a:t>
          </a:r>
          <a:r>
            <a:rPr sz="1100" kern="1200" dirty="0"/>
            <a:t> </a:t>
          </a:r>
          <a:r>
            <a:rPr sz="1100" kern="1200" dirty="0" err="1"/>
            <a:t>paylaşımı</a:t>
          </a:r>
          <a:r>
            <a:rPr sz="1100" kern="1200" dirty="0"/>
            <a:t> </a:t>
          </a:r>
          <a:r>
            <a:rPr sz="1100" kern="1200" dirty="0" err="1"/>
            <a:t>veya</a:t>
          </a:r>
          <a:r>
            <a:rPr sz="1100" kern="1200" dirty="0"/>
            <a:t> </a:t>
          </a:r>
          <a:r>
            <a:rPr sz="1100" kern="1200" dirty="0" err="1"/>
            <a:t>mikrotransit</a:t>
          </a:r>
          <a:r>
            <a:rPr sz="1100" kern="1200" dirty="0"/>
            <a:t> </a:t>
          </a:r>
          <a:r>
            <a:rPr sz="1100" kern="1200" dirty="0" err="1"/>
            <a:t>hizmetleri</a:t>
          </a:r>
          <a:r>
            <a:rPr sz="1100" kern="1200" dirty="0"/>
            <a:t> </a:t>
          </a:r>
          <a:r>
            <a:rPr sz="1100" kern="1200" dirty="0" err="1"/>
            <a:t>gibi</a:t>
          </a:r>
          <a:r>
            <a:rPr sz="1100" kern="1200" dirty="0"/>
            <a:t> </a:t>
          </a:r>
          <a:r>
            <a:rPr sz="1100" kern="1200" dirty="0" err="1"/>
            <a:t>isteğe</a:t>
          </a:r>
          <a:r>
            <a:rPr sz="1100" kern="1200" dirty="0"/>
            <a:t> </a:t>
          </a:r>
          <a:r>
            <a:rPr sz="1100" kern="1200" dirty="0" err="1"/>
            <a:t>bağlı</a:t>
          </a:r>
          <a:r>
            <a:rPr sz="1100" kern="1200" dirty="0"/>
            <a:t> </a:t>
          </a:r>
          <a:r>
            <a:rPr sz="1100" kern="1200" dirty="0" err="1"/>
            <a:t>ulaşım</a:t>
          </a:r>
          <a:r>
            <a:rPr sz="1100" kern="1200" dirty="0"/>
            <a:t> </a:t>
          </a:r>
          <a:r>
            <a:rPr sz="1100" kern="1200" dirty="0" err="1"/>
            <a:t>hizmetleri</a:t>
          </a:r>
          <a:r>
            <a:rPr sz="1100" kern="1200" dirty="0"/>
            <a:t> de </a:t>
          </a:r>
          <a:r>
            <a:rPr sz="1100" kern="1200" dirty="0" err="1"/>
            <a:t>sağlayabilir</a:t>
          </a:r>
          <a:r>
            <a:rPr sz="1100" kern="1200" dirty="0"/>
            <a:t>.</a:t>
          </a:r>
        </a:p>
      </dsp:txBody>
      <dsp:txXfrm>
        <a:off x="38049" y="3625058"/>
        <a:ext cx="7972527" cy="703341"/>
      </dsp:txXfrm>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6BAE505-92FF-4B2D-8469-4E0913D69303}">
      <dsp:nvSpPr>
        <dsp:cNvPr id="0" name=""/>
        <dsp:cNvSpPr/>
      </dsp:nvSpPr>
      <dsp:spPr>
        <a:xfrm>
          <a:off x="0" y="550060"/>
          <a:ext cx="7010400" cy="522019"/>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just" defTabSz="533400">
            <a:lnSpc>
              <a:spcPct val="90000"/>
            </a:lnSpc>
            <a:spcBef>
              <a:spcPct val="0"/>
            </a:spcBef>
            <a:spcAft>
              <a:spcPct val="35000"/>
            </a:spcAft>
            <a:buNone/>
          </a:pPr>
          <a:r>
            <a:rPr lang="en-US" sz="1200" kern="1200" dirty="0"/>
            <a:t>AUS</a:t>
          </a:r>
          <a:r>
            <a:rPr sz="1200" kern="1200" dirty="0"/>
            <a:t> </a:t>
          </a:r>
          <a:r>
            <a:rPr sz="1200" kern="1200" dirty="0" err="1"/>
            <a:t>birçok</a:t>
          </a:r>
          <a:r>
            <a:rPr sz="1200" kern="1200" dirty="0"/>
            <a:t> </a:t>
          </a:r>
          <a:r>
            <a:rPr sz="1200" kern="1200" dirty="0" err="1"/>
            <a:t>fayda</a:t>
          </a:r>
          <a:r>
            <a:rPr sz="1200" kern="1200" dirty="0"/>
            <a:t> </a:t>
          </a:r>
          <a:r>
            <a:rPr sz="1200" kern="1200" dirty="0" err="1"/>
            <a:t>sunarken</a:t>
          </a:r>
          <a:r>
            <a:rPr sz="1200" kern="1200" dirty="0"/>
            <a:t>, </a:t>
          </a:r>
          <a:r>
            <a:rPr sz="1200" kern="1200" dirty="0" err="1"/>
            <a:t>uygulanmasıyla</a:t>
          </a:r>
          <a:r>
            <a:rPr sz="1200" kern="1200" dirty="0"/>
            <a:t> </a:t>
          </a:r>
          <a:r>
            <a:rPr sz="1200" kern="1200" dirty="0" err="1"/>
            <a:t>ilgili</a:t>
          </a:r>
          <a:r>
            <a:rPr sz="1200" kern="1200" dirty="0"/>
            <a:t> </a:t>
          </a:r>
          <a:r>
            <a:rPr sz="1200" kern="1200" dirty="0" err="1"/>
            <a:t>önemli</a:t>
          </a:r>
          <a:r>
            <a:rPr sz="1200" kern="1200" dirty="0"/>
            <a:t> </a:t>
          </a:r>
          <a:r>
            <a:rPr sz="1200" kern="1200" dirty="0" err="1"/>
            <a:t>teknik</a:t>
          </a:r>
          <a:r>
            <a:rPr sz="1200" kern="1200" dirty="0"/>
            <a:t> </a:t>
          </a:r>
          <a:r>
            <a:rPr sz="1200" kern="1200" dirty="0" err="1"/>
            <a:t>zorluklar</a:t>
          </a:r>
          <a:r>
            <a:rPr sz="1200" kern="1200" dirty="0"/>
            <a:t> da </a:t>
          </a:r>
          <a:r>
            <a:rPr sz="1200" kern="1200" dirty="0" err="1"/>
            <a:t>vardır</a:t>
          </a:r>
          <a:r>
            <a:rPr sz="1200" kern="1200" dirty="0"/>
            <a:t>. Bu </a:t>
          </a:r>
          <a:r>
            <a:rPr sz="1200" kern="1200" dirty="0" err="1"/>
            <a:t>zorluklardan</a:t>
          </a:r>
          <a:r>
            <a:rPr sz="1200" kern="1200" dirty="0"/>
            <a:t> </a:t>
          </a:r>
          <a:r>
            <a:rPr sz="1200" kern="1200" dirty="0" err="1"/>
            <a:t>bazıları</a:t>
          </a:r>
          <a:r>
            <a:rPr sz="1200" kern="1200" dirty="0"/>
            <a:t> </a:t>
          </a:r>
          <a:r>
            <a:rPr sz="1200" kern="1200" dirty="0" err="1"/>
            <a:t>şunlardır</a:t>
          </a:r>
          <a:r>
            <a:rPr sz="1200" kern="1200" dirty="0"/>
            <a:t>:</a:t>
          </a:r>
        </a:p>
      </dsp:txBody>
      <dsp:txXfrm>
        <a:off x="25483" y="575543"/>
        <a:ext cx="6959434" cy="471053"/>
      </dsp:txXfrm>
    </dsp:sp>
    <dsp:sp modelId="{044BC92A-C66A-482E-A210-3D928D48E62F}">
      <dsp:nvSpPr>
        <dsp:cNvPr id="0" name=""/>
        <dsp:cNvSpPr/>
      </dsp:nvSpPr>
      <dsp:spPr>
        <a:xfrm>
          <a:off x="0" y="1072079"/>
          <a:ext cx="7010400" cy="17491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22580" tIns="13970" rIns="78232" bIns="13970" numCol="1" spcCol="1270" anchor="t" anchorCtr="0">
          <a:noAutofit/>
        </a:bodyPr>
        <a:lstStyle/>
        <a:p>
          <a:pPr marL="57150" lvl="1" indent="0" algn="just" defTabSz="444500">
            <a:lnSpc>
              <a:spcPct val="90000"/>
            </a:lnSpc>
            <a:spcBef>
              <a:spcPct val="0"/>
            </a:spcBef>
            <a:spcAft>
              <a:spcPct val="20000"/>
            </a:spcAft>
            <a:buFont typeface="Arial" panose="020B0604020202020204" pitchFamily="34" charset="0"/>
            <a:buChar char="•"/>
            <a:defRPr sz="1000" kern="1200"/>
          </a:pPr>
          <a:r>
            <a:rPr sz="1050" b="1" kern="1200" dirty="0" err="1"/>
            <a:t>Karmaşık</a:t>
          </a:r>
          <a:r>
            <a:rPr sz="1050" b="1" kern="1200" dirty="0"/>
            <a:t> </a:t>
          </a:r>
          <a:r>
            <a:rPr sz="1050" b="1" kern="1200" dirty="0" err="1"/>
            <a:t>Altyapı</a:t>
          </a:r>
          <a:r>
            <a:rPr sz="1050" b="1" kern="1200" dirty="0"/>
            <a:t>: </a:t>
          </a:r>
          <a:r>
            <a:rPr lang="en-US" sz="1050" kern="1200" dirty="0" err="1"/>
            <a:t>AUS</a:t>
          </a:r>
          <a:r>
            <a:rPr sz="1050" kern="1200" dirty="0" err="1"/>
            <a:t>'nin</a:t>
          </a:r>
          <a:r>
            <a:rPr sz="1050" kern="1200" dirty="0"/>
            <a:t> </a:t>
          </a:r>
          <a:r>
            <a:rPr sz="1050" kern="1200" dirty="0" err="1"/>
            <a:t>uygulanması</a:t>
          </a:r>
          <a:r>
            <a:rPr sz="1050" kern="1200" dirty="0"/>
            <a:t>, </a:t>
          </a:r>
          <a:r>
            <a:rPr sz="1050" kern="1200" dirty="0" err="1"/>
            <a:t>sensörler</a:t>
          </a:r>
          <a:r>
            <a:rPr sz="1050" kern="1200" dirty="0"/>
            <a:t>, </a:t>
          </a:r>
          <a:r>
            <a:rPr sz="1050" kern="1200" dirty="0" err="1"/>
            <a:t>kameralar</a:t>
          </a:r>
          <a:r>
            <a:rPr sz="1050" kern="1200" dirty="0"/>
            <a:t>, </a:t>
          </a:r>
          <a:r>
            <a:rPr sz="1050" kern="1200" dirty="0" err="1"/>
            <a:t>iletişim</a:t>
          </a:r>
          <a:r>
            <a:rPr sz="1050" kern="1200" dirty="0"/>
            <a:t> </a:t>
          </a:r>
          <a:r>
            <a:rPr sz="1050" kern="1200" dirty="0" err="1"/>
            <a:t>ağları</a:t>
          </a:r>
          <a:r>
            <a:rPr sz="1050" kern="1200" dirty="0"/>
            <a:t> </a:t>
          </a:r>
          <a:r>
            <a:rPr sz="1050" kern="1200" dirty="0" err="1"/>
            <a:t>ve</a:t>
          </a:r>
          <a:r>
            <a:rPr sz="1050" kern="1200" dirty="0"/>
            <a:t> </a:t>
          </a:r>
          <a:r>
            <a:rPr sz="1050" kern="1200" dirty="0" err="1"/>
            <a:t>veri</a:t>
          </a:r>
          <a:r>
            <a:rPr sz="1050" kern="1200" dirty="0"/>
            <a:t> </a:t>
          </a:r>
          <a:r>
            <a:rPr sz="1050" kern="1200" dirty="0" err="1"/>
            <a:t>merkezleri</a:t>
          </a:r>
          <a:r>
            <a:rPr sz="1050" kern="1200" dirty="0"/>
            <a:t> </a:t>
          </a:r>
          <a:r>
            <a:rPr sz="1050" kern="1200" dirty="0" err="1"/>
            <a:t>dahil</a:t>
          </a:r>
          <a:r>
            <a:rPr sz="1050" kern="1200" dirty="0"/>
            <a:t> </a:t>
          </a:r>
          <a:r>
            <a:rPr sz="1050" kern="1200" dirty="0" err="1"/>
            <a:t>olmak</a:t>
          </a:r>
          <a:r>
            <a:rPr sz="1050" kern="1200" dirty="0"/>
            <a:t> </a:t>
          </a:r>
          <a:r>
            <a:rPr sz="1050" kern="1200" dirty="0" err="1"/>
            <a:t>üzere</a:t>
          </a:r>
          <a:r>
            <a:rPr sz="1050" kern="1200" dirty="0"/>
            <a:t> </a:t>
          </a:r>
          <a:r>
            <a:rPr sz="1050" kern="1200" dirty="0" err="1"/>
            <a:t>iletişim</a:t>
          </a:r>
          <a:r>
            <a:rPr sz="1050" kern="1200" dirty="0"/>
            <a:t> </a:t>
          </a:r>
          <a:r>
            <a:rPr sz="1050" kern="1200" dirty="0" err="1"/>
            <a:t>teknolojilerinin</a:t>
          </a:r>
          <a:r>
            <a:rPr sz="1050" kern="1200" dirty="0"/>
            <a:t> </a:t>
          </a:r>
          <a:r>
            <a:rPr sz="1050" kern="1200" dirty="0" err="1"/>
            <a:t>karmaşık</a:t>
          </a:r>
          <a:r>
            <a:rPr sz="1050" kern="1200" dirty="0"/>
            <a:t> </a:t>
          </a:r>
          <a:r>
            <a:rPr sz="1050" kern="1200" dirty="0" err="1"/>
            <a:t>bir</a:t>
          </a:r>
          <a:r>
            <a:rPr sz="1050" kern="1200" dirty="0"/>
            <a:t> </a:t>
          </a:r>
          <a:r>
            <a:rPr lang="tr-TR" sz="1050" kern="1200" dirty="0"/>
            <a:t>altyapısını</a:t>
          </a:r>
          <a:r>
            <a:rPr sz="1050" kern="1200" dirty="0"/>
            <a:t> </a:t>
          </a:r>
          <a:r>
            <a:rPr sz="1050" kern="1200" dirty="0" err="1"/>
            <a:t>gerektirir</a:t>
          </a:r>
          <a:r>
            <a:rPr sz="1050" kern="1200" dirty="0"/>
            <a:t>. Bu </a:t>
          </a:r>
          <a:r>
            <a:rPr sz="1050" kern="1200" dirty="0" err="1"/>
            <a:t>altyapı</a:t>
          </a:r>
          <a:r>
            <a:rPr sz="1050" kern="1200" dirty="0"/>
            <a:t>, </a:t>
          </a:r>
          <a:r>
            <a:rPr sz="1050" kern="1200" dirty="0" err="1"/>
            <a:t>sistemlerinin</a:t>
          </a:r>
          <a:r>
            <a:rPr sz="1050" kern="1200" dirty="0"/>
            <a:t> </a:t>
          </a:r>
          <a:r>
            <a:rPr sz="1050" kern="1200" dirty="0" err="1"/>
            <a:t>etkin</a:t>
          </a:r>
          <a:r>
            <a:rPr sz="1050" kern="1200" dirty="0"/>
            <a:t> </a:t>
          </a:r>
          <a:r>
            <a:rPr sz="1050" kern="1200" dirty="0" err="1"/>
            <a:t>çalışmasını</a:t>
          </a:r>
          <a:r>
            <a:rPr sz="1050" kern="1200" dirty="0"/>
            <a:t> </a:t>
          </a:r>
          <a:r>
            <a:rPr sz="1050" kern="1200" dirty="0" err="1"/>
            <a:t>sağlamak</a:t>
          </a:r>
          <a:r>
            <a:rPr sz="1050" kern="1200" dirty="0"/>
            <a:t> </a:t>
          </a:r>
          <a:r>
            <a:rPr sz="1050" kern="1200" dirty="0" err="1"/>
            <a:t>için</a:t>
          </a:r>
          <a:r>
            <a:rPr sz="1050" kern="1200" dirty="0"/>
            <a:t> </a:t>
          </a:r>
          <a:r>
            <a:rPr sz="1050" kern="1200" dirty="0" err="1"/>
            <a:t>entegre</a:t>
          </a:r>
          <a:r>
            <a:rPr sz="1050" kern="1200" dirty="0"/>
            <a:t> </a:t>
          </a:r>
          <a:r>
            <a:rPr sz="1050" kern="1200" dirty="0" err="1"/>
            <a:t>edilmeli</a:t>
          </a:r>
          <a:r>
            <a:rPr sz="1050" kern="1200" dirty="0"/>
            <a:t> </a:t>
          </a:r>
          <a:r>
            <a:rPr sz="1050" kern="1200" dirty="0" err="1"/>
            <a:t>ve</a:t>
          </a:r>
          <a:r>
            <a:rPr sz="1050" kern="1200" dirty="0"/>
            <a:t> </a:t>
          </a:r>
          <a:r>
            <a:rPr sz="1050" kern="1200" dirty="0" err="1"/>
            <a:t>sürdürülmelidir</a:t>
          </a:r>
          <a:r>
            <a:rPr sz="1050" kern="1200" dirty="0"/>
            <a:t>.</a:t>
          </a:r>
        </a:p>
        <a:p>
          <a:pPr marL="57150" lvl="1" indent="-57150" algn="just" defTabSz="444500">
            <a:lnSpc>
              <a:spcPct val="90000"/>
            </a:lnSpc>
            <a:spcBef>
              <a:spcPct val="0"/>
            </a:spcBef>
            <a:spcAft>
              <a:spcPct val="20000"/>
            </a:spcAft>
            <a:buFont typeface="Arial" panose="020B0604020202020204" pitchFamily="34" charset="0"/>
            <a:buChar char="•"/>
            <a:defRPr sz="1000" kern="1200">
              <a:latin typeface="Calibri" panose="020F0502020204030204"/>
              <a:ea typeface="+mn-ea"/>
              <a:cs typeface="+mn-cs"/>
            </a:defRPr>
          </a:pPr>
          <a:r>
            <a:rPr sz="1050" b="1" kern="1200" dirty="0" err="1"/>
            <a:t>Siber</a:t>
          </a:r>
          <a:r>
            <a:rPr sz="1050" b="1" kern="1200" dirty="0"/>
            <a:t> </a:t>
          </a:r>
          <a:r>
            <a:rPr sz="1050" b="1" kern="1200" dirty="0" err="1"/>
            <a:t>Güvenlik</a:t>
          </a:r>
          <a:r>
            <a:rPr sz="1050" b="1" kern="1200" dirty="0"/>
            <a:t> </a:t>
          </a:r>
          <a:r>
            <a:rPr sz="1050" b="1" kern="1200" dirty="0" err="1"/>
            <a:t>ve</a:t>
          </a:r>
          <a:r>
            <a:rPr sz="1050" b="1" kern="1200" dirty="0"/>
            <a:t> Veri </a:t>
          </a:r>
          <a:r>
            <a:rPr sz="1050" b="1" kern="1200" dirty="0" err="1"/>
            <a:t>Gizliliği</a:t>
          </a:r>
          <a:r>
            <a:rPr sz="1050" b="1" kern="1200" dirty="0"/>
            <a:t>: </a:t>
          </a:r>
          <a:r>
            <a:rPr lang="en-US" sz="1050" kern="1200" dirty="0" err="1"/>
            <a:t>AUS</a:t>
          </a:r>
          <a:r>
            <a:rPr sz="1050" kern="1200" dirty="0" err="1"/>
            <a:t>'nin</a:t>
          </a:r>
          <a:r>
            <a:rPr sz="1050" kern="1200" dirty="0"/>
            <a:t> </a:t>
          </a:r>
          <a:r>
            <a:rPr sz="1050" kern="1200" dirty="0" err="1"/>
            <a:t>uygulanması</a:t>
          </a:r>
          <a:r>
            <a:rPr sz="1050" kern="1200" dirty="0"/>
            <a:t>, </a:t>
          </a:r>
          <a:r>
            <a:rPr sz="1050" kern="1200" dirty="0" err="1"/>
            <a:t>hassas</a:t>
          </a:r>
          <a:r>
            <a:rPr sz="1050" kern="1200" dirty="0"/>
            <a:t> </a:t>
          </a:r>
          <a:r>
            <a:rPr sz="1050" kern="1200" dirty="0" err="1"/>
            <a:t>verileri</a:t>
          </a:r>
          <a:r>
            <a:rPr sz="1050" kern="1200" dirty="0"/>
            <a:t> </a:t>
          </a:r>
          <a:r>
            <a:rPr sz="1050" kern="1200" dirty="0" err="1"/>
            <a:t>siber</a:t>
          </a:r>
          <a:r>
            <a:rPr sz="1050" kern="1200" dirty="0"/>
            <a:t> </a:t>
          </a:r>
          <a:r>
            <a:rPr sz="1050" kern="1200" dirty="0" err="1"/>
            <a:t>tehditlerden</a:t>
          </a:r>
          <a:r>
            <a:rPr sz="1050" kern="1200" dirty="0"/>
            <a:t> </a:t>
          </a:r>
          <a:r>
            <a:rPr sz="1050" kern="1200" dirty="0" err="1"/>
            <a:t>korumak</a:t>
          </a:r>
          <a:r>
            <a:rPr sz="1050" kern="1200" dirty="0"/>
            <a:t> </a:t>
          </a:r>
          <a:r>
            <a:rPr sz="1050" kern="1200" dirty="0" err="1"/>
            <a:t>ve</a:t>
          </a:r>
          <a:r>
            <a:rPr sz="1050" kern="1200" dirty="0"/>
            <a:t> GDPR </a:t>
          </a:r>
          <a:r>
            <a:rPr sz="1050" kern="1200" dirty="0" err="1"/>
            <a:t>ve</a:t>
          </a:r>
          <a:r>
            <a:rPr sz="1050" kern="1200" dirty="0"/>
            <a:t> CCPA </a:t>
          </a:r>
          <a:r>
            <a:rPr sz="1050" kern="1200" dirty="0" err="1"/>
            <a:t>gibi</a:t>
          </a:r>
          <a:r>
            <a:rPr sz="1050" kern="1200" dirty="0"/>
            <a:t> </a:t>
          </a:r>
          <a:r>
            <a:rPr sz="1050" kern="1200" dirty="0" err="1"/>
            <a:t>veri</a:t>
          </a:r>
          <a:r>
            <a:rPr sz="1050" kern="1200" dirty="0"/>
            <a:t> </a:t>
          </a:r>
          <a:r>
            <a:rPr sz="1050" kern="1200" dirty="0" err="1"/>
            <a:t>gizliliği</a:t>
          </a:r>
          <a:r>
            <a:rPr sz="1050" kern="1200" dirty="0"/>
            <a:t> </a:t>
          </a:r>
          <a:r>
            <a:rPr sz="1050" kern="1200" dirty="0" err="1"/>
            <a:t>düzenlemelerine</a:t>
          </a:r>
          <a:r>
            <a:rPr sz="1050" kern="1200" dirty="0"/>
            <a:t> </a:t>
          </a:r>
          <a:r>
            <a:rPr sz="1050" kern="1200" dirty="0" err="1"/>
            <a:t>uyumu</a:t>
          </a:r>
          <a:r>
            <a:rPr sz="1050" kern="1200" dirty="0"/>
            <a:t> </a:t>
          </a:r>
          <a:r>
            <a:rPr sz="1050" kern="1200" dirty="0" err="1"/>
            <a:t>sağlamak</a:t>
          </a:r>
          <a:r>
            <a:rPr sz="1050" kern="1200" dirty="0"/>
            <a:t> </a:t>
          </a:r>
          <a:r>
            <a:rPr sz="1050" kern="1200" dirty="0" err="1"/>
            <a:t>için</a:t>
          </a:r>
          <a:r>
            <a:rPr sz="1050" kern="1200" dirty="0"/>
            <a:t> </a:t>
          </a:r>
          <a:r>
            <a:rPr sz="1050" kern="1200" dirty="0" err="1"/>
            <a:t>gelişmiş</a:t>
          </a:r>
          <a:r>
            <a:rPr sz="1050" kern="1200" dirty="0"/>
            <a:t> </a:t>
          </a:r>
          <a:r>
            <a:rPr sz="1050" kern="1200" dirty="0" err="1"/>
            <a:t>siber</a:t>
          </a:r>
          <a:r>
            <a:rPr sz="1050" kern="1200" dirty="0"/>
            <a:t> </a:t>
          </a:r>
          <a:r>
            <a:rPr sz="1050" kern="1200" dirty="0" err="1"/>
            <a:t>güvenlik</a:t>
          </a:r>
          <a:r>
            <a:rPr sz="1050" kern="1200" dirty="0"/>
            <a:t> </a:t>
          </a:r>
          <a:r>
            <a:rPr sz="1050" kern="1200" dirty="0" err="1"/>
            <a:t>ve</a:t>
          </a:r>
          <a:r>
            <a:rPr sz="1050" kern="1200" dirty="0"/>
            <a:t> </a:t>
          </a:r>
          <a:r>
            <a:rPr sz="1050" kern="1200" dirty="0" err="1"/>
            <a:t>veri</a:t>
          </a:r>
          <a:r>
            <a:rPr sz="1050" kern="1200" dirty="0"/>
            <a:t> </a:t>
          </a:r>
          <a:r>
            <a:rPr sz="1050" kern="1200" dirty="0" err="1"/>
            <a:t>gizliliği</a:t>
          </a:r>
          <a:r>
            <a:rPr sz="1050" kern="1200" dirty="0"/>
            <a:t> </a:t>
          </a:r>
          <a:r>
            <a:rPr sz="1050" kern="1200" dirty="0" err="1"/>
            <a:t>önlemleri</a:t>
          </a:r>
          <a:r>
            <a:rPr sz="1050" kern="1200" dirty="0"/>
            <a:t> </a:t>
          </a:r>
          <a:r>
            <a:rPr sz="1050" kern="1200" dirty="0" err="1"/>
            <a:t>gerektirebilir</a:t>
          </a:r>
          <a:r>
            <a:rPr sz="1050" kern="1200" dirty="0"/>
            <a:t>. </a:t>
          </a:r>
          <a:r>
            <a:rPr sz="1050" kern="1200" dirty="0" err="1"/>
            <a:t>Sistemler</a:t>
          </a:r>
          <a:r>
            <a:rPr sz="1050" kern="1200" dirty="0"/>
            <a:t> </a:t>
          </a:r>
          <a:r>
            <a:rPr sz="1050" kern="1200" dirty="0" err="1"/>
            <a:t>tarafından</a:t>
          </a:r>
          <a:r>
            <a:rPr sz="1050" kern="1200" dirty="0"/>
            <a:t> </a:t>
          </a:r>
          <a:r>
            <a:rPr sz="1050" kern="1200" dirty="0" err="1"/>
            <a:t>üretilen</a:t>
          </a:r>
          <a:r>
            <a:rPr sz="1050" kern="1200" dirty="0"/>
            <a:t> </a:t>
          </a:r>
          <a:r>
            <a:rPr sz="1050" kern="1200" dirty="0" err="1"/>
            <a:t>büyük</a:t>
          </a:r>
          <a:r>
            <a:rPr sz="1050" kern="1200" dirty="0"/>
            <a:t> </a:t>
          </a:r>
          <a:r>
            <a:rPr sz="1050" kern="1200" dirty="0" err="1"/>
            <a:t>miktardaki</a:t>
          </a:r>
          <a:r>
            <a:rPr sz="1050" kern="1200" dirty="0"/>
            <a:t> </a:t>
          </a:r>
          <a:r>
            <a:rPr sz="1050" kern="1200" dirty="0" err="1"/>
            <a:t>veriler</a:t>
          </a:r>
          <a:r>
            <a:rPr sz="1050" kern="1200" dirty="0"/>
            <a:t> </a:t>
          </a:r>
          <a:r>
            <a:rPr sz="1050" kern="1200" dirty="0" err="1"/>
            <a:t>siber</a:t>
          </a:r>
          <a:r>
            <a:rPr sz="1050" kern="1200" dirty="0"/>
            <a:t> </a:t>
          </a:r>
          <a:r>
            <a:rPr sz="1050" kern="1200" dirty="0" err="1"/>
            <a:t>tehditlerden</a:t>
          </a:r>
          <a:r>
            <a:rPr sz="1050" kern="1200" dirty="0"/>
            <a:t> </a:t>
          </a:r>
          <a:r>
            <a:rPr sz="1050" kern="1200" dirty="0" err="1"/>
            <a:t>korunmalı</a:t>
          </a:r>
          <a:r>
            <a:rPr sz="1050" kern="1200" dirty="0"/>
            <a:t> </a:t>
          </a:r>
          <a:r>
            <a:rPr sz="1050" kern="1200" dirty="0" err="1"/>
            <a:t>ve</a:t>
          </a:r>
          <a:r>
            <a:rPr sz="1050" kern="1200" dirty="0"/>
            <a:t> </a:t>
          </a:r>
          <a:r>
            <a:rPr sz="1050" kern="1200" dirty="0" err="1"/>
            <a:t>veri</a:t>
          </a:r>
          <a:r>
            <a:rPr sz="1050" kern="1200" dirty="0"/>
            <a:t> </a:t>
          </a:r>
          <a:r>
            <a:rPr sz="1050" kern="1200" dirty="0" err="1"/>
            <a:t>gizliliği</a:t>
          </a:r>
          <a:r>
            <a:rPr sz="1050" kern="1200" dirty="0"/>
            <a:t> </a:t>
          </a:r>
          <a:r>
            <a:rPr sz="1050" kern="1200" dirty="0" err="1"/>
            <a:t>düzenlemelerine</a:t>
          </a:r>
          <a:r>
            <a:rPr sz="1050" kern="1200" dirty="0"/>
            <a:t> </a:t>
          </a:r>
          <a:r>
            <a:rPr sz="1050" kern="1200" dirty="0" err="1"/>
            <a:t>uygun</a:t>
          </a:r>
          <a:r>
            <a:rPr sz="1050" kern="1200" dirty="0"/>
            <a:t> </a:t>
          </a:r>
          <a:r>
            <a:rPr sz="1050" kern="1200" dirty="0" err="1"/>
            <a:t>olarak</a:t>
          </a:r>
          <a:r>
            <a:rPr sz="1050" kern="1200" dirty="0"/>
            <a:t> </a:t>
          </a:r>
          <a:r>
            <a:rPr sz="1050" kern="1200" dirty="0" err="1"/>
            <a:t>yönetilmelidir</a:t>
          </a:r>
          <a:r>
            <a:rPr sz="1050" kern="1200" dirty="0"/>
            <a:t>.</a:t>
          </a:r>
        </a:p>
        <a:p>
          <a:pPr marL="57150" lvl="1" indent="-57150" algn="just" defTabSz="444500">
            <a:lnSpc>
              <a:spcPct val="90000"/>
            </a:lnSpc>
            <a:spcBef>
              <a:spcPct val="0"/>
            </a:spcBef>
            <a:spcAft>
              <a:spcPct val="20000"/>
            </a:spcAft>
            <a:buFont typeface="Arial" panose="020B0604020202020204" pitchFamily="34" charset="0"/>
            <a:buChar char="•"/>
            <a:defRPr sz="1000" kern="1200">
              <a:latin typeface="Calibri" panose="020F0502020204030204"/>
              <a:ea typeface="+mn-ea"/>
              <a:cs typeface="+mn-cs"/>
            </a:defRPr>
          </a:pPr>
          <a:r>
            <a:rPr sz="1050" b="1" kern="1200"/>
            <a:t>Birlikte çalışabilirlik: </a:t>
          </a:r>
          <a:r>
            <a:rPr sz="1050" kern="1200"/>
            <a:t>Sistemleri, birbirleriyle ve diğer ulaşım sistemleriyle iletişim kurabilmelerini sağlamak için birlikte çalışabilir olmalıdır. Bu, iletişim ve veri alışverişi için ortak teknik standartların ve protokollerin geliştirilmesini gerektirir.</a:t>
          </a:r>
        </a:p>
        <a:p>
          <a:pPr marL="57150" lvl="1" indent="-57150" algn="just" defTabSz="444500">
            <a:lnSpc>
              <a:spcPct val="90000"/>
            </a:lnSpc>
            <a:spcBef>
              <a:spcPct val="0"/>
            </a:spcBef>
            <a:spcAft>
              <a:spcPct val="20000"/>
            </a:spcAft>
            <a:buFont typeface="Arial" panose="020B0604020202020204" pitchFamily="34" charset="0"/>
            <a:buChar char="•"/>
            <a:defRPr sz="1000" kern="1200">
              <a:latin typeface="Calibri" panose="020F0502020204030204"/>
              <a:ea typeface="+mn-ea"/>
              <a:cs typeface="+mn-cs"/>
            </a:defRPr>
          </a:pPr>
          <a:r>
            <a:rPr sz="1050" b="1" kern="1200" dirty="0" err="1"/>
            <a:t>Maliyet</a:t>
          </a:r>
          <a:r>
            <a:rPr sz="1050" b="1" kern="1200" dirty="0"/>
            <a:t>: </a:t>
          </a:r>
          <a:r>
            <a:rPr lang="en-US" sz="1050" kern="1200" dirty="0" err="1"/>
            <a:t>AUS</a:t>
          </a:r>
          <a:r>
            <a:rPr sz="1050" kern="1200" dirty="0" err="1"/>
            <a:t>'nin</a:t>
          </a:r>
          <a:r>
            <a:rPr sz="1050" kern="1200" dirty="0"/>
            <a:t> </a:t>
          </a:r>
          <a:r>
            <a:rPr sz="1050" kern="1200" dirty="0" err="1"/>
            <a:t>uygulanması</a:t>
          </a:r>
          <a:r>
            <a:rPr sz="1050" kern="1200" dirty="0"/>
            <a:t> </a:t>
          </a:r>
          <a:r>
            <a:rPr sz="1050" kern="1200" dirty="0" err="1"/>
            <a:t>maliyetli</a:t>
          </a:r>
          <a:r>
            <a:rPr sz="1050" kern="1200" dirty="0"/>
            <a:t> </a:t>
          </a:r>
          <a:r>
            <a:rPr sz="1050" kern="1200" dirty="0" err="1"/>
            <a:t>olabilir</a:t>
          </a:r>
          <a:r>
            <a:rPr sz="1050" kern="1200" dirty="0"/>
            <a:t> </a:t>
          </a:r>
          <a:r>
            <a:rPr sz="1050" kern="1200" dirty="0" err="1"/>
            <a:t>ve</a:t>
          </a:r>
          <a:r>
            <a:rPr sz="1050" kern="1200" dirty="0"/>
            <a:t> </a:t>
          </a:r>
          <a:r>
            <a:rPr sz="1050" kern="1200" dirty="0" err="1"/>
            <a:t>altyapı</a:t>
          </a:r>
          <a:r>
            <a:rPr sz="1050" kern="1200" dirty="0"/>
            <a:t> </a:t>
          </a:r>
          <a:r>
            <a:rPr sz="1050" kern="1200" dirty="0" err="1"/>
            <a:t>ve</a:t>
          </a:r>
          <a:r>
            <a:rPr sz="1050" kern="1200" dirty="0"/>
            <a:t> </a:t>
          </a:r>
          <a:r>
            <a:rPr sz="1050" kern="1200" dirty="0" err="1"/>
            <a:t>teknolojiye</a:t>
          </a:r>
          <a:r>
            <a:rPr sz="1050" kern="1200" dirty="0"/>
            <a:t> </a:t>
          </a:r>
          <a:r>
            <a:rPr sz="1050" kern="1200" dirty="0" err="1"/>
            <a:t>önemli</a:t>
          </a:r>
          <a:r>
            <a:rPr sz="1050" kern="1200" dirty="0"/>
            <a:t> </a:t>
          </a:r>
          <a:r>
            <a:rPr sz="1050" kern="1200" dirty="0" err="1"/>
            <a:t>yatırımlar</a:t>
          </a:r>
          <a:r>
            <a:rPr sz="1050" kern="1200" dirty="0"/>
            <a:t> </a:t>
          </a:r>
          <a:r>
            <a:rPr sz="1050" kern="1200" dirty="0" err="1"/>
            <a:t>gerektirir</a:t>
          </a:r>
          <a:r>
            <a:rPr sz="1050" kern="1200" dirty="0"/>
            <a:t>. Ek </a:t>
          </a:r>
          <a:r>
            <a:rPr sz="1050" kern="1200" dirty="0" err="1"/>
            <a:t>olarak</a:t>
          </a:r>
          <a:r>
            <a:rPr sz="1050" kern="1200" dirty="0"/>
            <a:t>, </a:t>
          </a:r>
          <a:r>
            <a:rPr sz="1050" kern="1200" dirty="0" err="1"/>
            <a:t>sistemlerinde</a:t>
          </a:r>
          <a:r>
            <a:rPr sz="1050" kern="1200" dirty="0"/>
            <a:t> </a:t>
          </a:r>
          <a:r>
            <a:rPr lang="tr-TR" sz="1050" kern="1200" dirty="0"/>
            <a:t>devam</a:t>
          </a:r>
          <a:r>
            <a:rPr sz="1050" kern="1200" dirty="0"/>
            <a:t> </a:t>
          </a:r>
          <a:r>
            <a:rPr sz="1050" kern="1200" dirty="0" err="1"/>
            <a:t>eden</a:t>
          </a:r>
          <a:r>
            <a:rPr sz="1050" kern="1200" dirty="0"/>
            <a:t> </a:t>
          </a:r>
          <a:r>
            <a:rPr sz="1050" kern="1200" dirty="0" err="1"/>
            <a:t>bakım</a:t>
          </a:r>
          <a:r>
            <a:rPr sz="1050" kern="1200" dirty="0"/>
            <a:t> </a:t>
          </a:r>
          <a:r>
            <a:rPr sz="1050" kern="1200" dirty="0" err="1"/>
            <a:t>ve</a:t>
          </a:r>
          <a:r>
            <a:rPr sz="1050" kern="1200" dirty="0"/>
            <a:t> </a:t>
          </a:r>
          <a:r>
            <a:rPr sz="1050" kern="1200" dirty="0" err="1"/>
            <a:t>yükseltmeler</a:t>
          </a:r>
          <a:r>
            <a:rPr sz="1050" kern="1200" dirty="0"/>
            <a:t> </a:t>
          </a:r>
          <a:r>
            <a:rPr sz="1050" kern="1200" dirty="0" err="1"/>
            <a:t>pahalı</a:t>
          </a:r>
          <a:r>
            <a:rPr sz="1050" kern="1200" dirty="0"/>
            <a:t> </a:t>
          </a:r>
          <a:r>
            <a:rPr sz="1050" kern="1200" dirty="0" err="1"/>
            <a:t>olabilir</a:t>
          </a:r>
          <a:r>
            <a:rPr sz="1050" kern="1200" dirty="0"/>
            <a:t>.</a:t>
          </a:r>
        </a:p>
      </dsp:txBody>
      <dsp:txXfrm>
        <a:off x="0" y="1072079"/>
        <a:ext cx="7010400" cy="1749150"/>
      </dsp:txXfrm>
    </dsp:sp>
    <dsp:sp modelId="{4A08163E-4C83-40AF-A417-4DA5CE8032E3}">
      <dsp:nvSpPr>
        <dsp:cNvPr id="0" name=""/>
        <dsp:cNvSpPr/>
      </dsp:nvSpPr>
      <dsp:spPr>
        <a:xfrm>
          <a:off x="0" y="2821229"/>
          <a:ext cx="7010400" cy="847975"/>
        </a:xfrm>
        <a:prstGeom prst="roundRect">
          <a:avLst/>
        </a:prstGeom>
        <a:solidFill>
          <a:schemeClr val="accent4">
            <a:hueOff val="9800891"/>
            <a:satOff val="-40777"/>
            <a:lumOff val="9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just" defTabSz="533400">
            <a:lnSpc>
              <a:spcPct val="90000"/>
            </a:lnSpc>
            <a:spcBef>
              <a:spcPct val="0"/>
            </a:spcBef>
            <a:spcAft>
              <a:spcPct val="35000"/>
            </a:spcAft>
            <a:buNone/>
          </a:pPr>
          <a:r>
            <a:rPr sz="1200" kern="1200" dirty="0"/>
            <a:t>Bu </a:t>
          </a:r>
          <a:r>
            <a:rPr sz="1200" kern="1200" dirty="0" err="1"/>
            <a:t>teknik</a:t>
          </a:r>
          <a:r>
            <a:rPr sz="1200" kern="1200" dirty="0"/>
            <a:t> </a:t>
          </a:r>
          <a:r>
            <a:rPr sz="1200" kern="1200" dirty="0" err="1"/>
            <a:t>zorlukların</a:t>
          </a:r>
          <a:r>
            <a:rPr sz="1200" kern="1200" dirty="0"/>
            <a:t> </a:t>
          </a:r>
          <a:r>
            <a:rPr sz="1200" kern="1200" dirty="0" err="1"/>
            <a:t>üstesinden</a:t>
          </a:r>
          <a:r>
            <a:rPr sz="1200" kern="1200" dirty="0"/>
            <a:t> </a:t>
          </a:r>
          <a:r>
            <a:rPr sz="1200" kern="1200" dirty="0" err="1"/>
            <a:t>gelmek</a:t>
          </a:r>
          <a:r>
            <a:rPr sz="1200" kern="1200" dirty="0"/>
            <a:t>, </a:t>
          </a:r>
          <a:r>
            <a:rPr sz="1200" kern="1200" dirty="0" err="1"/>
            <a:t>devlet</a:t>
          </a:r>
          <a:r>
            <a:rPr sz="1200" kern="1200" dirty="0"/>
            <a:t> </a:t>
          </a:r>
          <a:r>
            <a:rPr sz="1200" kern="1200" dirty="0" err="1"/>
            <a:t>kurumları</a:t>
          </a:r>
          <a:r>
            <a:rPr sz="1200" kern="1200" dirty="0"/>
            <a:t>, </a:t>
          </a:r>
          <a:r>
            <a:rPr sz="1200" kern="1200" dirty="0" err="1"/>
            <a:t>ulaşım</a:t>
          </a:r>
          <a:r>
            <a:rPr sz="1200" kern="1200" dirty="0"/>
            <a:t> </a:t>
          </a:r>
          <a:r>
            <a:rPr sz="1200" kern="1200" dirty="0" err="1"/>
            <a:t>sağlayıcıları</a:t>
          </a:r>
          <a:r>
            <a:rPr sz="1200" kern="1200" dirty="0"/>
            <a:t>, </a:t>
          </a:r>
          <a:r>
            <a:rPr sz="1200" kern="1200" dirty="0" err="1"/>
            <a:t>teknoloji</a:t>
          </a:r>
          <a:r>
            <a:rPr sz="1200" kern="1200" dirty="0"/>
            <a:t> </a:t>
          </a:r>
          <a:r>
            <a:rPr sz="1200" kern="1200" dirty="0" err="1"/>
            <a:t>şirketleri</a:t>
          </a:r>
          <a:r>
            <a:rPr sz="1200" kern="1200" dirty="0"/>
            <a:t> </a:t>
          </a:r>
          <a:r>
            <a:rPr sz="1200" kern="1200" dirty="0" err="1"/>
            <a:t>ve</a:t>
          </a:r>
          <a:r>
            <a:rPr sz="1200" kern="1200" dirty="0"/>
            <a:t> </a:t>
          </a:r>
          <a:r>
            <a:rPr sz="1200" kern="1200" dirty="0" err="1"/>
            <a:t>diğer</a:t>
          </a:r>
          <a:r>
            <a:rPr sz="1200" kern="1200" dirty="0"/>
            <a:t> </a:t>
          </a:r>
          <a:r>
            <a:rPr sz="1200" kern="1200" dirty="0" err="1"/>
            <a:t>paydaşlar</a:t>
          </a:r>
          <a:r>
            <a:rPr sz="1200" kern="1200" dirty="0"/>
            <a:t> </a:t>
          </a:r>
          <a:r>
            <a:rPr sz="1200" kern="1200" dirty="0" err="1"/>
            <a:t>arasında</a:t>
          </a:r>
          <a:r>
            <a:rPr sz="1200" kern="1200" dirty="0"/>
            <a:t> </a:t>
          </a:r>
          <a:r>
            <a:rPr sz="1200" kern="1200" dirty="0" err="1"/>
            <a:t>işbirliği</a:t>
          </a:r>
          <a:r>
            <a:rPr sz="1200" kern="1200" dirty="0"/>
            <a:t> </a:t>
          </a:r>
          <a:r>
            <a:rPr sz="1200" kern="1200" dirty="0" err="1"/>
            <a:t>gerektirir</a:t>
          </a:r>
          <a:r>
            <a:rPr sz="1200" kern="1200" dirty="0"/>
            <a:t>. </a:t>
          </a:r>
          <a:r>
            <a:rPr sz="1200" kern="1200" dirty="0" err="1"/>
            <a:t>Ortak</a:t>
          </a:r>
          <a:r>
            <a:rPr sz="1200" kern="1200" dirty="0"/>
            <a:t> </a:t>
          </a:r>
          <a:r>
            <a:rPr sz="1200" kern="1200" dirty="0" err="1"/>
            <a:t>teknik</a:t>
          </a:r>
          <a:r>
            <a:rPr sz="1200" kern="1200" dirty="0"/>
            <a:t> </a:t>
          </a:r>
          <a:r>
            <a:rPr sz="1200" kern="1200" dirty="0" err="1"/>
            <a:t>standartlar</a:t>
          </a:r>
          <a:r>
            <a:rPr sz="1200" kern="1200" dirty="0"/>
            <a:t> </a:t>
          </a:r>
          <a:r>
            <a:rPr sz="1200" kern="1200" dirty="0" err="1"/>
            <a:t>ve</a:t>
          </a:r>
          <a:r>
            <a:rPr sz="1200" kern="1200" dirty="0"/>
            <a:t> </a:t>
          </a:r>
          <a:r>
            <a:rPr sz="1200" kern="1200" dirty="0" err="1"/>
            <a:t>protokoller</a:t>
          </a:r>
          <a:r>
            <a:rPr sz="1200" kern="1200" dirty="0"/>
            <a:t> </a:t>
          </a:r>
          <a:r>
            <a:rPr sz="1200" kern="1200" dirty="0" err="1"/>
            <a:t>geliştirmek</a:t>
          </a:r>
          <a:r>
            <a:rPr sz="1200" kern="1200" dirty="0"/>
            <a:t>, </a:t>
          </a:r>
          <a:r>
            <a:rPr sz="1200" kern="1200" dirty="0" err="1"/>
            <a:t>veri</a:t>
          </a:r>
          <a:r>
            <a:rPr sz="1200" kern="1200" dirty="0"/>
            <a:t> </a:t>
          </a:r>
          <a:r>
            <a:rPr sz="1200" kern="1200" dirty="0" err="1"/>
            <a:t>ve</a:t>
          </a:r>
          <a:r>
            <a:rPr sz="1200" kern="1200" dirty="0"/>
            <a:t> </a:t>
          </a:r>
          <a:r>
            <a:rPr sz="1200" kern="1200" dirty="0" err="1"/>
            <a:t>kaynakları</a:t>
          </a:r>
          <a:r>
            <a:rPr sz="1200" kern="1200" dirty="0"/>
            <a:t> </a:t>
          </a:r>
          <a:r>
            <a:rPr sz="1200" kern="1200" dirty="0" err="1"/>
            <a:t>paylaşmak</a:t>
          </a:r>
          <a:r>
            <a:rPr sz="1200" kern="1200" dirty="0"/>
            <a:t> </a:t>
          </a:r>
          <a:r>
            <a:rPr sz="1200" kern="1200" dirty="0" err="1"/>
            <a:t>ve</a:t>
          </a:r>
          <a:r>
            <a:rPr sz="1200" kern="1200" dirty="0"/>
            <a:t> </a:t>
          </a:r>
          <a:r>
            <a:rPr sz="1200" kern="1200" dirty="0" err="1"/>
            <a:t>araştırma</a:t>
          </a:r>
          <a:r>
            <a:rPr sz="1200" kern="1200" dirty="0"/>
            <a:t> </a:t>
          </a:r>
          <a:r>
            <a:rPr sz="1200" kern="1200" dirty="0" err="1"/>
            <a:t>ve</a:t>
          </a:r>
          <a:r>
            <a:rPr sz="1200" kern="1200" dirty="0"/>
            <a:t> </a:t>
          </a:r>
          <a:r>
            <a:rPr sz="1200" kern="1200" dirty="0" err="1"/>
            <a:t>geliştirmeye</a:t>
          </a:r>
          <a:r>
            <a:rPr sz="1200" kern="1200" dirty="0"/>
            <a:t> </a:t>
          </a:r>
          <a:r>
            <a:rPr sz="1200" kern="1200" dirty="0" err="1"/>
            <a:t>yatırım</a:t>
          </a:r>
          <a:r>
            <a:rPr sz="1200" kern="1200" dirty="0"/>
            <a:t> </a:t>
          </a:r>
          <a:r>
            <a:rPr sz="1200" kern="1200" dirty="0" err="1"/>
            <a:t>yapmak</a:t>
          </a:r>
          <a:r>
            <a:rPr sz="1200" kern="1200" dirty="0"/>
            <a:t>, </a:t>
          </a:r>
          <a:r>
            <a:rPr sz="1200" kern="1200" dirty="0" err="1"/>
            <a:t>bu</a:t>
          </a:r>
          <a:r>
            <a:rPr sz="1200" kern="1200" dirty="0"/>
            <a:t> </a:t>
          </a:r>
          <a:r>
            <a:rPr sz="1200" kern="1200" dirty="0" err="1"/>
            <a:t>zorlukların</a:t>
          </a:r>
          <a:r>
            <a:rPr sz="1200" kern="1200" dirty="0"/>
            <a:t> </a:t>
          </a:r>
          <a:r>
            <a:rPr sz="1200" kern="1200" dirty="0" err="1"/>
            <a:t>üstesinden</a:t>
          </a:r>
          <a:r>
            <a:rPr sz="1200" kern="1200" dirty="0"/>
            <a:t> </a:t>
          </a:r>
          <a:r>
            <a:rPr sz="1200" kern="1200" dirty="0" err="1"/>
            <a:t>gelmeye</a:t>
          </a:r>
          <a:r>
            <a:rPr sz="1200" kern="1200" dirty="0"/>
            <a:t> </a:t>
          </a:r>
          <a:r>
            <a:rPr sz="1200" kern="1200" dirty="0" err="1"/>
            <a:t>ve</a:t>
          </a:r>
          <a:r>
            <a:rPr sz="1200" kern="1200" dirty="0"/>
            <a:t> </a:t>
          </a:r>
          <a:r>
            <a:rPr sz="1200" kern="1200" dirty="0" err="1"/>
            <a:t>sistemlerinin</a:t>
          </a:r>
          <a:r>
            <a:rPr sz="1200" kern="1200" dirty="0"/>
            <a:t> </a:t>
          </a:r>
          <a:r>
            <a:rPr sz="1200" kern="1200" dirty="0" err="1"/>
            <a:t>etkili</a:t>
          </a:r>
          <a:r>
            <a:rPr sz="1200" kern="1200" dirty="0"/>
            <a:t> </a:t>
          </a:r>
          <a:r>
            <a:rPr sz="1200" kern="1200" dirty="0" err="1"/>
            <a:t>bir</a:t>
          </a:r>
          <a:r>
            <a:rPr sz="1200" kern="1200" dirty="0"/>
            <a:t> </a:t>
          </a:r>
          <a:r>
            <a:rPr sz="1200" kern="1200" dirty="0" err="1"/>
            <a:t>şekilde</a:t>
          </a:r>
          <a:r>
            <a:rPr sz="1200" kern="1200" dirty="0"/>
            <a:t> </a:t>
          </a:r>
          <a:r>
            <a:rPr sz="1200" kern="1200" dirty="0" err="1"/>
            <a:t>uygulanmasını</a:t>
          </a:r>
          <a:r>
            <a:rPr sz="1200" kern="1200" dirty="0"/>
            <a:t> </a:t>
          </a:r>
          <a:r>
            <a:rPr sz="1200" kern="1200" dirty="0" err="1"/>
            <a:t>sağlamaya</a:t>
          </a:r>
          <a:r>
            <a:rPr sz="1200" kern="1200" dirty="0"/>
            <a:t> </a:t>
          </a:r>
          <a:r>
            <a:rPr sz="1200" kern="1200" dirty="0" err="1"/>
            <a:t>yardımcı</a:t>
          </a:r>
          <a:r>
            <a:rPr sz="1200" kern="1200" dirty="0"/>
            <a:t> </a:t>
          </a:r>
          <a:r>
            <a:rPr sz="1200" kern="1200" dirty="0" err="1"/>
            <a:t>olabilir</a:t>
          </a:r>
          <a:r>
            <a:rPr sz="1200" kern="1200" dirty="0"/>
            <a:t>.</a:t>
          </a:r>
        </a:p>
      </dsp:txBody>
      <dsp:txXfrm>
        <a:off x="41395" y="2862624"/>
        <a:ext cx="6927610" cy="765185"/>
      </dsp:txXfrm>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18FBBAB-07ED-4C15-B770-085783058809}">
      <dsp:nvSpPr>
        <dsp:cNvPr id="0" name=""/>
        <dsp:cNvSpPr/>
      </dsp:nvSpPr>
      <dsp:spPr>
        <a:xfrm>
          <a:off x="-4975843" y="-762407"/>
          <a:ext cx="5926019" cy="5926019"/>
        </a:xfrm>
        <a:prstGeom prst="blockArc">
          <a:avLst>
            <a:gd name="adj1" fmla="val 18900000"/>
            <a:gd name="adj2" fmla="val 2700000"/>
            <a:gd name="adj3" fmla="val 364"/>
          </a:avLst>
        </a:prstGeom>
        <a:noFill/>
        <a:ln w="12700" cap="flat" cmpd="sng" algn="ctr">
          <a:solidFill>
            <a:schemeClr val="dk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25E85CCA-9A0E-474C-B96C-774D7DCE80A5}">
      <dsp:nvSpPr>
        <dsp:cNvPr id="0" name=""/>
        <dsp:cNvSpPr/>
      </dsp:nvSpPr>
      <dsp:spPr>
        <a:xfrm>
          <a:off x="611111" y="440120"/>
          <a:ext cx="8116776" cy="880241"/>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691" tIns="25400" rIns="25400" bIns="25400" numCol="1" spcCol="1270" anchor="ctr" anchorCtr="0">
          <a:noAutofit/>
        </a:bodyPr>
        <a:lstStyle/>
        <a:p>
          <a:pPr marL="0" lvl="0" indent="0" algn="just" defTabSz="444500">
            <a:lnSpc>
              <a:spcPct val="90000"/>
            </a:lnSpc>
            <a:spcBef>
              <a:spcPct val="0"/>
            </a:spcBef>
            <a:spcAft>
              <a:spcPct val="35000"/>
            </a:spcAft>
            <a:buNone/>
            <a:defRPr sz="800"/>
          </a:pPr>
          <a:r>
            <a:rPr sz="1000" kern="1200" dirty="0" err="1"/>
            <a:t>Türkiye'nin</a:t>
          </a:r>
          <a:r>
            <a:rPr sz="1000" kern="1200" dirty="0"/>
            <a:t> </a:t>
          </a:r>
          <a:r>
            <a:rPr sz="1000" kern="1200" dirty="0" err="1"/>
            <a:t>başkenti</a:t>
          </a:r>
          <a:r>
            <a:rPr sz="1000" kern="1200" dirty="0"/>
            <a:t> </a:t>
          </a:r>
          <a:r>
            <a:rPr sz="1000" kern="1200" dirty="0" err="1"/>
            <a:t>Ankara'da</a:t>
          </a:r>
          <a:r>
            <a:rPr sz="1000" kern="1200" dirty="0"/>
            <a:t> </a:t>
          </a:r>
          <a:r>
            <a:rPr sz="1000" kern="1200" dirty="0" err="1"/>
            <a:t>ulaşım</a:t>
          </a:r>
          <a:r>
            <a:rPr sz="1000" kern="1200" dirty="0"/>
            <a:t> </a:t>
          </a:r>
          <a:r>
            <a:rPr sz="1000" kern="1200" dirty="0" err="1"/>
            <a:t>planlama</a:t>
          </a:r>
          <a:r>
            <a:rPr sz="1000" kern="1200" dirty="0"/>
            <a:t> </a:t>
          </a:r>
          <a:r>
            <a:rPr sz="1000" kern="1200" dirty="0" err="1"/>
            <a:t>önlemlerinin</a:t>
          </a:r>
          <a:r>
            <a:rPr sz="1000" kern="1200" dirty="0"/>
            <a:t> </a:t>
          </a:r>
          <a:r>
            <a:rPr sz="1000" kern="1200" dirty="0" err="1"/>
            <a:t>uygulanması</a:t>
          </a:r>
          <a:r>
            <a:rPr sz="1000" kern="1200" dirty="0"/>
            <a:t>, </a:t>
          </a:r>
          <a:r>
            <a:rPr sz="1000" kern="1200" dirty="0" err="1"/>
            <a:t>kentin</a:t>
          </a:r>
          <a:r>
            <a:rPr sz="1000" kern="1200" dirty="0"/>
            <a:t> </a:t>
          </a:r>
          <a:r>
            <a:rPr sz="1000" kern="1200" dirty="0" err="1"/>
            <a:t>ulaşım</a:t>
          </a:r>
          <a:r>
            <a:rPr sz="1000" kern="1200" dirty="0"/>
            <a:t> </a:t>
          </a:r>
          <a:r>
            <a:rPr sz="1000" kern="1200" dirty="0" err="1"/>
            <a:t>sistemi</a:t>
          </a:r>
          <a:r>
            <a:rPr sz="1000" kern="1200" dirty="0"/>
            <a:t> </a:t>
          </a:r>
          <a:r>
            <a:rPr sz="1000" kern="1200" dirty="0" err="1"/>
            <a:t>ve</a:t>
          </a:r>
          <a:r>
            <a:rPr sz="1000" kern="1200" dirty="0"/>
            <a:t> </a:t>
          </a:r>
          <a:r>
            <a:rPr sz="1000" kern="1200" dirty="0" err="1"/>
            <a:t>sakinleri</a:t>
          </a:r>
          <a:r>
            <a:rPr sz="1000" kern="1200" dirty="0"/>
            <a:t> </a:t>
          </a:r>
          <a:r>
            <a:rPr sz="1000" kern="1200" dirty="0" err="1"/>
            <a:t>için</a:t>
          </a:r>
          <a:r>
            <a:rPr sz="1000" kern="1200" dirty="0"/>
            <a:t> </a:t>
          </a:r>
          <a:r>
            <a:rPr sz="1000" kern="1200" dirty="0" err="1"/>
            <a:t>yaşam</a:t>
          </a:r>
          <a:r>
            <a:rPr sz="1000" kern="1200" dirty="0"/>
            <a:t> </a:t>
          </a:r>
          <a:r>
            <a:rPr sz="1000" kern="1200" dirty="0" err="1"/>
            <a:t>kalitesi</a:t>
          </a:r>
          <a:r>
            <a:rPr sz="1000" kern="1200" dirty="0"/>
            <a:t> </a:t>
          </a:r>
          <a:r>
            <a:rPr sz="1000" kern="1200" dirty="0" err="1"/>
            <a:t>üzerinde</a:t>
          </a:r>
          <a:r>
            <a:rPr sz="1000" kern="1200" dirty="0"/>
            <a:t> </a:t>
          </a:r>
          <a:r>
            <a:rPr sz="1000" kern="1200" dirty="0" err="1"/>
            <a:t>önemli</a:t>
          </a:r>
          <a:r>
            <a:rPr sz="1000" kern="1200" dirty="0"/>
            <a:t> </a:t>
          </a:r>
          <a:r>
            <a:rPr sz="1000" kern="1200" dirty="0" err="1"/>
            <a:t>bir</a:t>
          </a:r>
          <a:r>
            <a:rPr sz="1000" kern="1200" dirty="0"/>
            <a:t> </a:t>
          </a:r>
          <a:r>
            <a:rPr sz="1000" kern="1200" dirty="0" err="1"/>
            <a:t>etkiye</a:t>
          </a:r>
          <a:r>
            <a:rPr sz="1000" kern="1200" dirty="0"/>
            <a:t> </a:t>
          </a:r>
          <a:r>
            <a:rPr sz="1000" kern="1200" dirty="0" err="1"/>
            <a:t>sahip</a:t>
          </a:r>
          <a:r>
            <a:rPr sz="1000" kern="1200" dirty="0"/>
            <a:t> </a:t>
          </a:r>
          <a:r>
            <a:rPr sz="1000" kern="1200" dirty="0" err="1"/>
            <a:t>olabilir</a:t>
          </a:r>
          <a:r>
            <a:rPr sz="1000" kern="1200" dirty="0"/>
            <a:t>. </a:t>
          </a:r>
        </a:p>
      </dsp:txBody>
      <dsp:txXfrm>
        <a:off x="611111" y="440120"/>
        <a:ext cx="8116776" cy="880241"/>
      </dsp:txXfrm>
    </dsp:sp>
    <dsp:sp modelId="{8EE7CCD5-9126-4B96-83C7-12961E386C33}">
      <dsp:nvSpPr>
        <dsp:cNvPr id="0" name=""/>
        <dsp:cNvSpPr/>
      </dsp:nvSpPr>
      <dsp:spPr>
        <a:xfrm>
          <a:off x="60960" y="330090"/>
          <a:ext cx="1100301" cy="1100301"/>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2483B7D3-529B-46D0-9887-E23264A8E76D}">
      <dsp:nvSpPr>
        <dsp:cNvPr id="0" name=""/>
        <dsp:cNvSpPr/>
      </dsp:nvSpPr>
      <dsp:spPr>
        <a:xfrm>
          <a:off x="931079" y="1441513"/>
          <a:ext cx="7796808" cy="1518178"/>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691" tIns="20320" rIns="20320" bIns="20320" numCol="1" spcCol="1270" anchor="ctr" anchorCtr="0">
          <a:noAutofit/>
        </a:bodyPr>
        <a:lstStyle/>
        <a:p>
          <a:pPr marL="0" lvl="0" indent="0" algn="just" defTabSz="355600">
            <a:lnSpc>
              <a:spcPct val="90000"/>
            </a:lnSpc>
            <a:spcBef>
              <a:spcPct val="0"/>
            </a:spcBef>
            <a:spcAft>
              <a:spcPct val="35000"/>
            </a:spcAft>
            <a:buNone/>
            <a:defRPr sz="700"/>
          </a:pPr>
          <a:r>
            <a:rPr sz="800" kern="1200" dirty="0"/>
            <a:t>- </a:t>
          </a:r>
          <a:r>
            <a:rPr sz="800" b="1" kern="1200" dirty="0" err="1"/>
            <a:t>Trafik</a:t>
          </a:r>
          <a:r>
            <a:rPr sz="800" b="1" kern="1200" dirty="0"/>
            <a:t> </a:t>
          </a:r>
          <a:r>
            <a:rPr sz="800" b="1" kern="1200" dirty="0" err="1"/>
            <a:t>sıkışıklığının</a:t>
          </a:r>
          <a:r>
            <a:rPr sz="800" b="1" kern="1200" dirty="0"/>
            <a:t> </a:t>
          </a:r>
          <a:r>
            <a:rPr sz="800" b="1" kern="1200" dirty="0" err="1"/>
            <a:t>azaltılması</a:t>
          </a:r>
          <a:r>
            <a:rPr sz="800" b="1" kern="1200" dirty="0"/>
            <a:t>: </a:t>
          </a:r>
          <a:r>
            <a:rPr sz="800" kern="1200" dirty="0"/>
            <a:t>Ulaşım </a:t>
          </a:r>
          <a:r>
            <a:rPr sz="800" kern="1200" dirty="0" err="1"/>
            <a:t>planlama</a:t>
          </a:r>
          <a:r>
            <a:rPr sz="800" kern="1200" dirty="0"/>
            <a:t> </a:t>
          </a:r>
          <a:r>
            <a:rPr sz="800" kern="1200" dirty="0" err="1"/>
            <a:t>önlemleri</a:t>
          </a:r>
          <a:r>
            <a:rPr sz="800" kern="1200" dirty="0"/>
            <a:t> </a:t>
          </a:r>
          <a:r>
            <a:rPr sz="800" kern="1200" dirty="0" err="1"/>
            <a:t>Ankara'daki</a:t>
          </a:r>
          <a:r>
            <a:rPr sz="800" kern="1200" dirty="0"/>
            <a:t> </a:t>
          </a:r>
          <a:r>
            <a:rPr sz="800" kern="1200" dirty="0" err="1"/>
            <a:t>trafik</a:t>
          </a:r>
          <a:r>
            <a:rPr sz="800" kern="1200" dirty="0"/>
            <a:t> </a:t>
          </a:r>
          <a:r>
            <a:rPr sz="800" kern="1200" dirty="0" err="1"/>
            <a:t>sıkışıklığının</a:t>
          </a:r>
          <a:r>
            <a:rPr sz="800" kern="1200" dirty="0"/>
            <a:t> </a:t>
          </a:r>
          <a:r>
            <a:rPr sz="800" kern="1200" dirty="0" err="1"/>
            <a:t>azaltılmasına</a:t>
          </a:r>
          <a:r>
            <a:rPr sz="800" kern="1200" dirty="0"/>
            <a:t> </a:t>
          </a:r>
          <a:r>
            <a:rPr sz="800" kern="1200" dirty="0" err="1"/>
            <a:t>yardımcı</a:t>
          </a:r>
          <a:r>
            <a:rPr sz="800" kern="1200" dirty="0"/>
            <a:t> </a:t>
          </a:r>
          <a:r>
            <a:rPr sz="800" kern="1200" dirty="0" err="1"/>
            <a:t>olabilir</a:t>
          </a:r>
          <a:r>
            <a:rPr sz="800" kern="1200" dirty="0"/>
            <a:t>. </a:t>
          </a:r>
          <a:r>
            <a:rPr sz="800" kern="1200" dirty="0" err="1"/>
            <a:t>Örneğin</a:t>
          </a:r>
          <a:r>
            <a:rPr sz="800" kern="1200" dirty="0"/>
            <a:t>, </a:t>
          </a:r>
          <a:r>
            <a:rPr sz="800" kern="1200" dirty="0" err="1"/>
            <a:t>bir</a:t>
          </a:r>
          <a:r>
            <a:rPr sz="800" kern="1200" dirty="0"/>
            <a:t> </a:t>
          </a:r>
          <a:r>
            <a:rPr sz="800" kern="1200" dirty="0" err="1"/>
            <a:t>otobüs</a:t>
          </a:r>
          <a:r>
            <a:rPr sz="800" kern="1200" dirty="0"/>
            <a:t> </a:t>
          </a:r>
          <a:r>
            <a:rPr sz="800" kern="1200" dirty="0" err="1"/>
            <a:t>hızlı</a:t>
          </a:r>
          <a:r>
            <a:rPr sz="800" kern="1200" dirty="0"/>
            <a:t> transit (BRT) </a:t>
          </a:r>
          <a:r>
            <a:rPr sz="800" kern="1200" dirty="0" err="1"/>
            <a:t>sistemi</a:t>
          </a:r>
          <a:r>
            <a:rPr sz="800" kern="1200" dirty="0"/>
            <a:t> </a:t>
          </a:r>
          <a:r>
            <a:rPr sz="800" kern="1200" dirty="0" err="1"/>
            <a:t>uygulamak</a:t>
          </a:r>
          <a:r>
            <a:rPr sz="800" kern="1200" dirty="0"/>
            <a:t> </a:t>
          </a:r>
          <a:r>
            <a:rPr sz="800" kern="1200" dirty="0" err="1"/>
            <a:t>veya</a:t>
          </a:r>
          <a:r>
            <a:rPr sz="800" kern="1200" dirty="0"/>
            <a:t> </a:t>
          </a:r>
          <a:r>
            <a:rPr sz="800" kern="1200" dirty="0" err="1"/>
            <a:t>bisiklet</a:t>
          </a:r>
          <a:r>
            <a:rPr sz="800" kern="1200" dirty="0"/>
            <a:t> </a:t>
          </a:r>
          <a:r>
            <a:rPr sz="800" kern="1200" dirty="0" err="1"/>
            <a:t>şeritlerinin</a:t>
          </a:r>
          <a:r>
            <a:rPr sz="800" kern="1200" dirty="0"/>
            <a:t> </a:t>
          </a:r>
          <a:r>
            <a:rPr sz="800" kern="1200" dirty="0" err="1"/>
            <a:t>sayısını</a:t>
          </a:r>
          <a:r>
            <a:rPr sz="800" kern="1200" dirty="0"/>
            <a:t> </a:t>
          </a:r>
          <a:r>
            <a:rPr sz="800" kern="1200" dirty="0" err="1"/>
            <a:t>artırmak</a:t>
          </a:r>
          <a:r>
            <a:rPr sz="800" kern="1200" dirty="0"/>
            <a:t>, </a:t>
          </a:r>
          <a:r>
            <a:rPr sz="800" kern="1200" dirty="0" err="1"/>
            <a:t>daha</a:t>
          </a:r>
          <a:r>
            <a:rPr sz="800" kern="1200" dirty="0"/>
            <a:t> </a:t>
          </a:r>
          <a:r>
            <a:rPr sz="800" kern="1200" dirty="0" err="1"/>
            <a:t>fazla</a:t>
          </a:r>
          <a:r>
            <a:rPr sz="800" kern="1200" dirty="0"/>
            <a:t> </a:t>
          </a:r>
          <a:r>
            <a:rPr sz="800" kern="1200" dirty="0" err="1"/>
            <a:t>insanı</a:t>
          </a:r>
          <a:r>
            <a:rPr sz="800" kern="1200" dirty="0"/>
            <a:t> </a:t>
          </a:r>
          <a:r>
            <a:rPr sz="800" kern="1200" dirty="0" err="1"/>
            <a:t>toplu</a:t>
          </a:r>
          <a:r>
            <a:rPr sz="800" kern="1200" dirty="0"/>
            <a:t> </a:t>
          </a:r>
          <a:r>
            <a:rPr sz="800" kern="1200" dirty="0" err="1"/>
            <a:t>taşıma</a:t>
          </a:r>
          <a:r>
            <a:rPr sz="800" kern="1200" dirty="0"/>
            <a:t> </a:t>
          </a:r>
          <a:r>
            <a:rPr sz="800" kern="1200" dirty="0" err="1"/>
            <a:t>veya</a:t>
          </a:r>
          <a:r>
            <a:rPr sz="800" kern="1200" dirty="0"/>
            <a:t> </a:t>
          </a:r>
          <a:r>
            <a:rPr sz="800" kern="1200" dirty="0" err="1"/>
            <a:t>bisiklet</a:t>
          </a:r>
          <a:r>
            <a:rPr sz="800" kern="1200" dirty="0"/>
            <a:t> </a:t>
          </a:r>
          <a:r>
            <a:rPr sz="800" kern="1200" dirty="0" err="1"/>
            <a:t>kullanmaya</a:t>
          </a:r>
          <a:r>
            <a:rPr sz="800" kern="1200" dirty="0"/>
            <a:t> </a:t>
          </a:r>
          <a:r>
            <a:rPr sz="800" kern="1200" dirty="0" err="1"/>
            <a:t>teşvik</a:t>
          </a:r>
          <a:r>
            <a:rPr sz="800" kern="1200" dirty="0"/>
            <a:t> </a:t>
          </a:r>
          <a:r>
            <a:rPr sz="800" kern="1200" dirty="0" err="1"/>
            <a:t>edebilir</a:t>
          </a:r>
          <a:r>
            <a:rPr sz="800" kern="1200" dirty="0"/>
            <a:t> </a:t>
          </a:r>
          <a:r>
            <a:rPr sz="800" kern="1200" dirty="0" err="1"/>
            <a:t>ve</a:t>
          </a:r>
          <a:r>
            <a:rPr sz="800" kern="1200" dirty="0"/>
            <a:t> </a:t>
          </a:r>
          <a:r>
            <a:rPr sz="800" kern="1200" dirty="0" err="1"/>
            <a:t>bu</a:t>
          </a:r>
          <a:r>
            <a:rPr sz="800" kern="1200" dirty="0"/>
            <a:t> da </a:t>
          </a:r>
          <a:r>
            <a:rPr sz="800" kern="1200" dirty="0" err="1"/>
            <a:t>yoldaki</a:t>
          </a:r>
          <a:r>
            <a:rPr sz="800" kern="1200" dirty="0"/>
            <a:t> araba </a:t>
          </a:r>
          <a:r>
            <a:rPr sz="800" kern="1200" dirty="0" err="1"/>
            <a:t>sayısını</a:t>
          </a:r>
          <a:r>
            <a:rPr sz="800" kern="1200" dirty="0"/>
            <a:t> </a:t>
          </a:r>
          <a:r>
            <a:rPr sz="800" kern="1200" dirty="0" err="1"/>
            <a:t>azaltmaya</a:t>
          </a:r>
          <a:r>
            <a:rPr sz="800" kern="1200" dirty="0"/>
            <a:t> </a:t>
          </a:r>
          <a:r>
            <a:rPr sz="800" kern="1200" dirty="0" err="1"/>
            <a:t>yardımcı</a:t>
          </a:r>
          <a:r>
            <a:rPr sz="800" kern="1200" dirty="0"/>
            <a:t> </a:t>
          </a:r>
          <a:r>
            <a:rPr sz="800" kern="1200" dirty="0" err="1"/>
            <a:t>olabilir</a:t>
          </a:r>
          <a:r>
            <a:rPr sz="800" kern="1200" dirty="0"/>
            <a:t>.</a:t>
          </a:r>
        </a:p>
        <a:p>
          <a:pPr marL="0" lvl="0" indent="0" algn="just" defTabSz="355600">
            <a:lnSpc>
              <a:spcPct val="90000"/>
            </a:lnSpc>
            <a:spcBef>
              <a:spcPct val="0"/>
            </a:spcBef>
            <a:spcAft>
              <a:spcPct val="35000"/>
            </a:spcAft>
            <a:buNone/>
            <a:defRPr sz="700"/>
          </a:pPr>
          <a:r>
            <a:rPr sz="800" kern="1200" dirty="0"/>
            <a:t>-   </a:t>
          </a:r>
          <a:r>
            <a:rPr sz="800" b="1" kern="1200" dirty="0" err="1"/>
            <a:t>Geliştirilmiş</a:t>
          </a:r>
          <a:r>
            <a:rPr sz="800" b="1" kern="1200" dirty="0"/>
            <a:t> </a:t>
          </a:r>
          <a:r>
            <a:rPr sz="800" b="1" kern="1200" dirty="0" err="1"/>
            <a:t>hava</a:t>
          </a:r>
          <a:r>
            <a:rPr sz="800" b="1" kern="1200" dirty="0"/>
            <a:t> </a:t>
          </a:r>
          <a:r>
            <a:rPr sz="800" b="1" kern="1200" dirty="0" err="1"/>
            <a:t>kalitesi</a:t>
          </a:r>
          <a:r>
            <a:rPr sz="800" b="1" kern="1200" dirty="0"/>
            <a:t>: </a:t>
          </a:r>
          <a:r>
            <a:rPr sz="800" kern="1200" dirty="0" err="1"/>
            <a:t>Trafik</a:t>
          </a:r>
          <a:r>
            <a:rPr sz="800" kern="1200" dirty="0"/>
            <a:t> </a:t>
          </a:r>
          <a:r>
            <a:rPr sz="800" kern="1200" dirty="0" err="1"/>
            <a:t>sıkışıklığı</a:t>
          </a:r>
          <a:r>
            <a:rPr sz="800" kern="1200" dirty="0"/>
            <a:t> </a:t>
          </a:r>
          <a:r>
            <a:rPr sz="800" kern="1200" dirty="0" err="1"/>
            <a:t>ve</a:t>
          </a:r>
          <a:r>
            <a:rPr sz="800" kern="1200" dirty="0"/>
            <a:t> araba </a:t>
          </a:r>
          <a:r>
            <a:rPr sz="800" kern="1200" dirty="0" err="1"/>
            <a:t>kullanımı</a:t>
          </a:r>
          <a:r>
            <a:rPr sz="800" kern="1200" dirty="0"/>
            <a:t>, </a:t>
          </a:r>
          <a:r>
            <a:rPr sz="800" kern="1200" dirty="0" err="1"/>
            <a:t>şehirlerdeki</a:t>
          </a:r>
          <a:r>
            <a:rPr sz="800" kern="1200" dirty="0"/>
            <a:t> </a:t>
          </a:r>
          <a:r>
            <a:rPr sz="800" kern="1200" dirty="0" err="1"/>
            <a:t>hava</a:t>
          </a:r>
          <a:r>
            <a:rPr sz="800" kern="1200" dirty="0"/>
            <a:t> </a:t>
          </a:r>
          <a:r>
            <a:rPr sz="800" kern="1200" dirty="0" err="1"/>
            <a:t>kirliliğine</a:t>
          </a:r>
          <a:r>
            <a:rPr sz="800" kern="1200" dirty="0"/>
            <a:t> </a:t>
          </a:r>
          <a:r>
            <a:rPr sz="800" kern="1200" dirty="0" err="1"/>
            <a:t>büyük</a:t>
          </a:r>
          <a:r>
            <a:rPr sz="800" kern="1200" dirty="0"/>
            <a:t> </a:t>
          </a:r>
          <a:r>
            <a:rPr sz="800" kern="1200" dirty="0" err="1"/>
            <a:t>katkıda</a:t>
          </a:r>
          <a:r>
            <a:rPr sz="800" kern="1200" dirty="0"/>
            <a:t> </a:t>
          </a:r>
          <a:r>
            <a:rPr sz="800" kern="1200" dirty="0" err="1"/>
            <a:t>bulunuyor</a:t>
          </a:r>
          <a:r>
            <a:rPr sz="800" kern="1200" dirty="0"/>
            <a:t>. </a:t>
          </a:r>
          <a:r>
            <a:rPr sz="800" kern="1200" dirty="0" err="1"/>
            <a:t>Araç</a:t>
          </a:r>
          <a:r>
            <a:rPr sz="800" kern="1200" dirty="0"/>
            <a:t> </a:t>
          </a:r>
          <a:r>
            <a:rPr sz="800" kern="1200" dirty="0" err="1"/>
            <a:t>kullanımını</a:t>
          </a:r>
          <a:r>
            <a:rPr sz="800" kern="1200" dirty="0"/>
            <a:t> </a:t>
          </a:r>
          <a:r>
            <a:rPr sz="800" kern="1200" dirty="0" err="1"/>
            <a:t>azaltan</a:t>
          </a:r>
          <a:r>
            <a:rPr sz="800" kern="1200" dirty="0"/>
            <a:t> </a:t>
          </a:r>
          <a:r>
            <a:rPr sz="800" kern="1200" dirty="0" err="1"/>
            <a:t>ulaşım</a:t>
          </a:r>
          <a:r>
            <a:rPr sz="800" kern="1200" dirty="0"/>
            <a:t> </a:t>
          </a:r>
          <a:r>
            <a:rPr sz="800" kern="1200" dirty="0" err="1"/>
            <a:t>planlama</a:t>
          </a:r>
          <a:r>
            <a:rPr sz="800" kern="1200" dirty="0"/>
            <a:t> </a:t>
          </a:r>
          <a:r>
            <a:rPr sz="800" kern="1200" dirty="0" err="1"/>
            <a:t>önlemlerinin</a:t>
          </a:r>
          <a:r>
            <a:rPr sz="800" kern="1200" dirty="0"/>
            <a:t> </a:t>
          </a:r>
          <a:r>
            <a:rPr sz="800" kern="1200" dirty="0" err="1"/>
            <a:t>uygulanması</a:t>
          </a:r>
          <a:r>
            <a:rPr sz="800" kern="1200" dirty="0"/>
            <a:t>, </a:t>
          </a:r>
          <a:r>
            <a:rPr sz="800" kern="1200" dirty="0" err="1"/>
            <a:t>hava</a:t>
          </a:r>
          <a:r>
            <a:rPr sz="800" kern="1200" dirty="0"/>
            <a:t> </a:t>
          </a:r>
          <a:r>
            <a:rPr sz="800" kern="1200" dirty="0" err="1"/>
            <a:t>kalitesini</a:t>
          </a:r>
          <a:r>
            <a:rPr sz="800" kern="1200" dirty="0"/>
            <a:t> </a:t>
          </a:r>
          <a:r>
            <a:rPr sz="800" kern="1200" dirty="0" err="1"/>
            <a:t>artırabilir</a:t>
          </a:r>
          <a:r>
            <a:rPr sz="800" kern="1200" dirty="0"/>
            <a:t> </a:t>
          </a:r>
          <a:r>
            <a:rPr sz="800" kern="1200" dirty="0" err="1"/>
            <a:t>ve</a:t>
          </a:r>
          <a:r>
            <a:rPr sz="800" kern="1200" dirty="0"/>
            <a:t> </a:t>
          </a:r>
          <a:r>
            <a:rPr sz="800" kern="1200" dirty="0" err="1"/>
            <a:t>bu</a:t>
          </a:r>
          <a:r>
            <a:rPr sz="800" kern="1200" dirty="0"/>
            <a:t> da </a:t>
          </a:r>
          <a:r>
            <a:rPr sz="800" kern="1200" dirty="0" err="1"/>
            <a:t>halk</a:t>
          </a:r>
          <a:r>
            <a:rPr sz="800" kern="1200" dirty="0"/>
            <a:t> </a:t>
          </a:r>
          <a:r>
            <a:rPr sz="800" kern="1200" dirty="0" err="1"/>
            <a:t>sağlığı</a:t>
          </a:r>
          <a:r>
            <a:rPr sz="800" kern="1200" dirty="0"/>
            <a:t> </a:t>
          </a:r>
          <a:r>
            <a:rPr sz="800" kern="1200" dirty="0" err="1"/>
            <a:t>üzerinde</a:t>
          </a:r>
          <a:r>
            <a:rPr sz="800" kern="1200" dirty="0"/>
            <a:t> </a:t>
          </a:r>
          <a:r>
            <a:rPr sz="800" kern="1200" dirty="0" err="1"/>
            <a:t>olumlu</a:t>
          </a:r>
          <a:r>
            <a:rPr sz="800" kern="1200" dirty="0"/>
            <a:t> </a:t>
          </a:r>
          <a:r>
            <a:rPr sz="800" kern="1200" dirty="0" err="1"/>
            <a:t>bir</a:t>
          </a:r>
          <a:r>
            <a:rPr sz="800" kern="1200" dirty="0"/>
            <a:t> </a:t>
          </a:r>
          <a:r>
            <a:rPr sz="800" kern="1200" dirty="0" err="1"/>
            <a:t>etki</a:t>
          </a:r>
          <a:r>
            <a:rPr sz="800" kern="1200" dirty="0"/>
            <a:t> </a:t>
          </a:r>
          <a:r>
            <a:rPr sz="800" kern="1200" dirty="0" err="1"/>
            <a:t>yaratabilir</a:t>
          </a:r>
          <a:r>
            <a:rPr sz="800" kern="1200" dirty="0"/>
            <a:t>.</a:t>
          </a:r>
        </a:p>
        <a:p>
          <a:pPr marL="0" lvl="0" indent="0" algn="just" defTabSz="355600">
            <a:lnSpc>
              <a:spcPct val="90000"/>
            </a:lnSpc>
            <a:spcBef>
              <a:spcPct val="0"/>
            </a:spcBef>
            <a:spcAft>
              <a:spcPct val="35000"/>
            </a:spcAft>
            <a:buNone/>
            <a:defRPr sz="700"/>
          </a:pPr>
          <a:r>
            <a:rPr sz="800" b="1" kern="1200" dirty="0" err="1"/>
            <a:t>Artan</a:t>
          </a:r>
          <a:r>
            <a:rPr sz="800" b="1" kern="1200" dirty="0"/>
            <a:t> </a:t>
          </a:r>
          <a:r>
            <a:rPr sz="800" b="1" kern="1200" dirty="0" err="1"/>
            <a:t>erişilebilirlik</a:t>
          </a:r>
          <a:r>
            <a:rPr sz="800" b="1" kern="1200" dirty="0"/>
            <a:t>: </a:t>
          </a:r>
          <a:r>
            <a:rPr sz="800" kern="1200" dirty="0"/>
            <a:t>Ulaşım </a:t>
          </a:r>
          <a:r>
            <a:rPr sz="800" kern="1200" dirty="0" err="1"/>
            <a:t>planlama</a:t>
          </a:r>
          <a:r>
            <a:rPr sz="800" kern="1200" dirty="0"/>
            <a:t> </a:t>
          </a:r>
          <a:r>
            <a:rPr sz="800" kern="1200" dirty="0" err="1"/>
            <a:t>önlemleri</a:t>
          </a:r>
          <a:r>
            <a:rPr sz="800" kern="1200" dirty="0"/>
            <a:t>, </a:t>
          </a:r>
          <a:r>
            <a:rPr sz="800" kern="1200" dirty="0" err="1"/>
            <a:t>engelliler</a:t>
          </a:r>
          <a:r>
            <a:rPr sz="800" kern="1200" dirty="0"/>
            <a:t> </a:t>
          </a:r>
          <a:r>
            <a:rPr sz="800" kern="1200" dirty="0" err="1"/>
            <a:t>veya</a:t>
          </a:r>
          <a:r>
            <a:rPr sz="800" kern="1200" dirty="0"/>
            <a:t> </a:t>
          </a:r>
          <a:r>
            <a:rPr sz="800" kern="1200" dirty="0" err="1"/>
            <a:t>toplu</a:t>
          </a:r>
          <a:r>
            <a:rPr sz="800" kern="1200" dirty="0"/>
            <a:t> </a:t>
          </a:r>
          <a:r>
            <a:rPr sz="800" kern="1200" dirty="0" err="1"/>
            <a:t>taşıma</a:t>
          </a:r>
          <a:r>
            <a:rPr sz="800" kern="1200" dirty="0"/>
            <a:t> </a:t>
          </a:r>
          <a:r>
            <a:rPr sz="800" kern="1200" dirty="0" err="1"/>
            <a:t>araçlarına</a:t>
          </a:r>
          <a:r>
            <a:rPr sz="800" kern="1200" dirty="0"/>
            <a:t> </a:t>
          </a:r>
          <a:r>
            <a:rPr sz="800" kern="1200" dirty="0" err="1"/>
            <a:t>güvenenler</a:t>
          </a:r>
          <a:r>
            <a:rPr sz="800" kern="1200" dirty="0"/>
            <a:t> </a:t>
          </a:r>
          <a:r>
            <a:rPr sz="800" kern="1200" dirty="0" err="1"/>
            <a:t>için</a:t>
          </a:r>
          <a:r>
            <a:rPr sz="800" kern="1200" dirty="0"/>
            <a:t> </a:t>
          </a:r>
          <a:r>
            <a:rPr sz="800" kern="1200" dirty="0" err="1"/>
            <a:t>erişilebilirliği</a:t>
          </a:r>
          <a:r>
            <a:rPr sz="800" kern="1200" dirty="0"/>
            <a:t> de </a:t>
          </a:r>
          <a:r>
            <a:rPr sz="800" kern="1200" dirty="0" err="1"/>
            <a:t>artırabilir</a:t>
          </a:r>
          <a:r>
            <a:rPr sz="800" kern="1200" dirty="0"/>
            <a:t>. </a:t>
          </a:r>
          <a:r>
            <a:rPr sz="800" kern="1200" dirty="0" err="1"/>
            <a:t>Örneğin</a:t>
          </a:r>
          <a:r>
            <a:rPr sz="800" kern="1200" dirty="0"/>
            <a:t>, </a:t>
          </a:r>
          <a:r>
            <a:rPr sz="800" kern="1200" dirty="0" err="1"/>
            <a:t>otobüslere</a:t>
          </a:r>
          <a:r>
            <a:rPr sz="800" kern="1200" dirty="0"/>
            <a:t> </a:t>
          </a:r>
          <a:r>
            <a:rPr sz="800" kern="1200" dirty="0" err="1"/>
            <a:t>tekerlekli</a:t>
          </a:r>
          <a:r>
            <a:rPr sz="800" kern="1200" dirty="0"/>
            <a:t> </a:t>
          </a:r>
          <a:r>
            <a:rPr sz="800" kern="1200" dirty="0" err="1"/>
            <a:t>sandalye</a:t>
          </a:r>
          <a:r>
            <a:rPr sz="800" kern="1200" dirty="0"/>
            <a:t> </a:t>
          </a:r>
          <a:r>
            <a:rPr sz="800" kern="1200" dirty="0" err="1"/>
            <a:t>rampaları</a:t>
          </a:r>
          <a:r>
            <a:rPr sz="800" kern="1200" dirty="0"/>
            <a:t> </a:t>
          </a:r>
          <a:r>
            <a:rPr sz="800" kern="1200" dirty="0" err="1"/>
            <a:t>kurmak</a:t>
          </a:r>
          <a:r>
            <a:rPr sz="800" kern="1200" dirty="0"/>
            <a:t> </a:t>
          </a:r>
          <a:r>
            <a:rPr sz="800" kern="1200" dirty="0" err="1"/>
            <a:t>veya</a:t>
          </a:r>
          <a:r>
            <a:rPr sz="800" kern="1200" dirty="0"/>
            <a:t> </a:t>
          </a:r>
          <a:r>
            <a:rPr sz="800" kern="1200" dirty="0" err="1"/>
            <a:t>şu</a:t>
          </a:r>
          <a:r>
            <a:rPr sz="800" kern="1200" dirty="0"/>
            <a:t> </a:t>
          </a:r>
          <a:r>
            <a:rPr sz="800" kern="1200" dirty="0" err="1"/>
            <a:t>anda</a:t>
          </a:r>
          <a:r>
            <a:rPr sz="800" kern="1200" dirty="0"/>
            <a:t> </a:t>
          </a:r>
          <a:r>
            <a:rPr sz="800" kern="1200" dirty="0" err="1"/>
            <a:t>toplu</a:t>
          </a:r>
          <a:r>
            <a:rPr sz="800" kern="1200" dirty="0"/>
            <a:t> </a:t>
          </a:r>
          <a:r>
            <a:rPr sz="800" kern="1200" dirty="0" err="1"/>
            <a:t>taşıma</a:t>
          </a:r>
          <a:r>
            <a:rPr sz="800" kern="1200" dirty="0"/>
            <a:t> </a:t>
          </a:r>
          <a:r>
            <a:rPr sz="800" kern="1200" dirty="0" err="1"/>
            <a:t>araçlarının</a:t>
          </a:r>
          <a:r>
            <a:rPr sz="800" kern="1200" dirty="0"/>
            <a:t> </a:t>
          </a:r>
          <a:r>
            <a:rPr sz="800" kern="1200" dirty="0" err="1"/>
            <a:t>yetersiz</a:t>
          </a:r>
          <a:r>
            <a:rPr sz="800" kern="1200" dirty="0"/>
            <a:t> </a:t>
          </a:r>
          <a:r>
            <a:rPr sz="800" kern="1200" dirty="0" err="1"/>
            <a:t>hizmet</a:t>
          </a:r>
          <a:r>
            <a:rPr sz="800" kern="1200" dirty="0"/>
            <a:t> </a:t>
          </a:r>
          <a:r>
            <a:rPr sz="800" kern="1200" dirty="0" err="1"/>
            <a:t>verdiği</a:t>
          </a:r>
          <a:r>
            <a:rPr sz="800" kern="1200" dirty="0"/>
            <a:t> </a:t>
          </a:r>
          <a:r>
            <a:rPr sz="800" kern="1200" dirty="0" err="1"/>
            <a:t>alanlarda</a:t>
          </a:r>
          <a:r>
            <a:rPr sz="800" kern="1200" dirty="0"/>
            <a:t> yeni metro </a:t>
          </a:r>
          <a:r>
            <a:rPr sz="800" kern="1200" dirty="0" err="1"/>
            <a:t>istasyonları</a:t>
          </a:r>
          <a:r>
            <a:rPr sz="800" kern="1200" dirty="0"/>
            <a:t> </a:t>
          </a:r>
          <a:r>
            <a:rPr sz="800" kern="1200" dirty="0" err="1"/>
            <a:t>inşa</a:t>
          </a:r>
          <a:r>
            <a:rPr sz="800" kern="1200" dirty="0"/>
            <a:t> </a:t>
          </a:r>
          <a:r>
            <a:rPr sz="800" kern="1200" dirty="0" err="1"/>
            <a:t>etmek</a:t>
          </a:r>
          <a:r>
            <a:rPr sz="800" kern="1200" dirty="0"/>
            <a:t> </a:t>
          </a:r>
          <a:r>
            <a:rPr sz="800" kern="1200" dirty="0" err="1"/>
            <a:t>erişilebilirliği</a:t>
          </a:r>
          <a:r>
            <a:rPr sz="800" kern="1200" dirty="0"/>
            <a:t> </a:t>
          </a:r>
          <a:r>
            <a:rPr sz="800" kern="1200" dirty="0" err="1"/>
            <a:t>artırmaya</a:t>
          </a:r>
          <a:r>
            <a:rPr sz="800" kern="1200" dirty="0"/>
            <a:t> </a:t>
          </a:r>
          <a:r>
            <a:rPr sz="800" kern="1200" dirty="0" err="1"/>
            <a:t>yardımcı</a:t>
          </a:r>
          <a:r>
            <a:rPr sz="800" kern="1200" dirty="0"/>
            <a:t> </a:t>
          </a:r>
          <a:r>
            <a:rPr sz="800" kern="1200" dirty="0" err="1"/>
            <a:t>olabilir</a:t>
          </a:r>
          <a:r>
            <a:rPr sz="800" kern="1200" dirty="0"/>
            <a:t>.</a:t>
          </a:r>
        </a:p>
        <a:p>
          <a:pPr marL="0" lvl="0" indent="0" algn="just" defTabSz="355600">
            <a:lnSpc>
              <a:spcPct val="90000"/>
            </a:lnSpc>
            <a:spcBef>
              <a:spcPct val="0"/>
            </a:spcBef>
            <a:spcAft>
              <a:spcPct val="35000"/>
            </a:spcAft>
            <a:buNone/>
            <a:defRPr sz="700"/>
          </a:pPr>
          <a:r>
            <a:rPr sz="800" kern="1200" dirty="0"/>
            <a:t>-   </a:t>
          </a:r>
          <a:r>
            <a:rPr sz="800" b="1" kern="1200" dirty="0" err="1"/>
            <a:t>Gelişmiş</a:t>
          </a:r>
          <a:r>
            <a:rPr sz="800" b="1" kern="1200" dirty="0"/>
            <a:t> </a:t>
          </a:r>
          <a:r>
            <a:rPr sz="800" b="1" kern="1200" dirty="0" err="1"/>
            <a:t>kentsel</a:t>
          </a:r>
          <a:r>
            <a:rPr sz="800" b="1" kern="1200" dirty="0"/>
            <a:t> </a:t>
          </a:r>
          <a:r>
            <a:rPr sz="800" b="1" kern="1200" dirty="0" err="1"/>
            <a:t>alanlar</a:t>
          </a:r>
          <a:r>
            <a:rPr sz="800" b="1" kern="1200" dirty="0"/>
            <a:t>: </a:t>
          </a:r>
          <a:r>
            <a:rPr sz="800" kern="1200" dirty="0"/>
            <a:t>Ulaşım </a:t>
          </a:r>
          <a:r>
            <a:rPr sz="800" kern="1200" dirty="0" err="1"/>
            <a:t>planlama</a:t>
          </a:r>
          <a:r>
            <a:rPr sz="800" kern="1200" dirty="0"/>
            <a:t> </a:t>
          </a:r>
          <a:r>
            <a:rPr sz="800" kern="1200" dirty="0" err="1"/>
            <a:t>önlemleri</a:t>
          </a:r>
          <a:r>
            <a:rPr sz="800" kern="1200" dirty="0"/>
            <a:t> </a:t>
          </a:r>
          <a:r>
            <a:rPr sz="800" kern="1200" dirty="0" err="1"/>
            <a:t>Ankara'daki</a:t>
          </a:r>
          <a:r>
            <a:rPr sz="800" kern="1200" dirty="0"/>
            <a:t> </a:t>
          </a:r>
          <a:r>
            <a:rPr sz="800" kern="1200" dirty="0" err="1"/>
            <a:t>kentsel</a:t>
          </a:r>
          <a:r>
            <a:rPr sz="800" kern="1200" dirty="0"/>
            <a:t> </a:t>
          </a:r>
          <a:r>
            <a:rPr sz="800" kern="1200" dirty="0" err="1"/>
            <a:t>alanları</a:t>
          </a:r>
          <a:r>
            <a:rPr sz="800" kern="1200" dirty="0"/>
            <a:t> da </a:t>
          </a:r>
          <a:r>
            <a:rPr sz="800" kern="1200" dirty="0" err="1"/>
            <a:t>artırabilir</a:t>
          </a:r>
          <a:r>
            <a:rPr sz="800" kern="1200" dirty="0"/>
            <a:t>. </a:t>
          </a:r>
          <a:r>
            <a:rPr sz="800" kern="1200" dirty="0" err="1"/>
            <a:t>Örneğin</a:t>
          </a:r>
          <a:r>
            <a:rPr sz="800" kern="1200" dirty="0"/>
            <a:t>, </a:t>
          </a:r>
          <a:r>
            <a:rPr sz="800" kern="1200" dirty="0" err="1"/>
            <a:t>otoparkları</a:t>
          </a:r>
          <a:r>
            <a:rPr sz="800" kern="1200" dirty="0"/>
            <a:t> </a:t>
          </a:r>
          <a:r>
            <a:rPr sz="800" kern="1200" dirty="0" err="1"/>
            <a:t>halka</a:t>
          </a:r>
          <a:r>
            <a:rPr sz="800" kern="1200" dirty="0"/>
            <a:t> </a:t>
          </a:r>
          <a:r>
            <a:rPr sz="800" kern="1200" dirty="0" err="1"/>
            <a:t>açık</a:t>
          </a:r>
          <a:r>
            <a:rPr sz="800" kern="1200" dirty="0"/>
            <a:t> </a:t>
          </a:r>
          <a:r>
            <a:rPr sz="800" kern="1200" dirty="0" err="1"/>
            <a:t>parklara</a:t>
          </a:r>
          <a:r>
            <a:rPr sz="800" kern="1200" dirty="0"/>
            <a:t> </a:t>
          </a:r>
          <a:r>
            <a:rPr sz="800" kern="1200" dirty="0" err="1"/>
            <a:t>dönüştürmek</a:t>
          </a:r>
          <a:r>
            <a:rPr sz="800" kern="1200" dirty="0"/>
            <a:t> </a:t>
          </a:r>
          <a:r>
            <a:rPr sz="800" kern="1200" dirty="0" err="1"/>
            <a:t>veya</a:t>
          </a:r>
          <a:r>
            <a:rPr sz="800" kern="1200" dirty="0"/>
            <a:t> </a:t>
          </a:r>
          <a:r>
            <a:rPr sz="800" kern="1200" dirty="0" err="1"/>
            <a:t>caddeleri</a:t>
          </a:r>
          <a:r>
            <a:rPr sz="800" kern="1200" dirty="0"/>
            <a:t> </a:t>
          </a:r>
          <a:r>
            <a:rPr sz="800" kern="1200" dirty="0" err="1"/>
            <a:t>yayalaştırmak</a:t>
          </a:r>
          <a:r>
            <a:rPr sz="800" kern="1200" dirty="0"/>
            <a:t> </a:t>
          </a:r>
          <a:r>
            <a:rPr sz="800" kern="1200" dirty="0" err="1"/>
            <a:t>daha</a:t>
          </a:r>
          <a:r>
            <a:rPr sz="800" kern="1200" dirty="0"/>
            <a:t> </a:t>
          </a:r>
          <a:r>
            <a:rPr sz="800" kern="1200" dirty="0" err="1"/>
            <a:t>fazla</a:t>
          </a:r>
          <a:r>
            <a:rPr sz="800" kern="1200" dirty="0"/>
            <a:t> </a:t>
          </a:r>
          <a:r>
            <a:rPr sz="800" kern="1200" dirty="0" err="1"/>
            <a:t>yeşil</a:t>
          </a:r>
          <a:r>
            <a:rPr sz="800" kern="1200" dirty="0"/>
            <a:t> </a:t>
          </a:r>
          <a:r>
            <a:rPr sz="800" kern="1200" dirty="0" err="1"/>
            <a:t>alan</a:t>
          </a:r>
          <a:r>
            <a:rPr sz="800" kern="1200" dirty="0"/>
            <a:t> </a:t>
          </a:r>
          <a:r>
            <a:rPr sz="800" kern="1200" dirty="0" err="1"/>
            <a:t>yaratabilir</a:t>
          </a:r>
          <a:r>
            <a:rPr sz="800" kern="1200" dirty="0"/>
            <a:t> </a:t>
          </a:r>
          <a:r>
            <a:rPr sz="800" kern="1200" dirty="0" err="1"/>
            <a:t>ve</a:t>
          </a:r>
          <a:r>
            <a:rPr sz="800" kern="1200" dirty="0"/>
            <a:t> </a:t>
          </a:r>
          <a:r>
            <a:rPr sz="800" kern="1200" dirty="0" err="1"/>
            <a:t>sakinlerin</a:t>
          </a:r>
          <a:r>
            <a:rPr sz="800" kern="1200" dirty="0"/>
            <a:t> </a:t>
          </a:r>
          <a:r>
            <a:rPr sz="800" kern="1200" dirty="0" err="1"/>
            <a:t>yaşam</a:t>
          </a:r>
          <a:r>
            <a:rPr sz="800" kern="1200" dirty="0"/>
            <a:t> </a:t>
          </a:r>
          <a:r>
            <a:rPr sz="800" kern="1200" dirty="0" err="1"/>
            <a:t>kalitesini</a:t>
          </a:r>
          <a:r>
            <a:rPr sz="800" kern="1200" dirty="0"/>
            <a:t> </a:t>
          </a:r>
          <a:r>
            <a:rPr sz="800" kern="1200" dirty="0" err="1"/>
            <a:t>artırabilir</a:t>
          </a:r>
          <a:r>
            <a:rPr sz="800" kern="1200" dirty="0"/>
            <a:t>.</a:t>
          </a:r>
        </a:p>
        <a:p>
          <a:pPr marL="0" lvl="0" indent="0" algn="just" defTabSz="355600">
            <a:lnSpc>
              <a:spcPct val="90000"/>
            </a:lnSpc>
            <a:spcBef>
              <a:spcPct val="0"/>
            </a:spcBef>
            <a:spcAft>
              <a:spcPct val="35000"/>
            </a:spcAft>
            <a:buNone/>
            <a:defRPr sz="700"/>
          </a:pPr>
          <a:r>
            <a:rPr sz="800" kern="1200" dirty="0"/>
            <a:t>-   </a:t>
          </a:r>
          <a:r>
            <a:rPr sz="800" b="1" kern="1200" dirty="0" err="1"/>
            <a:t>Ekonomik</a:t>
          </a:r>
          <a:r>
            <a:rPr sz="800" b="1" kern="1200" dirty="0"/>
            <a:t> </a:t>
          </a:r>
          <a:r>
            <a:rPr sz="800" b="1" kern="1200" dirty="0" err="1"/>
            <a:t>faydalar</a:t>
          </a:r>
          <a:r>
            <a:rPr sz="800" b="1" kern="1200" dirty="0"/>
            <a:t>: </a:t>
          </a:r>
          <a:r>
            <a:rPr sz="800" kern="1200" dirty="0" err="1"/>
            <a:t>Ankara'daki</a:t>
          </a:r>
          <a:r>
            <a:rPr sz="800" kern="1200" dirty="0"/>
            <a:t> </a:t>
          </a:r>
          <a:r>
            <a:rPr sz="800" kern="1200" dirty="0" err="1"/>
            <a:t>ulaşım</a:t>
          </a:r>
          <a:r>
            <a:rPr sz="800" kern="1200" dirty="0"/>
            <a:t> </a:t>
          </a:r>
          <a:r>
            <a:rPr sz="800" kern="1200" dirty="0" err="1"/>
            <a:t>sisteminin</a:t>
          </a:r>
          <a:r>
            <a:rPr sz="800" kern="1200" dirty="0"/>
            <a:t> </a:t>
          </a:r>
          <a:r>
            <a:rPr sz="800" kern="1200" dirty="0" err="1"/>
            <a:t>iyileştirilmesi</a:t>
          </a:r>
          <a:r>
            <a:rPr sz="800" kern="1200" dirty="0"/>
            <a:t>, </a:t>
          </a:r>
          <a:r>
            <a:rPr sz="800" kern="1200" dirty="0" err="1"/>
            <a:t>işletmeler</a:t>
          </a:r>
          <a:r>
            <a:rPr sz="800" kern="1200" dirty="0"/>
            <a:t> </a:t>
          </a:r>
          <a:r>
            <a:rPr sz="800" kern="1200" dirty="0" err="1"/>
            <a:t>için</a:t>
          </a:r>
          <a:r>
            <a:rPr sz="800" kern="1200" dirty="0"/>
            <a:t> </a:t>
          </a:r>
          <a:r>
            <a:rPr sz="800" kern="1200" dirty="0" err="1"/>
            <a:t>ulaşım</a:t>
          </a:r>
          <a:r>
            <a:rPr sz="800" kern="1200" dirty="0"/>
            <a:t> </a:t>
          </a:r>
          <a:r>
            <a:rPr sz="800" kern="1200" dirty="0" err="1"/>
            <a:t>maliyetlerini</a:t>
          </a:r>
          <a:r>
            <a:rPr sz="800" kern="1200" dirty="0"/>
            <a:t> </a:t>
          </a:r>
          <a:r>
            <a:rPr sz="800" kern="1200" dirty="0" err="1"/>
            <a:t>azaltmak</a:t>
          </a:r>
          <a:r>
            <a:rPr sz="800" kern="1200" dirty="0"/>
            <a:t> </a:t>
          </a:r>
          <a:r>
            <a:rPr sz="800" kern="1200" dirty="0" err="1"/>
            <a:t>ve</a:t>
          </a:r>
          <a:r>
            <a:rPr sz="800" kern="1200" dirty="0"/>
            <a:t> </a:t>
          </a:r>
          <a:r>
            <a:rPr sz="800" kern="1200" dirty="0" err="1"/>
            <a:t>şehrin</a:t>
          </a:r>
          <a:r>
            <a:rPr sz="800" kern="1200" dirty="0"/>
            <a:t> </a:t>
          </a:r>
          <a:r>
            <a:rPr sz="800" kern="1200" dirty="0" err="1"/>
            <a:t>turistlere</a:t>
          </a:r>
          <a:r>
            <a:rPr sz="800" kern="1200" dirty="0"/>
            <a:t> </a:t>
          </a:r>
          <a:r>
            <a:rPr sz="800" kern="1200" dirty="0" err="1"/>
            <a:t>ve</a:t>
          </a:r>
          <a:r>
            <a:rPr sz="800" kern="1200" dirty="0"/>
            <a:t> </a:t>
          </a:r>
          <a:r>
            <a:rPr sz="800" kern="1200" dirty="0" err="1"/>
            <a:t>yatırımcılara</a:t>
          </a:r>
          <a:r>
            <a:rPr sz="800" kern="1200" dirty="0"/>
            <a:t> </a:t>
          </a:r>
          <a:r>
            <a:rPr sz="800" kern="1200" dirty="0" err="1"/>
            <a:t>çekiciliğini</a:t>
          </a:r>
          <a:r>
            <a:rPr sz="800" kern="1200" dirty="0"/>
            <a:t> </a:t>
          </a:r>
          <a:r>
            <a:rPr sz="800" kern="1200" dirty="0" err="1"/>
            <a:t>artırmak</a:t>
          </a:r>
          <a:r>
            <a:rPr sz="800" kern="1200" dirty="0"/>
            <a:t> </a:t>
          </a:r>
          <a:r>
            <a:rPr sz="800" kern="1200" dirty="0" err="1"/>
            <a:t>gibi</a:t>
          </a:r>
          <a:r>
            <a:rPr sz="800" kern="1200" dirty="0"/>
            <a:t> </a:t>
          </a:r>
          <a:r>
            <a:rPr sz="800" kern="1200" dirty="0" err="1"/>
            <a:t>ekonomik</a:t>
          </a:r>
          <a:r>
            <a:rPr sz="800" kern="1200" dirty="0"/>
            <a:t> </a:t>
          </a:r>
          <a:r>
            <a:rPr sz="800" kern="1200" dirty="0" err="1"/>
            <a:t>faydalara</a:t>
          </a:r>
          <a:r>
            <a:rPr sz="800" kern="1200" dirty="0"/>
            <a:t> da </a:t>
          </a:r>
          <a:r>
            <a:rPr sz="800" kern="1200" dirty="0" err="1"/>
            <a:t>sahip</a:t>
          </a:r>
          <a:r>
            <a:rPr sz="800" kern="1200" dirty="0"/>
            <a:t> </a:t>
          </a:r>
          <a:r>
            <a:rPr sz="800" kern="1200" dirty="0" err="1"/>
            <a:t>olabilir</a:t>
          </a:r>
          <a:r>
            <a:rPr sz="800" kern="1200" dirty="0"/>
            <a:t>.</a:t>
          </a:r>
        </a:p>
      </dsp:txBody>
      <dsp:txXfrm>
        <a:off x="931079" y="1441513"/>
        <a:ext cx="7796808" cy="1518178"/>
      </dsp:txXfrm>
    </dsp:sp>
    <dsp:sp modelId="{65C35A12-FB85-4893-8BC7-3FFE5DEA74FC}">
      <dsp:nvSpPr>
        <dsp:cNvPr id="0" name=""/>
        <dsp:cNvSpPr/>
      </dsp:nvSpPr>
      <dsp:spPr>
        <a:xfrm>
          <a:off x="380928" y="1650451"/>
          <a:ext cx="1100301" cy="1100301"/>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354EED9C-DC7F-4718-8EB7-6F5D3E9DFAFD}">
      <dsp:nvSpPr>
        <dsp:cNvPr id="0" name=""/>
        <dsp:cNvSpPr/>
      </dsp:nvSpPr>
      <dsp:spPr>
        <a:xfrm>
          <a:off x="611111" y="3080843"/>
          <a:ext cx="8116776" cy="880241"/>
        </a:xfrm>
        <a:prstGeom prst="rect">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98691" tIns="22860" rIns="22860" bIns="22860" numCol="1" spcCol="1270" anchor="ctr" anchorCtr="0">
          <a:noAutofit/>
        </a:bodyPr>
        <a:lstStyle/>
        <a:p>
          <a:pPr marL="0" lvl="0" indent="0" algn="just" defTabSz="400050">
            <a:lnSpc>
              <a:spcPct val="90000"/>
            </a:lnSpc>
            <a:spcBef>
              <a:spcPct val="0"/>
            </a:spcBef>
            <a:spcAft>
              <a:spcPct val="35000"/>
            </a:spcAft>
            <a:buNone/>
            <a:defRPr sz="800"/>
          </a:pPr>
          <a:r>
            <a:rPr sz="900" kern="1200" dirty="0" err="1"/>
            <a:t>Ankara'da</a:t>
          </a:r>
          <a:r>
            <a:rPr sz="900" kern="1200" dirty="0"/>
            <a:t> </a:t>
          </a:r>
          <a:r>
            <a:rPr sz="900" kern="1200" dirty="0" err="1"/>
            <a:t>ulaşım</a:t>
          </a:r>
          <a:r>
            <a:rPr sz="900" kern="1200" dirty="0"/>
            <a:t> </a:t>
          </a:r>
          <a:r>
            <a:rPr sz="900" kern="1200" dirty="0" err="1"/>
            <a:t>planlama</a:t>
          </a:r>
          <a:r>
            <a:rPr sz="900" kern="1200" dirty="0"/>
            <a:t> </a:t>
          </a:r>
          <a:r>
            <a:rPr sz="900" kern="1200" dirty="0" err="1"/>
            <a:t>önlemlerinin</a:t>
          </a:r>
          <a:r>
            <a:rPr sz="900" kern="1200" dirty="0"/>
            <a:t> </a:t>
          </a:r>
          <a:r>
            <a:rPr sz="900" kern="1200" dirty="0" err="1"/>
            <a:t>uygulanması</a:t>
          </a:r>
          <a:r>
            <a:rPr sz="900" kern="1200" dirty="0"/>
            <a:t>, </a:t>
          </a:r>
          <a:r>
            <a:rPr sz="900" kern="1200" dirty="0" err="1"/>
            <a:t>ulaşımı</a:t>
          </a:r>
          <a:r>
            <a:rPr sz="900" kern="1200" dirty="0"/>
            <a:t>, </a:t>
          </a:r>
          <a:r>
            <a:rPr sz="900" kern="1200" dirty="0" err="1"/>
            <a:t>halk</a:t>
          </a:r>
          <a:r>
            <a:rPr sz="900" kern="1200" dirty="0"/>
            <a:t> </a:t>
          </a:r>
          <a:r>
            <a:rPr sz="900" kern="1200" dirty="0" err="1"/>
            <a:t>sağlığını</a:t>
          </a:r>
          <a:r>
            <a:rPr sz="900" kern="1200" dirty="0"/>
            <a:t>, </a:t>
          </a:r>
          <a:r>
            <a:rPr sz="900" kern="1200" dirty="0" err="1"/>
            <a:t>erişilebilirliği</a:t>
          </a:r>
          <a:r>
            <a:rPr sz="900" kern="1200" dirty="0"/>
            <a:t>, </a:t>
          </a:r>
          <a:r>
            <a:rPr sz="900" kern="1200" dirty="0" err="1"/>
            <a:t>kentsel</a:t>
          </a:r>
          <a:r>
            <a:rPr sz="900" kern="1200" dirty="0"/>
            <a:t> </a:t>
          </a:r>
          <a:r>
            <a:rPr sz="900" kern="1200" dirty="0" err="1"/>
            <a:t>alanları</a:t>
          </a:r>
          <a:r>
            <a:rPr sz="900" kern="1200" dirty="0"/>
            <a:t> </a:t>
          </a:r>
          <a:r>
            <a:rPr sz="900" kern="1200" dirty="0" err="1"/>
            <a:t>ve</a:t>
          </a:r>
          <a:r>
            <a:rPr sz="900" kern="1200" dirty="0"/>
            <a:t> </a:t>
          </a:r>
          <a:r>
            <a:rPr sz="900" kern="1200" dirty="0" err="1"/>
            <a:t>ekonomiyi</a:t>
          </a:r>
          <a:r>
            <a:rPr sz="900" kern="1200" dirty="0"/>
            <a:t> </a:t>
          </a:r>
          <a:r>
            <a:rPr sz="900" kern="1200" dirty="0" err="1"/>
            <a:t>iyileştirme</a:t>
          </a:r>
          <a:r>
            <a:rPr sz="900" kern="1200" dirty="0"/>
            <a:t> </a:t>
          </a:r>
          <a:r>
            <a:rPr sz="900" kern="1200" dirty="0" err="1"/>
            <a:t>potansiyeline</a:t>
          </a:r>
          <a:r>
            <a:rPr sz="900" kern="1200" dirty="0"/>
            <a:t> </a:t>
          </a:r>
          <a:r>
            <a:rPr sz="900" kern="1200" dirty="0" err="1"/>
            <a:t>sahiptir</a:t>
          </a:r>
          <a:r>
            <a:rPr sz="900" kern="1200" dirty="0"/>
            <a:t>. </a:t>
          </a:r>
          <a:r>
            <a:rPr sz="900" kern="1200" dirty="0" err="1"/>
            <a:t>Bununla</a:t>
          </a:r>
          <a:r>
            <a:rPr sz="900" kern="1200" dirty="0"/>
            <a:t> </a:t>
          </a:r>
          <a:r>
            <a:rPr sz="900" kern="1200" dirty="0" err="1"/>
            <a:t>birlikte</a:t>
          </a:r>
          <a:r>
            <a:rPr sz="900" kern="1200" dirty="0"/>
            <a:t>, </a:t>
          </a:r>
          <a:r>
            <a:rPr sz="900" kern="1200" dirty="0" err="1"/>
            <a:t>bu</a:t>
          </a:r>
          <a:r>
            <a:rPr sz="900" kern="1200" dirty="0"/>
            <a:t> </a:t>
          </a:r>
          <a:r>
            <a:rPr sz="900" kern="1200" dirty="0" err="1"/>
            <a:t>önlemleri</a:t>
          </a:r>
          <a:r>
            <a:rPr sz="900" kern="1200" dirty="0"/>
            <a:t> </a:t>
          </a:r>
          <a:r>
            <a:rPr sz="900" kern="1200" dirty="0" err="1"/>
            <a:t>tasarlarken</a:t>
          </a:r>
          <a:r>
            <a:rPr sz="900" kern="1200" dirty="0"/>
            <a:t> </a:t>
          </a:r>
          <a:r>
            <a:rPr sz="900" kern="1200" dirty="0" err="1"/>
            <a:t>ve</a:t>
          </a:r>
          <a:r>
            <a:rPr sz="900" kern="1200" dirty="0"/>
            <a:t> </a:t>
          </a:r>
          <a:r>
            <a:rPr sz="900" kern="1200" dirty="0" err="1"/>
            <a:t>uygularken</a:t>
          </a:r>
          <a:r>
            <a:rPr sz="900" kern="1200" dirty="0"/>
            <a:t> </a:t>
          </a:r>
          <a:r>
            <a:rPr sz="900" kern="1200" dirty="0" err="1"/>
            <a:t>şehrin</a:t>
          </a:r>
          <a:r>
            <a:rPr sz="900" kern="1200" dirty="0"/>
            <a:t> </a:t>
          </a:r>
          <a:r>
            <a:rPr sz="900" kern="1200" dirty="0" err="1"/>
            <a:t>özel</a:t>
          </a:r>
          <a:r>
            <a:rPr sz="900" kern="1200" dirty="0"/>
            <a:t> </a:t>
          </a:r>
          <a:r>
            <a:rPr sz="900" kern="1200" dirty="0" err="1"/>
            <a:t>ihtiyaçlarını</a:t>
          </a:r>
          <a:r>
            <a:rPr sz="900" kern="1200" dirty="0"/>
            <a:t> </a:t>
          </a:r>
          <a:r>
            <a:rPr sz="900" kern="1200" dirty="0" err="1"/>
            <a:t>ve</a:t>
          </a:r>
          <a:r>
            <a:rPr sz="900" kern="1200" dirty="0"/>
            <a:t> </a:t>
          </a:r>
          <a:r>
            <a:rPr sz="900" kern="1200" dirty="0" err="1"/>
            <a:t>zorluklarını</a:t>
          </a:r>
          <a:r>
            <a:rPr sz="900" kern="1200" dirty="0"/>
            <a:t> </a:t>
          </a:r>
          <a:r>
            <a:rPr sz="900" kern="1200" dirty="0" err="1"/>
            <a:t>dikkatlice</a:t>
          </a:r>
          <a:r>
            <a:rPr sz="900" kern="1200" dirty="0"/>
            <a:t> </a:t>
          </a:r>
          <a:r>
            <a:rPr sz="900" kern="1200" dirty="0" err="1"/>
            <a:t>değerlendirmek</a:t>
          </a:r>
          <a:r>
            <a:rPr sz="900" kern="1200" dirty="0"/>
            <a:t> </a:t>
          </a:r>
          <a:r>
            <a:rPr sz="900" kern="1200" dirty="0" err="1"/>
            <a:t>önemlidir</a:t>
          </a:r>
          <a:r>
            <a:rPr sz="900" kern="1200" dirty="0"/>
            <a:t>.</a:t>
          </a:r>
        </a:p>
      </dsp:txBody>
      <dsp:txXfrm>
        <a:off x="611111" y="3080843"/>
        <a:ext cx="8116776" cy="880241"/>
      </dsp:txXfrm>
    </dsp:sp>
    <dsp:sp modelId="{BAB5F1BE-057F-4C50-810A-1E7B5F7E78D6}">
      <dsp:nvSpPr>
        <dsp:cNvPr id="0" name=""/>
        <dsp:cNvSpPr/>
      </dsp:nvSpPr>
      <dsp:spPr>
        <a:xfrm>
          <a:off x="60960" y="2970813"/>
          <a:ext cx="1100301" cy="1100301"/>
        </a:xfrm>
        <a:prstGeom prst="ellipse">
          <a:avLst/>
        </a:prstGeom>
        <a:solidFill>
          <a:schemeClr val="lt2">
            <a:hueOff val="0"/>
            <a:satOff val="0"/>
            <a:lumOff val="0"/>
            <a:alphaOff val="0"/>
          </a:schemeClr>
        </a:solidFill>
        <a:ln w="12700" cap="flat" cmpd="sng" algn="ctr">
          <a:solidFill>
            <a:schemeClr val="dk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D349CB4-DF26-4BB4-9B14-65451995A5BA}">
      <dsp:nvSpPr>
        <dsp:cNvPr id="0" name=""/>
        <dsp:cNvSpPr/>
      </dsp:nvSpPr>
      <dsp:spPr>
        <a:xfrm>
          <a:off x="440540" y="2303"/>
          <a:ext cx="5023543" cy="4566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b" anchorCtr="0">
          <a:noAutofit/>
        </a:bodyPr>
        <a:lstStyle/>
        <a:p>
          <a:pPr marL="0" lvl="0" indent="0" algn="l" defTabSz="400050">
            <a:lnSpc>
              <a:spcPct val="90000"/>
            </a:lnSpc>
            <a:spcBef>
              <a:spcPct val="0"/>
            </a:spcBef>
            <a:spcAft>
              <a:spcPct val="35000"/>
            </a:spcAft>
            <a:buNone/>
          </a:pPr>
          <a:r>
            <a:rPr sz="900" kern="1200"/>
            <a:t>Ankara'da ulaşım planlama önlemlerinin uygulanması bir dizi faktör nedeniyle zor olabilir. Bu zorlukların ele alınması, önlemlerin başarısını ve sürdürülebilirliğini sağlamak için esastır:</a:t>
          </a:r>
          <a:endParaRPr lang="en-US" sz="900" kern="1200" dirty="0"/>
        </a:p>
      </dsp:txBody>
      <dsp:txXfrm>
        <a:off x="440540" y="2303"/>
        <a:ext cx="5023543" cy="456685"/>
      </dsp:txXfrm>
    </dsp:sp>
    <dsp:sp modelId="{21934444-A9F9-4C04-8A6E-167240E4A2B2}">
      <dsp:nvSpPr>
        <dsp:cNvPr id="0" name=""/>
        <dsp:cNvSpPr/>
      </dsp:nvSpPr>
      <dsp:spPr>
        <a:xfrm>
          <a:off x="440540" y="458989"/>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4F13292-3325-4CA9-8A31-AEACFF098244}">
      <dsp:nvSpPr>
        <dsp:cNvPr id="0" name=""/>
        <dsp:cNvSpPr/>
      </dsp:nvSpPr>
      <dsp:spPr>
        <a:xfrm>
          <a:off x="1149418" y="458989"/>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42525A8-A7B2-44E4-8BB1-CA3FD733DB5A}">
      <dsp:nvSpPr>
        <dsp:cNvPr id="0" name=""/>
        <dsp:cNvSpPr/>
      </dsp:nvSpPr>
      <dsp:spPr>
        <a:xfrm>
          <a:off x="1858295" y="458989"/>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9146E19-E09D-4193-91A9-AD0E164416CE}">
      <dsp:nvSpPr>
        <dsp:cNvPr id="0" name=""/>
        <dsp:cNvSpPr/>
      </dsp:nvSpPr>
      <dsp:spPr>
        <a:xfrm>
          <a:off x="2567173" y="458989"/>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CD86607-A4D5-4A68-8299-09643D0FF2DF}">
      <dsp:nvSpPr>
        <dsp:cNvPr id="0" name=""/>
        <dsp:cNvSpPr/>
      </dsp:nvSpPr>
      <dsp:spPr>
        <a:xfrm>
          <a:off x="3276051" y="458989"/>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361673A-A876-455A-ABA7-71548C950878}">
      <dsp:nvSpPr>
        <dsp:cNvPr id="0" name=""/>
        <dsp:cNvSpPr/>
      </dsp:nvSpPr>
      <dsp:spPr>
        <a:xfrm>
          <a:off x="3984929" y="458989"/>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3986F42-032C-4591-B6DE-0E479DC2C507}">
      <dsp:nvSpPr>
        <dsp:cNvPr id="0" name=""/>
        <dsp:cNvSpPr/>
      </dsp:nvSpPr>
      <dsp:spPr>
        <a:xfrm>
          <a:off x="4693807" y="458989"/>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489A15F-9EA9-488F-B610-AF1387627BA2}">
      <dsp:nvSpPr>
        <dsp:cNvPr id="0" name=""/>
        <dsp:cNvSpPr/>
      </dsp:nvSpPr>
      <dsp:spPr>
        <a:xfrm>
          <a:off x="440540" y="655559"/>
          <a:ext cx="5023543" cy="4566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b" anchorCtr="0">
          <a:noAutofit/>
        </a:bodyPr>
        <a:lstStyle/>
        <a:p>
          <a:pPr marL="0" lvl="0" indent="0" algn="l" defTabSz="400050">
            <a:lnSpc>
              <a:spcPct val="90000"/>
            </a:lnSpc>
            <a:spcBef>
              <a:spcPct val="0"/>
            </a:spcBef>
            <a:spcAft>
              <a:spcPct val="35000"/>
            </a:spcAft>
            <a:buNone/>
          </a:pPr>
          <a:r>
            <a:rPr sz="900" b="1" kern="1200"/>
            <a:t>Sınırlı toplu taşıma altyapısı: </a:t>
          </a:r>
          <a:r>
            <a:rPr sz="900" kern="1200"/>
            <a:t>Yeni toplu taşıma altyapısının geliştirilmesi pahalı ve zaman alıcı olabilir.</a:t>
          </a:r>
        </a:p>
      </dsp:txBody>
      <dsp:txXfrm>
        <a:off x="440540" y="655559"/>
        <a:ext cx="5023543" cy="456685"/>
      </dsp:txXfrm>
    </dsp:sp>
    <dsp:sp modelId="{9DBFE174-EEA6-4FEC-9A10-066AEE9E8378}">
      <dsp:nvSpPr>
        <dsp:cNvPr id="0" name=""/>
        <dsp:cNvSpPr/>
      </dsp:nvSpPr>
      <dsp:spPr>
        <a:xfrm>
          <a:off x="440540" y="1112245"/>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ADC0835-69BA-4177-87C2-1F4ADDEAB3A7}">
      <dsp:nvSpPr>
        <dsp:cNvPr id="0" name=""/>
        <dsp:cNvSpPr/>
      </dsp:nvSpPr>
      <dsp:spPr>
        <a:xfrm>
          <a:off x="1149418" y="1112245"/>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DCF7344-025B-43AB-A291-427964F99A06}">
      <dsp:nvSpPr>
        <dsp:cNvPr id="0" name=""/>
        <dsp:cNvSpPr/>
      </dsp:nvSpPr>
      <dsp:spPr>
        <a:xfrm>
          <a:off x="1858295" y="1112245"/>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F7D9D4C-17BE-4134-A2D1-514A0A72934B}">
      <dsp:nvSpPr>
        <dsp:cNvPr id="0" name=""/>
        <dsp:cNvSpPr/>
      </dsp:nvSpPr>
      <dsp:spPr>
        <a:xfrm>
          <a:off x="2567173" y="1112245"/>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9E22EF7-757F-4AF3-843F-568FDD05EEEE}">
      <dsp:nvSpPr>
        <dsp:cNvPr id="0" name=""/>
        <dsp:cNvSpPr/>
      </dsp:nvSpPr>
      <dsp:spPr>
        <a:xfrm>
          <a:off x="3276051" y="1112245"/>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191FB2F-77A2-4BB7-A52E-BD7125ED1812}">
      <dsp:nvSpPr>
        <dsp:cNvPr id="0" name=""/>
        <dsp:cNvSpPr/>
      </dsp:nvSpPr>
      <dsp:spPr>
        <a:xfrm>
          <a:off x="3984929" y="1112245"/>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95419B4-3E43-4B80-9FF1-3BF830DFF75F}">
      <dsp:nvSpPr>
        <dsp:cNvPr id="0" name=""/>
        <dsp:cNvSpPr/>
      </dsp:nvSpPr>
      <dsp:spPr>
        <a:xfrm>
          <a:off x="4693807" y="1112245"/>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ED6291A-8C53-4133-9766-1DE140528AD5}">
      <dsp:nvSpPr>
        <dsp:cNvPr id="0" name=""/>
        <dsp:cNvSpPr/>
      </dsp:nvSpPr>
      <dsp:spPr>
        <a:xfrm>
          <a:off x="440540" y="1308815"/>
          <a:ext cx="5023543" cy="4566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b" anchorCtr="0">
          <a:noAutofit/>
        </a:bodyPr>
        <a:lstStyle/>
        <a:p>
          <a:pPr marL="0" lvl="0" indent="0" algn="l" defTabSz="400050">
            <a:lnSpc>
              <a:spcPct val="90000"/>
            </a:lnSpc>
            <a:spcBef>
              <a:spcPct val="0"/>
            </a:spcBef>
            <a:spcAft>
              <a:spcPct val="35000"/>
            </a:spcAft>
            <a:buNone/>
          </a:pPr>
          <a:r>
            <a:rPr sz="900" b="1" kern="1200"/>
            <a:t>Otomobil sahipliğine yönelik kültürel tutumlar</a:t>
          </a:r>
          <a:r>
            <a:rPr sz="900" kern="1200"/>
            <a:t>: Ankara'da otomobil sahipliği genellikle statü ve başarının sembolü olarak görülüyor. Sakinleri alternatif ulaşım yöntemlerini kullanmaya teşvik etmek zor olabilir.</a:t>
          </a:r>
        </a:p>
      </dsp:txBody>
      <dsp:txXfrm>
        <a:off x="440540" y="1308815"/>
        <a:ext cx="5023543" cy="456685"/>
      </dsp:txXfrm>
    </dsp:sp>
    <dsp:sp modelId="{01DA5A69-B6B0-4379-82A2-4014D385BA48}">
      <dsp:nvSpPr>
        <dsp:cNvPr id="0" name=""/>
        <dsp:cNvSpPr/>
      </dsp:nvSpPr>
      <dsp:spPr>
        <a:xfrm>
          <a:off x="440540" y="1765501"/>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0C6A3F4-FEC2-495B-8BE2-B1788D969A60}">
      <dsp:nvSpPr>
        <dsp:cNvPr id="0" name=""/>
        <dsp:cNvSpPr/>
      </dsp:nvSpPr>
      <dsp:spPr>
        <a:xfrm>
          <a:off x="1149418" y="1765501"/>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016A93E-83BC-42B5-B06D-0259E067A488}">
      <dsp:nvSpPr>
        <dsp:cNvPr id="0" name=""/>
        <dsp:cNvSpPr/>
      </dsp:nvSpPr>
      <dsp:spPr>
        <a:xfrm>
          <a:off x="1858295" y="1765501"/>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5F5AF84-CB42-4B7D-B467-8099CA5F3ABF}">
      <dsp:nvSpPr>
        <dsp:cNvPr id="0" name=""/>
        <dsp:cNvSpPr/>
      </dsp:nvSpPr>
      <dsp:spPr>
        <a:xfrm>
          <a:off x="2567173" y="1765501"/>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C4E8ED2-6F8D-4A4F-BA7A-3837520BC136}">
      <dsp:nvSpPr>
        <dsp:cNvPr id="0" name=""/>
        <dsp:cNvSpPr/>
      </dsp:nvSpPr>
      <dsp:spPr>
        <a:xfrm>
          <a:off x="3276051" y="1765501"/>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FF95ACC-5132-45F4-924D-57DAD1941825}">
      <dsp:nvSpPr>
        <dsp:cNvPr id="0" name=""/>
        <dsp:cNvSpPr/>
      </dsp:nvSpPr>
      <dsp:spPr>
        <a:xfrm>
          <a:off x="3984929" y="1765501"/>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4E140C0-238D-4608-8647-87472011ADC2}">
      <dsp:nvSpPr>
        <dsp:cNvPr id="0" name=""/>
        <dsp:cNvSpPr/>
      </dsp:nvSpPr>
      <dsp:spPr>
        <a:xfrm>
          <a:off x="4693807" y="1765501"/>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D7473D0-E7CB-484A-807C-86C701435A2D}">
      <dsp:nvSpPr>
        <dsp:cNvPr id="0" name=""/>
        <dsp:cNvSpPr/>
      </dsp:nvSpPr>
      <dsp:spPr>
        <a:xfrm>
          <a:off x="440540" y="1962070"/>
          <a:ext cx="5023543" cy="4566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b" anchorCtr="0">
          <a:noAutofit/>
        </a:bodyPr>
        <a:lstStyle/>
        <a:p>
          <a:pPr marL="0" lvl="0" indent="0" algn="l" defTabSz="400050">
            <a:lnSpc>
              <a:spcPct val="90000"/>
            </a:lnSpc>
            <a:spcBef>
              <a:spcPct val="0"/>
            </a:spcBef>
            <a:spcAft>
              <a:spcPct val="35000"/>
            </a:spcAft>
            <a:buNone/>
          </a:pPr>
          <a:r>
            <a:rPr sz="900" b="1" kern="1200" dirty="0"/>
            <a:t>Ulaşım </a:t>
          </a:r>
          <a:r>
            <a:rPr sz="900" b="1" kern="1200" dirty="0" err="1"/>
            <a:t>planlama</a:t>
          </a:r>
          <a:r>
            <a:rPr sz="900" b="1" kern="1200" dirty="0"/>
            <a:t> </a:t>
          </a:r>
          <a:r>
            <a:rPr sz="900" b="1" kern="1200" dirty="0" err="1"/>
            <a:t>önlemlerinin</a:t>
          </a:r>
          <a:r>
            <a:rPr sz="900" b="1" kern="1200" dirty="0"/>
            <a:t> </a:t>
          </a:r>
          <a:r>
            <a:rPr sz="900" b="1" kern="1200" dirty="0" err="1"/>
            <a:t>uygulanması</a:t>
          </a:r>
          <a:r>
            <a:rPr sz="900" kern="1200" dirty="0"/>
            <a:t>, </a:t>
          </a:r>
          <a:r>
            <a:rPr sz="900" kern="1200" dirty="0" err="1"/>
            <a:t>yerel</a:t>
          </a:r>
          <a:r>
            <a:rPr sz="900" kern="1200" dirty="0"/>
            <a:t> </a:t>
          </a:r>
          <a:r>
            <a:rPr sz="900" kern="1200" dirty="0" err="1"/>
            <a:t>ve</a:t>
          </a:r>
          <a:r>
            <a:rPr sz="900" kern="1200" dirty="0"/>
            <a:t> </a:t>
          </a:r>
          <a:r>
            <a:rPr sz="900" kern="1200" dirty="0" err="1"/>
            <a:t>ulusal</a:t>
          </a:r>
          <a:r>
            <a:rPr sz="900" kern="1200" dirty="0"/>
            <a:t> </a:t>
          </a:r>
          <a:r>
            <a:rPr sz="900" kern="1200" dirty="0" err="1"/>
            <a:t>makamlardan</a:t>
          </a:r>
          <a:r>
            <a:rPr sz="900" kern="1200" dirty="0"/>
            <a:t> </a:t>
          </a:r>
          <a:r>
            <a:rPr sz="900" kern="1200" dirty="0" err="1"/>
            <a:t>önemli</a:t>
          </a:r>
          <a:r>
            <a:rPr sz="900" kern="1200" dirty="0"/>
            <a:t> </a:t>
          </a:r>
          <a:r>
            <a:rPr sz="900" kern="1200" dirty="0" err="1"/>
            <a:t>siyasi</a:t>
          </a:r>
          <a:r>
            <a:rPr sz="900" kern="1200" dirty="0"/>
            <a:t> </a:t>
          </a:r>
          <a:r>
            <a:rPr sz="900" kern="1200" dirty="0" err="1"/>
            <a:t>irade</a:t>
          </a:r>
          <a:r>
            <a:rPr sz="900" kern="1200" dirty="0"/>
            <a:t> </a:t>
          </a:r>
          <a:r>
            <a:rPr sz="900" kern="1200" dirty="0" err="1"/>
            <a:t>ve</a:t>
          </a:r>
          <a:r>
            <a:rPr sz="900" kern="1200" dirty="0"/>
            <a:t> </a:t>
          </a:r>
          <a:r>
            <a:rPr sz="900" kern="1200" dirty="0" err="1"/>
            <a:t>destek</a:t>
          </a:r>
          <a:r>
            <a:rPr sz="900" kern="1200" dirty="0"/>
            <a:t> </a:t>
          </a:r>
          <a:r>
            <a:rPr sz="900" kern="1200" dirty="0" err="1"/>
            <a:t>gerektirebilir</a:t>
          </a:r>
          <a:r>
            <a:rPr sz="900" kern="1200" dirty="0"/>
            <a:t>.</a:t>
          </a:r>
        </a:p>
      </dsp:txBody>
      <dsp:txXfrm>
        <a:off x="440540" y="1962070"/>
        <a:ext cx="5023543" cy="456685"/>
      </dsp:txXfrm>
    </dsp:sp>
    <dsp:sp modelId="{16D44279-97AE-48CE-95AA-63F0DBECB126}">
      <dsp:nvSpPr>
        <dsp:cNvPr id="0" name=""/>
        <dsp:cNvSpPr/>
      </dsp:nvSpPr>
      <dsp:spPr>
        <a:xfrm>
          <a:off x="440540" y="2418756"/>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68055EF-AF1F-491D-B299-446EFFDAA730}">
      <dsp:nvSpPr>
        <dsp:cNvPr id="0" name=""/>
        <dsp:cNvSpPr/>
      </dsp:nvSpPr>
      <dsp:spPr>
        <a:xfrm>
          <a:off x="1149418" y="2418756"/>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16DADB0-A3F1-4AC4-8528-B1D04EBAC8B2}">
      <dsp:nvSpPr>
        <dsp:cNvPr id="0" name=""/>
        <dsp:cNvSpPr/>
      </dsp:nvSpPr>
      <dsp:spPr>
        <a:xfrm>
          <a:off x="1858295" y="2418756"/>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2EA1D01-F97B-43BE-8273-FBEB552826A8}">
      <dsp:nvSpPr>
        <dsp:cNvPr id="0" name=""/>
        <dsp:cNvSpPr/>
      </dsp:nvSpPr>
      <dsp:spPr>
        <a:xfrm>
          <a:off x="2567173" y="2418756"/>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AD5B563-9642-46D8-AE9A-EA5425AB7E89}">
      <dsp:nvSpPr>
        <dsp:cNvPr id="0" name=""/>
        <dsp:cNvSpPr/>
      </dsp:nvSpPr>
      <dsp:spPr>
        <a:xfrm>
          <a:off x="3276051" y="2418756"/>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4022854-060D-4799-BEE2-E199FA78C9DC}">
      <dsp:nvSpPr>
        <dsp:cNvPr id="0" name=""/>
        <dsp:cNvSpPr/>
      </dsp:nvSpPr>
      <dsp:spPr>
        <a:xfrm>
          <a:off x="3984929" y="2418756"/>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2261055-A35F-4B07-BEB4-EDEEEDC6196E}">
      <dsp:nvSpPr>
        <dsp:cNvPr id="0" name=""/>
        <dsp:cNvSpPr/>
      </dsp:nvSpPr>
      <dsp:spPr>
        <a:xfrm>
          <a:off x="4693807" y="2418756"/>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4967D90-C3EC-4238-AE33-61F4BE69BA18}">
      <dsp:nvSpPr>
        <dsp:cNvPr id="0" name=""/>
        <dsp:cNvSpPr/>
      </dsp:nvSpPr>
      <dsp:spPr>
        <a:xfrm>
          <a:off x="440540" y="2615326"/>
          <a:ext cx="5023543" cy="4566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b" anchorCtr="0">
          <a:noAutofit/>
        </a:bodyPr>
        <a:lstStyle/>
        <a:p>
          <a:pPr marL="0" lvl="0" indent="0" algn="l" defTabSz="400050">
            <a:lnSpc>
              <a:spcPct val="90000"/>
            </a:lnSpc>
            <a:spcBef>
              <a:spcPct val="0"/>
            </a:spcBef>
            <a:spcAft>
              <a:spcPct val="35000"/>
            </a:spcAft>
            <a:buNone/>
          </a:pPr>
          <a:r>
            <a:rPr sz="900" b="1" kern="1200"/>
            <a:t>İşletme sahiplerinin direnci: </a:t>
          </a:r>
          <a:r>
            <a:rPr sz="900" kern="1200"/>
            <a:t>İşletme sahipleri, araç erişimini kısıtlayan veya otopark kullanılabilirliğini azaltan önlemlere direnebilir.</a:t>
          </a:r>
        </a:p>
      </dsp:txBody>
      <dsp:txXfrm>
        <a:off x="440540" y="2615326"/>
        <a:ext cx="5023543" cy="456685"/>
      </dsp:txXfrm>
    </dsp:sp>
    <dsp:sp modelId="{C4C758E3-3F13-4BFD-A109-7918087A7A43}">
      <dsp:nvSpPr>
        <dsp:cNvPr id="0" name=""/>
        <dsp:cNvSpPr/>
      </dsp:nvSpPr>
      <dsp:spPr>
        <a:xfrm>
          <a:off x="440540" y="3072012"/>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865A64C-EC60-46E5-87AF-D8CB26B9047A}">
      <dsp:nvSpPr>
        <dsp:cNvPr id="0" name=""/>
        <dsp:cNvSpPr/>
      </dsp:nvSpPr>
      <dsp:spPr>
        <a:xfrm>
          <a:off x="1149418" y="3072012"/>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B30F11E-24FB-4CE9-A7FB-FE1339B4CE2A}">
      <dsp:nvSpPr>
        <dsp:cNvPr id="0" name=""/>
        <dsp:cNvSpPr/>
      </dsp:nvSpPr>
      <dsp:spPr>
        <a:xfrm>
          <a:off x="1858295" y="3072012"/>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B2EBC77-F5A2-4A8F-95F4-C005244EBF8A}">
      <dsp:nvSpPr>
        <dsp:cNvPr id="0" name=""/>
        <dsp:cNvSpPr/>
      </dsp:nvSpPr>
      <dsp:spPr>
        <a:xfrm>
          <a:off x="2567173" y="3072012"/>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C46FECD-9E20-407D-BB9A-EB76C5E0EC36}">
      <dsp:nvSpPr>
        <dsp:cNvPr id="0" name=""/>
        <dsp:cNvSpPr/>
      </dsp:nvSpPr>
      <dsp:spPr>
        <a:xfrm>
          <a:off x="3276051" y="3072012"/>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4A7E292-DC5A-4BA0-8156-67A34FFD9402}">
      <dsp:nvSpPr>
        <dsp:cNvPr id="0" name=""/>
        <dsp:cNvSpPr/>
      </dsp:nvSpPr>
      <dsp:spPr>
        <a:xfrm>
          <a:off x="3984929" y="3072012"/>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4BA71D8-3BE7-431D-89C5-5AF63CF86AB9}">
      <dsp:nvSpPr>
        <dsp:cNvPr id="0" name=""/>
        <dsp:cNvSpPr/>
      </dsp:nvSpPr>
      <dsp:spPr>
        <a:xfrm>
          <a:off x="4693807" y="3072012"/>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2066BD8-2E45-4873-895C-938E5FF25D07}">
      <dsp:nvSpPr>
        <dsp:cNvPr id="0" name=""/>
        <dsp:cNvSpPr/>
      </dsp:nvSpPr>
      <dsp:spPr>
        <a:xfrm>
          <a:off x="440540" y="3268582"/>
          <a:ext cx="5023543" cy="4566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b" anchorCtr="0">
          <a:noAutofit/>
        </a:bodyPr>
        <a:lstStyle/>
        <a:p>
          <a:pPr marL="0" lvl="0" indent="0" algn="l" defTabSz="400050">
            <a:lnSpc>
              <a:spcPct val="90000"/>
            </a:lnSpc>
            <a:spcBef>
              <a:spcPct val="0"/>
            </a:spcBef>
            <a:spcAft>
              <a:spcPct val="35000"/>
            </a:spcAft>
            <a:buNone/>
          </a:pPr>
          <a:r>
            <a:rPr sz="900" b="1" kern="1200"/>
            <a:t>Sınırlı finansman: </a:t>
          </a:r>
          <a:r>
            <a:rPr sz="900" kern="1200"/>
            <a:t>Ulaşım planlama önlemlerinin uygulanması genellikle sınırlı veya mevcut olmayan önemli finansal kaynaklar gerektirir.</a:t>
          </a:r>
        </a:p>
      </dsp:txBody>
      <dsp:txXfrm>
        <a:off x="440540" y="3268582"/>
        <a:ext cx="5023543" cy="456685"/>
      </dsp:txXfrm>
    </dsp:sp>
    <dsp:sp modelId="{7AAFD26D-6004-4F46-B4AF-5BC18CA8A913}">
      <dsp:nvSpPr>
        <dsp:cNvPr id="0" name=""/>
        <dsp:cNvSpPr/>
      </dsp:nvSpPr>
      <dsp:spPr>
        <a:xfrm>
          <a:off x="440540" y="3725268"/>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AC637EC-AC37-425B-A815-01851A678BE8}">
      <dsp:nvSpPr>
        <dsp:cNvPr id="0" name=""/>
        <dsp:cNvSpPr/>
      </dsp:nvSpPr>
      <dsp:spPr>
        <a:xfrm>
          <a:off x="1149418" y="3725268"/>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75683F1-79B6-4EE4-8775-3FAB2C3C5287}">
      <dsp:nvSpPr>
        <dsp:cNvPr id="0" name=""/>
        <dsp:cNvSpPr/>
      </dsp:nvSpPr>
      <dsp:spPr>
        <a:xfrm>
          <a:off x="1858295" y="3725268"/>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5659202-BA87-44CD-AD3C-05245A654B2D}">
      <dsp:nvSpPr>
        <dsp:cNvPr id="0" name=""/>
        <dsp:cNvSpPr/>
      </dsp:nvSpPr>
      <dsp:spPr>
        <a:xfrm>
          <a:off x="2567173" y="3725268"/>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2F3454A-4629-489B-9294-46E405F5BAF0}">
      <dsp:nvSpPr>
        <dsp:cNvPr id="0" name=""/>
        <dsp:cNvSpPr/>
      </dsp:nvSpPr>
      <dsp:spPr>
        <a:xfrm>
          <a:off x="3276051" y="3725268"/>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7BE3EB4-E26C-4C20-BBB3-05180FF00D66}">
      <dsp:nvSpPr>
        <dsp:cNvPr id="0" name=""/>
        <dsp:cNvSpPr/>
      </dsp:nvSpPr>
      <dsp:spPr>
        <a:xfrm>
          <a:off x="3984929" y="3725268"/>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509D7F3-CDD8-4EFB-8477-495EA808701A}">
      <dsp:nvSpPr>
        <dsp:cNvPr id="0" name=""/>
        <dsp:cNvSpPr/>
      </dsp:nvSpPr>
      <dsp:spPr>
        <a:xfrm>
          <a:off x="4693807" y="3725268"/>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D99808A-B8B6-4030-90BD-1F371E08F75C}">
      <dsp:nvSpPr>
        <dsp:cNvPr id="0" name=""/>
        <dsp:cNvSpPr/>
      </dsp:nvSpPr>
      <dsp:spPr>
        <a:xfrm>
          <a:off x="440540" y="3921837"/>
          <a:ext cx="5023543" cy="45668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290" tIns="34290" rIns="34290" bIns="34290" numCol="1" spcCol="1270" anchor="b" anchorCtr="0">
          <a:noAutofit/>
        </a:bodyPr>
        <a:lstStyle/>
        <a:p>
          <a:pPr marL="0" lvl="0" indent="0" algn="l" defTabSz="400050">
            <a:lnSpc>
              <a:spcPct val="90000"/>
            </a:lnSpc>
            <a:spcBef>
              <a:spcPct val="0"/>
            </a:spcBef>
            <a:spcAft>
              <a:spcPct val="35000"/>
            </a:spcAft>
            <a:buNone/>
          </a:pPr>
          <a:r>
            <a:rPr sz="900" b="1" kern="1200"/>
            <a:t>Kamu bilincinin eksikliği: </a:t>
          </a:r>
          <a:r>
            <a:rPr sz="900" kern="1200"/>
            <a:t>Ulaşım planlama önlemlerinin başarısı, sakinlerin bunları kullanma istekliliğine bağlıdır. Halkı önlemlerin yararları hakkında eğitmek, kullanımlarını teşvik etmek için esastır.</a:t>
          </a:r>
        </a:p>
      </dsp:txBody>
      <dsp:txXfrm>
        <a:off x="440540" y="3921837"/>
        <a:ext cx="5023543" cy="456685"/>
      </dsp:txXfrm>
    </dsp:sp>
    <dsp:sp modelId="{E5DD64A0-B5E3-4BF3-AC29-68A935F996A7}">
      <dsp:nvSpPr>
        <dsp:cNvPr id="0" name=""/>
        <dsp:cNvSpPr/>
      </dsp:nvSpPr>
      <dsp:spPr>
        <a:xfrm>
          <a:off x="440540" y="4378523"/>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DB1642A-564C-4E71-B195-9C2BD8A7559D}">
      <dsp:nvSpPr>
        <dsp:cNvPr id="0" name=""/>
        <dsp:cNvSpPr/>
      </dsp:nvSpPr>
      <dsp:spPr>
        <a:xfrm>
          <a:off x="1149418" y="4378523"/>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2A91073-43E9-4E46-8515-D4E66034F10E}">
      <dsp:nvSpPr>
        <dsp:cNvPr id="0" name=""/>
        <dsp:cNvSpPr/>
      </dsp:nvSpPr>
      <dsp:spPr>
        <a:xfrm>
          <a:off x="1858295" y="4378523"/>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7067905-0558-4D78-BADD-F1B57FD55E1B}">
      <dsp:nvSpPr>
        <dsp:cNvPr id="0" name=""/>
        <dsp:cNvSpPr/>
      </dsp:nvSpPr>
      <dsp:spPr>
        <a:xfrm>
          <a:off x="2567173" y="4378523"/>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5806095-A5EF-4011-82E2-19E567EBBE19}">
      <dsp:nvSpPr>
        <dsp:cNvPr id="0" name=""/>
        <dsp:cNvSpPr/>
      </dsp:nvSpPr>
      <dsp:spPr>
        <a:xfrm>
          <a:off x="3276051" y="4378523"/>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1845850-ECB3-4520-8949-DEB35755AEC4}">
      <dsp:nvSpPr>
        <dsp:cNvPr id="0" name=""/>
        <dsp:cNvSpPr/>
      </dsp:nvSpPr>
      <dsp:spPr>
        <a:xfrm>
          <a:off x="3984929" y="4378523"/>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1C8BF81-1460-4351-BC26-C71A32669245}">
      <dsp:nvSpPr>
        <dsp:cNvPr id="0" name=""/>
        <dsp:cNvSpPr/>
      </dsp:nvSpPr>
      <dsp:spPr>
        <a:xfrm>
          <a:off x="4693807" y="4378523"/>
          <a:ext cx="669805" cy="111634"/>
        </a:xfrm>
        <a:prstGeom prst="parallelogram">
          <a:avLst>
            <a:gd name="adj" fmla="val 14084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32992D-5522-40FA-AF86-3BA6D69239A6}">
      <dsp:nvSpPr>
        <dsp:cNvPr id="0" name=""/>
        <dsp:cNvSpPr/>
      </dsp:nvSpPr>
      <dsp:spPr>
        <a:xfrm>
          <a:off x="0" y="0"/>
          <a:ext cx="6097508" cy="0"/>
        </a:xfrm>
        <a:prstGeom prst="line">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03F1A13-2F7F-49E3-98D4-04B60C48338D}">
      <dsp:nvSpPr>
        <dsp:cNvPr id="0" name=""/>
        <dsp:cNvSpPr/>
      </dsp:nvSpPr>
      <dsp:spPr>
        <a:xfrm>
          <a:off x="0" y="0"/>
          <a:ext cx="1219501" cy="34855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1910" tIns="41910" rIns="41910" bIns="41910" numCol="1" spcCol="1270" anchor="t" anchorCtr="0">
          <a:noAutofit/>
        </a:bodyPr>
        <a:lstStyle/>
        <a:p>
          <a:pPr marL="0" lvl="0" indent="0" algn="l" defTabSz="488950">
            <a:lnSpc>
              <a:spcPct val="90000"/>
            </a:lnSpc>
            <a:spcBef>
              <a:spcPct val="0"/>
            </a:spcBef>
            <a:spcAft>
              <a:spcPct val="35000"/>
            </a:spcAft>
            <a:buNone/>
          </a:pPr>
          <a:r>
            <a:rPr sz="1100" kern="1200"/>
            <a:t>Ankara kenti, çeşitli ulaşım planlama önlemlerinin uygulanması yoluyla ulaşım sistemini iyileştirmede önemli adımlar atmıştır. Bu önlemler trafik sıkışıklığını azaltmayı, erişilebilirliği iyileştirmeyi, sürdürülebilir ulaşım biçimlerini teşvik etmeyi ve sakinlerin genel yaşam kalitesini artırmayı amaçlamıştır:</a:t>
          </a:r>
          <a:endParaRPr lang="en-US" sz="1100" kern="1200"/>
        </a:p>
      </dsp:txBody>
      <dsp:txXfrm>
        <a:off x="0" y="0"/>
        <a:ext cx="1219501" cy="3485570"/>
      </dsp:txXfrm>
    </dsp:sp>
    <dsp:sp modelId="{3553BDFB-BFC0-4AFC-901F-9166B6217B72}">
      <dsp:nvSpPr>
        <dsp:cNvPr id="0" name=""/>
        <dsp:cNvSpPr/>
      </dsp:nvSpPr>
      <dsp:spPr>
        <a:xfrm>
          <a:off x="1310964" y="32847"/>
          <a:ext cx="4786543" cy="6569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None/>
          </a:pPr>
          <a:r>
            <a:rPr sz="1000" b="1" kern="1200"/>
            <a:t>Metrobüsün Tanıtımı: </a:t>
          </a:r>
          <a:r>
            <a:rPr sz="1000" kern="1200"/>
            <a:t>Bir otobüs hızlı ulaşım sistemi olan Metrobüs, 2013 yılında Ankara'da tanıtıldı. Sistem, kilit rotalardaki trafik sıkışıklığını azaltmaya ve taşıtlar için seyahat sürelerini iyileştirmeye yardımcı oldu.</a:t>
          </a:r>
        </a:p>
      </dsp:txBody>
      <dsp:txXfrm>
        <a:off x="1310964" y="32847"/>
        <a:ext cx="4786543" cy="656948"/>
      </dsp:txXfrm>
    </dsp:sp>
    <dsp:sp modelId="{5A7AF590-F0D9-48AB-9A16-A9CB3B6711F1}">
      <dsp:nvSpPr>
        <dsp:cNvPr id="0" name=""/>
        <dsp:cNvSpPr/>
      </dsp:nvSpPr>
      <dsp:spPr>
        <a:xfrm>
          <a:off x="1219501" y="689795"/>
          <a:ext cx="4878006"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6AC1F14A-DF25-435A-B368-FBC225BD0C1A}">
      <dsp:nvSpPr>
        <dsp:cNvPr id="0" name=""/>
        <dsp:cNvSpPr/>
      </dsp:nvSpPr>
      <dsp:spPr>
        <a:xfrm>
          <a:off x="1310964" y="722643"/>
          <a:ext cx="4786543" cy="6569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None/>
          </a:pPr>
          <a:r>
            <a:rPr sz="1000" b="1" kern="1200"/>
            <a:t>Bir bisiklet ağı geliştirmek: </a:t>
          </a:r>
          <a:r>
            <a:rPr sz="1000" kern="1200"/>
            <a:t>Son yıllarda Ankara, özel bisiklet şeritleri ve bisiklet paylaşım sistemlerine sahip bir bisiklet ağı geliştirmiştir. Bu, daha fazla sakinleri bir ulaşım şekli olarak bisiklet sürmeye, trafik sıkışıklığını azaltmaya ve fiziksel aktiviteyi teşvik etmeye teşvik etmiştir.</a:t>
          </a:r>
        </a:p>
      </dsp:txBody>
      <dsp:txXfrm>
        <a:off x="1310964" y="722643"/>
        <a:ext cx="4786543" cy="656948"/>
      </dsp:txXfrm>
    </dsp:sp>
    <dsp:sp modelId="{8D996AB4-0226-4BBE-BDF4-8B3A9CF62554}">
      <dsp:nvSpPr>
        <dsp:cNvPr id="0" name=""/>
        <dsp:cNvSpPr/>
      </dsp:nvSpPr>
      <dsp:spPr>
        <a:xfrm>
          <a:off x="1219501" y="1379591"/>
          <a:ext cx="4878006"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CD9FC7FE-4B27-4AE8-A195-BD8E96888AEE}">
      <dsp:nvSpPr>
        <dsp:cNvPr id="0" name=""/>
        <dsp:cNvSpPr/>
      </dsp:nvSpPr>
      <dsp:spPr>
        <a:xfrm>
          <a:off x="1310964" y="1412438"/>
          <a:ext cx="4786543" cy="6569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None/>
          </a:pPr>
          <a:r>
            <a:rPr sz="1000" b="1" kern="1200"/>
            <a:t>Yayalaştırılmış alanların oluşturulması: </a:t>
          </a:r>
          <a:r>
            <a:rPr sz="1000" kern="1200"/>
            <a:t>Ankara'da Kızılay ve Tunalı Hilmi Caddesi gibi çeşitli alanlar son yıllarda yayalaştırılmıştır. Bu, şehrin estetiğini iyileştirdi, trafik sıkışıklığını azalttı ve sakinlere eğlence ve rekreasyon için daha fazla fırsat sağladı.</a:t>
          </a:r>
        </a:p>
      </dsp:txBody>
      <dsp:txXfrm>
        <a:off x="1310964" y="1412438"/>
        <a:ext cx="4786543" cy="656948"/>
      </dsp:txXfrm>
    </dsp:sp>
    <dsp:sp modelId="{FD63EB9E-FA8F-4721-AF4E-303B84A9E302}">
      <dsp:nvSpPr>
        <dsp:cNvPr id="0" name=""/>
        <dsp:cNvSpPr/>
      </dsp:nvSpPr>
      <dsp:spPr>
        <a:xfrm>
          <a:off x="1219501" y="2069386"/>
          <a:ext cx="4878006"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8FE1FCE5-7CA4-4FFF-B93D-AB339B293EFA}">
      <dsp:nvSpPr>
        <dsp:cNvPr id="0" name=""/>
        <dsp:cNvSpPr/>
      </dsp:nvSpPr>
      <dsp:spPr>
        <a:xfrm>
          <a:off x="1310964" y="2102234"/>
          <a:ext cx="4786543" cy="6569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None/>
          </a:pPr>
          <a:r>
            <a:rPr sz="1000" b="1" kern="1200"/>
            <a:t>Akıllı trafik yönetim sistemi: </a:t>
          </a:r>
          <a:r>
            <a:rPr sz="1000" kern="1200"/>
            <a:t>Ankara'da trafik ışıklarını ve yol işaretlerini gerçek zamanlı olarak ayarlayarak trafik koşullarına cevap verebilecek akıllı bir trafik yönetim sistemi geliştirilmiştir. Bu, trafik akışını iyileştirdi ve taşıtlar için seyahat sürelerini azalttı.</a:t>
          </a:r>
        </a:p>
      </dsp:txBody>
      <dsp:txXfrm>
        <a:off x="1310964" y="2102234"/>
        <a:ext cx="4786543" cy="656948"/>
      </dsp:txXfrm>
    </dsp:sp>
    <dsp:sp modelId="{EA895CCC-5039-4FF1-87D6-81D9CF0C1698}">
      <dsp:nvSpPr>
        <dsp:cNvPr id="0" name=""/>
        <dsp:cNvSpPr/>
      </dsp:nvSpPr>
      <dsp:spPr>
        <a:xfrm>
          <a:off x="1219501" y="2759182"/>
          <a:ext cx="4878006"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A4976C8E-1EE3-46B1-B4BC-8D91A58BB88E}">
      <dsp:nvSpPr>
        <dsp:cNvPr id="0" name=""/>
        <dsp:cNvSpPr/>
      </dsp:nvSpPr>
      <dsp:spPr>
        <a:xfrm>
          <a:off x="1310964" y="2792030"/>
          <a:ext cx="4786543" cy="6569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8100" tIns="38100" rIns="38100" bIns="38100" numCol="1" spcCol="1270" anchor="t" anchorCtr="0">
          <a:noAutofit/>
        </a:bodyPr>
        <a:lstStyle/>
        <a:p>
          <a:pPr marL="0" lvl="0" indent="0" algn="l" defTabSz="444500">
            <a:lnSpc>
              <a:spcPct val="90000"/>
            </a:lnSpc>
            <a:spcBef>
              <a:spcPct val="0"/>
            </a:spcBef>
            <a:spcAft>
              <a:spcPct val="35000"/>
            </a:spcAft>
            <a:buNone/>
          </a:pPr>
          <a:r>
            <a:rPr sz="1000" b="1" kern="1200"/>
            <a:t>Geliştirilmiş toplu taşıma altyapısı: </a:t>
          </a:r>
          <a:r>
            <a:rPr sz="1000" kern="1200"/>
            <a:t>Ankara, yeni metro hatlarının geliştirilmesi ve toplu taşıma hizmetlerinin sıklığının artırılması da dahil olmak üzere toplu taşıma altyapısına yatırım yapmıştır. Bu, sakinler için erişilebilirliği artırdı ve arabalara olan bağımlılığı azalttı.</a:t>
          </a:r>
        </a:p>
      </dsp:txBody>
      <dsp:txXfrm>
        <a:off x="1310964" y="2792030"/>
        <a:ext cx="4786543" cy="656948"/>
      </dsp:txXfrm>
    </dsp:sp>
    <dsp:sp modelId="{E502EFD7-B482-42A3-B1CA-D2B2602DAFF3}">
      <dsp:nvSpPr>
        <dsp:cNvPr id="0" name=""/>
        <dsp:cNvSpPr/>
      </dsp:nvSpPr>
      <dsp:spPr>
        <a:xfrm>
          <a:off x="1219501" y="3448978"/>
          <a:ext cx="4878006" cy="0"/>
        </a:xfrm>
        <a:prstGeom prst="line">
          <a:avLst/>
        </a:prstGeom>
        <a:solidFill>
          <a:schemeClr val="accent2">
            <a:hueOff val="0"/>
            <a:satOff val="0"/>
            <a:lumOff val="0"/>
            <a:alphaOff val="0"/>
          </a:schemeClr>
        </a:solidFill>
        <a:ln w="12700" cap="flat" cmpd="sng" algn="ctr">
          <a:solidFill>
            <a:schemeClr val="accent2">
              <a:tint val="5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65AB94-79CD-462C-9C0E-9E200128BFC7}">
      <dsp:nvSpPr>
        <dsp:cNvPr id="0" name=""/>
        <dsp:cNvSpPr/>
      </dsp:nvSpPr>
      <dsp:spPr>
        <a:xfrm>
          <a:off x="622743" y="479310"/>
          <a:ext cx="2700437" cy="3444435"/>
        </a:xfrm>
        <a:prstGeom prst="roundRect">
          <a:avLst/>
        </a:prstGeom>
        <a:blipFill>
          <a:blip xmlns:r="http://schemas.openxmlformats.org/officeDocument/2006/relationships" r:embed="rId1"/>
          <a:srcRect/>
          <a:stretch>
            <a:fillRect l="-46000" r="-4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9DC84F04-9D4A-4FDC-B5A9-CDFABC9DB9DF}">
      <dsp:nvSpPr>
        <dsp:cNvPr id="0" name=""/>
        <dsp:cNvSpPr/>
      </dsp:nvSpPr>
      <dsp:spPr>
        <a:xfrm>
          <a:off x="0" y="0"/>
          <a:ext cx="2079336" cy="2066661"/>
        </a:xfrm>
        <a:prstGeom prst="rect">
          <a:avLst/>
        </a:prstGeom>
        <a:noFill/>
        <a:ln w="12700" cap="flat" cmpd="sng" algn="ctr">
          <a:noFill/>
          <a:prstDash val="solid"/>
          <a:miter lim="800000"/>
        </a:ln>
        <a:effectLst/>
        <a:sp3d/>
      </dsp:spPr>
      <dsp:style>
        <a:lnRef idx="2">
          <a:scrgbClr r="0" g="0" b="0"/>
        </a:lnRef>
        <a:fillRef idx="1">
          <a:scrgbClr r="0" g="0" b="0"/>
        </a:fillRef>
        <a:effectRef idx="0">
          <a:scrgbClr r="0" g="0" b="0"/>
        </a:effectRef>
        <a:fontRef idx="minor">
          <a:schemeClr val="lt1"/>
        </a:fontRef>
      </dsp:style>
      <dsp:txBody>
        <a:bodyPr spcFirstLastPara="0" vert="horz" wrap="square" lIns="165100" tIns="165100" rIns="165100" bIns="165100" numCol="1" spcCol="1270" anchor="b" anchorCtr="0">
          <a:noAutofit/>
        </a:bodyPr>
        <a:lstStyle/>
        <a:p>
          <a:pPr marL="0" lvl="0" indent="0" algn="l" defTabSz="2889250">
            <a:lnSpc>
              <a:spcPct val="90000"/>
            </a:lnSpc>
            <a:spcBef>
              <a:spcPct val="0"/>
            </a:spcBef>
            <a:spcAft>
              <a:spcPct val="35000"/>
            </a:spcAft>
            <a:buNone/>
          </a:pPr>
          <a:r>
            <a:rPr sz="6500" kern="1200" dirty="0"/>
            <a:t>.</a:t>
          </a:r>
          <a:endParaRPr lang="en-US" sz="6500" kern="1200" dirty="0"/>
        </a:p>
      </dsp:txBody>
      <dsp:txXfrm>
        <a:off x="0" y="0"/>
        <a:ext cx="2079336" cy="2066661"/>
      </dsp:txXfrm>
    </dsp:sp>
    <dsp:sp modelId="{A1DF2F55-7E56-40CC-9A9B-03F072EC6350}">
      <dsp:nvSpPr>
        <dsp:cNvPr id="0" name=""/>
        <dsp:cNvSpPr/>
      </dsp:nvSpPr>
      <dsp:spPr>
        <a:xfrm>
          <a:off x="2676525" y="307088"/>
          <a:ext cx="1293310" cy="1147858"/>
        </a:xfrm>
        <a:prstGeom prst="ellipse">
          <a:avLst/>
        </a:prstGeom>
        <a:blipFill>
          <a:blip xmlns:r="http://schemas.openxmlformats.org/officeDocument/2006/relationships" r:embed="rId2"/>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CB1C0CC-1256-4E9A-84AA-C0FA3F28B65D}">
      <dsp:nvSpPr>
        <dsp:cNvPr id="0" name=""/>
        <dsp:cNvSpPr/>
      </dsp:nvSpPr>
      <dsp:spPr>
        <a:xfrm>
          <a:off x="3788179" y="416019"/>
          <a:ext cx="142714" cy="9299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71120" rIns="142240" bIns="71120" numCol="1" spcCol="1270" anchor="ctr" anchorCtr="0">
          <a:noAutofit/>
        </a:bodyPr>
        <a:lstStyle/>
        <a:p>
          <a:pPr marL="0" lvl="0" indent="0" algn="l" defTabSz="2489200">
            <a:lnSpc>
              <a:spcPct val="90000"/>
            </a:lnSpc>
            <a:spcBef>
              <a:spcPct val="0"/>
            </a:spcBef>
            <a:spcAft>
              <a:spcPct val="35000"/>
            </a:spcAft>
            <a:buNone/>
          </a:pPr>
          <a:endParaRPr lang="en-US" sz="5600" kern="1200" dirty="0"/>
        </a:p>
      </dsp:txBody>
      <dsp:txXfrm>
        <a:off x="3788179" y="416019"/>
        <a:ext cx="142714" cy="929997"/>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BDA541-DC70-4E8D-ABA8-220FD3AC2B98}">
      <dsp:nvSpPr>
        <dsp:cNvPr id="0" name=""/>
        <dsp:cNvSpPr/>
      </dsp:nvSpPr>
      <dsp:spPr>
        <a:xfrm rot="16200000">
          <a:off x="1102072" y="-1099057"/>
          <a:ext cx="3970318" cy="6168432"/>
        </a:xfrm>
        <a:prstGeom prst="flowChartManualOperation">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28600" tIns="0" rIns="228600" bIns="0" numCol="1" spcCol="1270" anchor="t" anchorCtr="0">
          <a:noAutofit/>
        </a:bodyPr>
        <a:lstStyle/>
        <a:p>
          <a:pPr marL="0" lvl="0" indent="0" algn="l" defTabSz="1600200">
            <a:lnSpc>
              <a:spcPct val="90000"/>
            </a:lnSpc>
            <a:spcBef>
              <a:spcPct val="0"/>
            </a:spcBef>
            <a:spcAft>
              <a:spcPct val="35000"/>
            </a:spcAft>
            <a:buNone/>
            <a:defRPr sz="2000"/>
          </a:pPr>
          <a:r>
            <a:rPr sz="3600" kern="1200"/>
            <a:t>Oslo, Norveç, otomobil kullanımını azaltma ve sürdürülebilir ulaşım modlarını teşvik etme çabalarıyla tanınıyor. İşte neler yapıldığına dair bazı örnekler:</a:t>
          </a:r>
        </a:p>
        <a:p>
          <a:pPr marL="285750" lvl="1" indent="-285750" algn="l" defTabSz="1600200">
            <a:lnSpc>
              <a:spcPct val="90000"/>
            </a:lnSpc>
            <a:spcBef>
              <a:spcPct val="0"/>
            </a:spcBef>
            <a:spcAft>
              <a:spcPct val="15000"/>
            </a:spcAft>
            <a:buChar char="•"/>
            <a:defRPr sz="1200"/>
          </a:pPr>
          <a:r>
            <a:rPr sz="3600" b="1" kern="1200"/>
            <a:t>Araçsız Şehir Merkezi: </a:t>
          </a:r>
          <a:r>
            <a:rPr sz="3600" kern="1200"/>
            <a:t>Oslo, 2019 yılına kadar araçsız bir şehir merkezi oluşturmayı planlıyor ve çoğu araba bölgeden yasaklandı ve yaya ve bisiklet altyapısı iyileştirildi.</a:t>
          </a:r>
        </a:p>
        <a:p>
          <a:pPr marL="285750" lvl="1" indent="-285750" algn="l" defTabSz="1600200">
            <a:lnSpc>
              <a:spcPct val="90000"/>
            </a:lnSpc>
            <a:spcBef>
              <a:spcPct val="0"/>
            </a:spcBef>
            <a:spcAft>
              <a:spcPct val="15000"/>
            </a:spcAft>
            <a:buChar char="•"/>
            <a:defRPr sz="1200"/>
          </a:pPr>
          <a:r>
            <a:rPr sz="3600" b="1" kern="1200"/>
            <a:t>Kapsamlı Bisiklet Altyapısı: </a:t>
          </a:r>
          <a:r>
            <a:rPr sz="3600" kern="1200"/>
            <a:t>Oslo, korunan bisiklet şeritleri ve bisiklet dostu kavşaklardan oluşan bir ağ da dahil olmak üzere 60 kilometreden fazla özel bisiklet şeridi ile kapsamlı bir bisiklet altyapısı geliştirmiştir.</a:t>
          </a:r>
        </a:p>
        <a:p>
          <a:pPr marL="285750" lvl="1" indent="-285750" algn="l" defTabSz="1600200">
            <a:lnSpc>
              <a:spcPct val="90000"/>
            </a:lnSpc>
            <a:spcBef>
              <a:spcPct val="0"/>
            </a:spcBef>
            <a:spcAft>
              <a:spcPct val="15000"/>
            </a:spcAft>
            <a:buChar char="•"/>
            <a:defRPr sz="1200"/>
          </a:pPr>
          <a:r>
            <a:rPr sz="3600" b="1" kern="1200"/>
            <a:t>Tıkanıklık Fiyatlandırması: </a:t>
          </a:r>
          <a:r>
            <a:rPr sz="3600" kern="1200"/>
            <a:t>Oslo, sürücülerin yoğun saatlerde şehir merkezine girmeleri, trafik sıkışıklığını azaltmaları ve hava kalitesini iyileştirmeleri için bir ücret talep ettikleri bir tıkanıklık fiyatlandırma planı uyguladı.</a:t>
          </a:r>
        </a:p>
      </dsp:txBody>
      <dsp:txXfrm rot="5400000">
        <a:off x="3015" y="794064"/>
        <a:ext cx="6168432" cy="2382190"/>
      </dsp:txXfrm>
    </dsp:sp>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FA5A429-2673-43DB-A52C-79E0623C6AAB}">
      <dsp:nvSpPr>
        <dsp:cNvPr id="0" name=""/>
        <dsp:cNvSpPr/>
      </dsp:nvSpPr>
      <dsp:spPr>
        <a:xfrm>
          <a:off x="2482459" y="479"/>
          <a:ext cx="3723690" cy="1871311"/>
        </a:xfrm>
        <a:prstGeom prst="rightArrow">
          <a:avLst>
            <a:gd name="adj1" fmla="val 75000"/>
            <a:gd name="adj2" fmla="val 50000"/>
          </a:avLst>
        </a:prstGeom>
        <a:solidFill>
          <a:schemeClr val="accent4">
            <a:tint val="40000"/>
            <a:alpha val="90000"/>
            <a:hueOff val="0"/>
            <a:satOff val="0"/>
            <a:lumOff val="0"/>
            <a:alphaOff val="0"/>
          </a:schemeClr>
        </a:solidFill>
        <a:ln w="12700" cap="flat" cmpd="sng" algn="ctr">
          <a:solidFill>
            <a:schemeClr val="accent4">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22860" rIns="22860" bIns="22860" numCol="1" spcCol="1270" anchor="t" anchorCtr="0">
          <a:noAutofit/>
        </a:bodyPr>
        <a:lstStyle/>
        <a:p>
          <a:pPr marL="285750" lvl="1" indent="-285750" algn="l" defTabSz="1600200">
            <a:lnSpc>
              <a:spcPct val="90000"/>
            </a:lnSpc>
            <a:spcBef>
              <a:spcPct val="0"/>
            </a:spcBef>
            <a:spcAft>
              <a:spcPct val="15000"/>
            </a:spcAft>
            <a:buChar char="•"/>
            <a:defRPr sz="800"/>
          </a:pPr>
          <a:r>
            <a:rPr sz="3600" b="1" kern="1200" dirty="0" err="1"/>
            <a:t>Entegre</a:t>
          </a:r>
          <a:r>
            <a:rPr sz="3600" b="1" kern="1200" dirty="0"/>
            <a:t> </a:t>
          </a:r>
          <a:r>
            <a:rPr sz="3600" b="1" kern="1200" dirty="0" err="1"/>
            <a:t>Otobüs</a:t>
          </a:r>
          <a:r>
            <a:rPr sz="3600" b="1" kern="1200" dirty="0"/>
            <a:t> </a:t>
          </a:r>
          <a:r>
            <a:rPr sz="3600" b="1" kern="1200" dirty="0" err="1"/>
            <a:t>Hızlı</a:t>
          </a:r>
          <a:r>
            <a:rPr sz="3600" b="1" kern="1200" dirty="0"/>
            <a:t> </a:t>
          </a:r>
          <a:r>
            <a:rPr sz="3600" b="1" kern="1200" dirty="0" err="1"/>
            <a:t>Geçiş</a:t>
          </a:r>
          <a:r>
            <a:rPr sz="3600" b="1" kern="1200" dirty="0"/>
            <a:t> (BRT) </a:t>
          </a:r>
          <a:r>
            <a:rPr sz="3600" b="1" kern="1200" dirty="0" err="1"/>
            <a:t>Sistemi</a:t>
          </a:r>
          <a:r>
            <a:rPr sz="3600" kern="1200" dirty="0"/>
            <a:t>: </a:t>
          </a:r>
          <a:r>
            <a:rPr sz="3600" kern="1200" dirty="0" err="1"/>
            <a:t>Curitiba'nın</a:t>
          </a:r>
          <a:r>
            <a:rPr sz="3600" kern="1200" dirty="0"/>
            <a:t> Rede </a:t>
          </a:r>
          <a:r>
            <a:rPr sz="3600" kern="1200" dirty="0" err="1"/>
            <a:t>Integrada</a:t>
          </a:r>
          <a:r>
            <a:rPr sz="3600" kern="1200" dirty="0"/>
            <a:t> de </a:t>
          </a:r>
          <a:r>
            <a:rPr sz="3600" kern="1200" dirty="0" err="1"/>
            <a:t>Transporte</a:t>
          </a:r>
          <a:r>
            <a:rPr sz="3600" kern="1200" dirty="0"/>
            <a:t> (RIT) </a:t>
          </a:r>
          <a:r>
            <a:rPr sz="3600" kern="1200" dirty="0" err="1"/>
            <a:t>olarak</a:t>
          </a:r>
          <a:r>
            <a:rPr sz="3600" kern="1200" dirty="0"/>
            <a:t> </a:t>
          </a:r>
          <a:r>
            <a:rPr sz="3600" kern="1200" dirty="0" err="1"/>
            <a:t>bilinen</a:t>
          </a:r>
          <a:r>
            <a:rPr sz="3600" kern="1200" dirty="0"/>
            <a:t> BRT </a:t>
          </a:r>
          <a:r>
            <a:rPr sz="3600" kern="1200" dirty="0" err="1"/>
            <a:t>sistemi</a:t>
          </a:r>
          <a:r>
            <a:rPr sz="3600" kern="1200" dirty="0"/>
            <a:t>, </a:t>
          </a:r>
          <a:r>
            <a:rPr sz="3600" kern="1200" dirty="0" err="1"/>
            <a:t>dünyanın</a:t>
          </a:r>
          <a:r>
            <a:rPr sz="3600" kern="1200" dirty="0"/>
            <a:t> </a:t>
          </a:r>
          <a:r>
            <a:rPr sz="3600" kern="1200" dirty="0" err="1"/>
            <a:t>en</a:t>
          </a:r>
          <a:r>
            <a:rPr sz="3600" kern="1200" dirty="0"/>
            <a:t> </a:t>
          </a:r>
          <a:r>
            <a:rPr sz="3600" kern="1200" dirty="0" err="1"/>
            <a:t>büyük</a:t>
          </a:r>
          <a:r>
            <a:rPr sz="3600" kern="1200" dirty="0"/>
            <a:t> </a:t>
          </a:r>
          <a:r>
            <a:rPr sz="3600" kern="1200" dirty="0" err="1"/>
            <a:t>ve</a:t>
          </a:r>
          <a:r>
            <a:rPr sz="3600" kern="1200" dirty="0"/>
            <a:t> </a:t>
          </a:r>
          <a:r>
            <a:rPr sz="3600" kern="1200" dirty="0" err="1"/>
            <a:t>en</a:t>
          </a:r>
          <a:r>
            <a:rPr sz="3600" kern="1200" dirty="0"/>
            <a:t> </a:t>
          </a:r>
          <a:r>
            <a:rPr sz="3600" kern="1200" dirty="0" err="1"/>
            <a:t>verimli</a:t>
          </a:r>
          <a:r>
            <a:rPr sz="3600" kern="1200" dirty="0"/>
            <a:t> </a:t>
          </a:r>
          <a:r>
            <a:rPr sz="3600" kern="1200" dirty="0" err="1"/>
            <a:t>sistemlerinden</a:t>
          </a:r>
          <a:r>
            <a:rPr sz="3600" kern="1200" dirty="0"/>
            <a:t> </a:t>
          </a:r>
          <a:r>
            <a:rPr sz="3600" kern="1200" dirty="0" err="1"/>
            <a:t>biridir</a:t>
          </a:r>
          <a:r>
            <a:rPr sz="3600" kern="1200" dirty="0"/>
            <a:t>. Özel </a:t>
          </a:r>
          <a:r>
            <a:rPr sz="3600" kern="1200" dirty="0" err="1"/>
            <a:t>otobüs</a:t>
          </a:r>
          <a:r>
            <a:rPr sz="3600" kern="1200" dirty="0"/>
            <a:t> </a:t>
          </a:r>
          <a:r>
            <a:rPr sz="3600" kern="1200" dirty="0" err="1"/>
            <a:t>şeritleri</a:t>
          </a:r>
          <a:r>
            <a:rPr sz="3600" kern="1200" dirty="0"/>
            <a:t>, </a:t>
          </a:r>
          <a:r>
            <a:rPr sz="3600" kern="1200" dirty="0" err="1"/>
            <a:t>ön</a:t>
          </a:r>
          <a:r>
            <a:rPr sz="3600" kern="1200" dirty="0"/>
            <a:t> </a:t>
          </a:r>
          <a:r>
            <a:rPr sz="3600" kern="1200" dirty="0" err="1"/>
            <a:t>ödemeli</a:t>
          </a:r>
          <a:r>
            <a:rPr sz="3600" kern="1200" dirty="0"/>
            <a:t> </a:t>
          </a:r>
          <a:r>
            <a:rPr sz="3600" kern="1200" dirty="0" err="1"/>
            <a:t>biniş</a:t>
          </a:r>
          <a:r>
            <a:rPr sz="3600" kern="1200" dirty="0"/>
            <a:t> </a:t>
          </a:r>
          <a:r>
            <a:rPr sz="3600" kern="1200" dirty="0" err="1"/>
            <a:t>ve</a:t>
          </a:r>
          <a:r>
            <a:rPr sz="3600" kern="1200" dirty="0"/>
            <a:t> </a:t>
          </a:r>
          <a:r>
            <a:rPr sz="3600" kern="1200" dirty="0" err="1"/>
            <a:t>otobüs</a:t>
          </a:r>
          <a:r>
            <a:rPr sz="3600" kern="1200" dirty="0"/>
            <a:t> </a:t>
          </a:r>
          <a:r>
            <a:rPr sz="3600" kern="1200" dirty="0" err="1"/>
            <a:t>katlarıyla</a:t>
          </a:r>
          <a:r>
            <a:rPr sz="3600" kern="1200" dirty="0"/>
            <a:t> </a:t>
          </a:r>
          <a:r>
            <a:rPr sz="3600" kern="1200" dirty="0" err="1"/>
            <a:t>aynı</a:t>
          </a:r>
          <a:r>
            <a:rPr sz="3600" kern="1200" dirty="0"/>
            <a:t> </a:t>
          </a:r>
          <a:r>
            <a:rPr sz="3600" kern="1200" dirty="0" err="1"/>
            <a:t>seviyede</a:t>
          </a:r>
          <a:r>
            <a:rPr sz="3600" kern="1200" dirty="0"/>
            <a:t> </a:t>
          </a:r>
          <a:r>
            <a:rPr sz="3600" kern="1200" dirty="0" err="1"/>
            <a:t>olan</a:t>
          </a:r>
          <a:r>
            <a:rPr sz="3600" kern="1200" dirty="0"/>
            <a:t> </a:t>
          </a:r>
          <a:r>
            <a:rPr sz="3600" kern="1200" dirty="0" err="1"/>
            <a:t>ve</a:t>
          </a:r>
          <a:r>
            <a:rPr sz="3600" kern="1200" dirty="0"/>
            <a:t> </a:t>
          </a:r>
          <a:r>
            <a:rPr sz="3600" kern="1200" dirty="0" err="1"/>
            <a:t>hızlı</a:t>
          </a:r>
          <a:r>
            <a:rPr sz="3600" kern="1200" dirty="0"/>
            <a:t> </a:t>
          </a:r>
          <a:r>
            <a:rPr sz="3600" kern="1200" dirty="0" err="1"/>
            <a:t>ve</a:t>
          </a:r>
          <a:r>
            <a:rPr sz="3600" kern="1200" dirty="0"/>
            <a:t> </a:t>
          </a:r>
          <a:r>
            <a:rPr sz="3600" kern="1200" dirty="0" err="1"/>
            <a:t>kolay</a:t>
          </a:r>
          <a:r>
            <a:rPr sz="3600" kern="1200" dirty="0"/>
            <a:t> </a:t>
          </a:r>
          <a:r>
            <a:rPr sz="3600" kern="1200" dirty="0" err="1"/>
            <a:t>biniş</a:t>
          </a:r>
          <a:r>
            <a:rPr sz="3600" kern="1200" dirty="0"/>
            <a:t> </a:t>
          </a:r>
          <a:r>
            <a:rPr sz="3600" kern="1200" dirty="0" err="1"/>
            <a:t>sağlayan</a:t>
          </a:r>
          <a:r>
            <a:rPr sz="3600" kern="1200" dirty="0"/>
            <a:t> </a:t>
          </a:r>
          <a:r>
            <a:rPr sz="3600" kern="1200" dirty="0" err="1"/>
            <a:t>istasyon</a:t>
          </a:r>
          <a:r>
            <a:rPr sz="3600" kern="1200" dirty="0"/>
            <a:t> </a:t>
          </a:r>
          <a:r>
            <a:rPr sz="3600" kern="1200" dirty="0" err="1"/>
            <a:t>platformlarına</a:t>
          </a:r>
          <a:r>
            <a:rPr sz="3600" kern="1200" dirty="0"/>
            <a:t> </a:t>
          </a:r>
          <a:r>
            <a:rPr sz="3600" kern="1200" dirty="0" err="1"/>
            <a:t>sahiptir</a:t>
          </a:r>
          <a:r>
            <a:rPr sz="3600" kern="1200" dirty="0"/>
            <a:t>.</a:t>
          </a:r>
        </a:p>
        <a:p>
          <a:pPr marL="285750" lvl="1" indent="-285750" algn="l" defTabSz="1600200">
            <a:lnSpc>
              <a:spcPct val="90000"/>
            </a:lnSpc>
            <a:spcBef>
              <a:spcPct val="0"/>
            </a:spcBef>
            <a:spcAft>
              <a:spcPct val="15000"/>
            </a:spcAft>
            <a:buChar char="•"/>
            <a:defRPr sz="800"/>
          </a:pPr>
          <a:r>
            <a:rPr sz="3600" kern="1200"/>
            <a:t>Şehir merkezinde sadece yaya bölgelerinin oluşturulması ve bir ulaşım şekli olarak yürümenin teşvik edilmesi</a:t>
          </a:r>
        </a:p>
        <a:p>
          <a:pPr marL="285750" lvl="1" indent="-285750" algn="l" defTabSz="1600200">
            <a:lnSpc>
              <a:spcPct val="90000"/>
            </a:lnSpc>
            <a:spcBef>
              <a:spcPct val="0"/>
            </a:spcBef>
            <a:spcAft>
              <a:spcPct val="15000"/>
            </a:spcAft>
            <a:buChar char="•"/>
            <a:defRPr sz="800"/>
          </a:pPr>
          <a:r>
            <a:rPr sz="3600" kern="1200"/>
            <a:t>Bisiklet paylaşım programları ve bisiklet şeritlerinin oluşturulması yoluyla bisiklet kullanımını teşvik etmek</a:t>
          </a:r>
        </a:p>
        <a:p>
          <a:pPr marL="285750" lvl="1" indent="-285750" algn="l" defTabSz="1600200">
            <a:lnSpc>
              <a:spcPct val="90000"/>
            </a:lnSpc>
            <a:spcBef>
              <a:spcPct val="0"/>
            </a:spcBef>
            <a:spcAft>
              <a:spcPct val="15000"/>
            </a:spcAft>
            <a:buChar char="•"/>
            <a:defRPr sz="800"/>
          </a:pPr>
          <a:r>
            <a:rPr sz="3600" kern="1200"/>
            <a:t>Geliştiricilerin toplu taşıma istasyonlarının yakınında inşa etmeleri için teşvikler sağlamak</a:t>
          </a:r>
        </a:p>
        <a:p>
          <a:pPr marL="285750" lvl="1" indent="-285750" algn="l" defTabSz="1600200">
            <a:lnSpc>
              <a:spcPct val="90000"/>
            </a:lnSpc>
            <a:spcBef>
              <a:spcPct val="0"/>
            </a:spcBef>
            <a:spcAft>
              <a:spcPct val="15000"/>
            </a:spcAft>
            <a:buChar char="•"/>
            <a:defRPr sz="800"/>
          </a:pPr>
          <a:r>
            <a:rPr sz="3600" kern="1200"/>
            <a:t>Doğal gaz gibi araçlar için alternatif yakıtların kullanımını teşvik etmek</a:t>
          </a:r>
        </a:p>
      </dsp:txBody>
      <dsp:txXfrm>
        <a:off x="2482459" y="234393"/>
        <a:ext cx="3021948" cy="1403483"/>
      </dsp:txXfrm>
    </dsp:sp>
    <dsp:sp modelId="{25D95E1D-7C74-41F8-832A-5D446C8DB04E}">
      <dsp:nvSpPr>
        <dsp:cNvPr id="0" name=""/>
        <dsp:cNvSpPr/>
      </dsp:nvSpPr>
      <dsp:spPr>
        <a:xfrm>
          <a:off x="0" y="479"/>
          <a:ext cx="2482460" cy="1871311"/>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defRPr sz="1000"/>
          </a:pPr>
          <a:r>
            <a:rPr sz="3600" kern="1200" dirty="0" err="1"/>
            <a:t>Curitiba'nın</a:t>
          </a:r>
          <a:r>
            <a:rPr sz="3600" kern="1200" dirty="0"/>
            <a:t> “Master Plan” </a:t>
          </a:r>
          <a:r>
            <a:rPr sz="3600" kern="1200" dirty="0" err="1"/>
            <a:t>olarak</a:t>
          </a:r>
          <a:r>
            <a:rPr sz="3600" kern="1200" dirty="0"/>
            <a:t> </a:t>
          </a:r>
          <a:r>
            <a:rPr sz="3600" kern="1200" dirty="0" err="1"/>
            <a:t>bilinen</a:t>
          </a:r>
          <a:r>
            <a:rPr sz="3600" kern="1200" dirty="0"/>
            <a:t> </a:t>
          </a:r>
          <a:r>
            <a:rPr sz="3600" kern="1200" dirty="0" err="1"/>
            <a:t>mobilite</a:t>
          </a:r>
          <a:r>
            <a:rPr sz="3600" kern="1200" dirty="0"/>
            <a:t> </a:t>
          </a:r>
          <a:r>
            <a:rPr sz="3600" kern="1200" dirty="0" err="1"/>
            <a:t>planı</a:t>
          </a:r>
          <a:r>
            <a:rPr sz="3600" kern="1200" dirty="0"/>
            <a:t> ilk </a:t>
          </a:r>
          <a:r>
            <a:rPr sz="3600" kern="1200" dirty="0" err="1"/>
            <a:t>olarak</a:t>
          </a:r>
          <a:r>
            <a:rPr sz="3600" kern="1200" dirty="0"/>
            <a:t> 1970 '</a:t>
          </a:r>
          <a:r>
            <a:rPr sz="3600" kern="1200" dirty="0" err="1"/>
            <a:t>lerde</a:t>
          </a:r>
          <a:r>
            <a:rPr sz="3600" kern="1200" dirty="0"/>
            <a:t> </a:t>
          </a:r>
          <a:r>
            <a:rPr sz="3600" kern="1200" dirty="0" err="1"/>
            <a:t>uygulandı</a:t>
          </a:r>
          <a:r>
            <a:rPr sz="3600" kern="1200" dirty="0"/>
            <a:t> </a:t>
          </a:r>
          <a:r>
            <a:rPr sz="3600" kern="1200" dirty="0" err="1"/>
            <a:t>ve</a:t>
          </a:r>
          <a:r>
            <a:rPr sz="3600" kern="1200" dirty="0"/>
            <a:t> o </a:t>
          </a:r>
          <a:r>
            <a:rPr sz="3600" kern="1200" dirty="0" err="1"/>
            <a:t>zamandan</a:t>
          </a:r>
          <a:r>
            <a:rPr sz="3600" kern="1200" dirty="0"/>
            <a:t> </a:t>
          </a:r>
          <a:r>
            <a:rPr sz="3600" kern="1200" dirty="0" err="1"/>
            <a:t>beri</a:t>
          </a:r>
          <a:r>
            <a:rPr sz="3600" kern="1200" dirty="0"/>
            <a:t> </a:t>
          </a:r>
          <a:r>
            <a:rPr sz="3600" kern="1200" dirty="0" err="1"/>
            <a:t>otobüs</a:t>
          </a:r>
          <a:r>
            <a:rPr sz="3600" kern="1200" dirty="0"/>
            <a:t> </a:t>
          </a:r>
          <a:r>
            <a:rPr sz="3600" kern="1200" dirty="0" err="1"/>
            <a:t>hızlı</a:t>
          </a:r>
          <a:r>
            <a:rPr sz="3600" kern="1200" dirty="0"/>
            <a:t> transit </a:t>
          </a:r>
          <a:r>
            <a:rPr sz="3600" kern="1200" dirty="0" err="1"/>
            <a:t>ve</a:t>
          </a:r>
          <a:r>
            <a:rPr sz="3600" kern="1200" dirty="0"/>
            <a:t> </a:t>
          </a:r>
          <a:r>
            <a:rPr sz="3600" kern="1200" dirty="0" err="1"/>
            <a:t>bisiklet</a:t>
          </a:r>
          <a:r>
            <a:rPr sz="3600" kern="1200" dirty="0"/>
            <a:t> </a:t>
          </a:r>
          <a:r>
            <a:rPr sz="3600" kern="1200" dirty="0" err="1"/>
            <a:t>paylaşım</a:t>
          </a:r>
          <a:r>
            <a:rPr sz="3600" kern="1200" dirty="0"/>
            <a:t> </a:t>
          </a:r>
          <a:r>
            <a:rPr sz="3600" kern="1200" dirty="0" err="1"/>
            <a:t>programları</a:t>
          </a:r>
          <a:r>
            <a:rPr sz="3600" kern="1200" dirty="0"/>
            <a:t> </a:t>
          </a:r>
          <a:r>
            <a:rPr sz="3600" kern="1200" dirty="0" err="1"/>
            <a:t>gibi</a:t>
          </a:r>
          <a:r>
            <a:rPr sz="3600" kern="1200" dirty="0"/>
            <a:t> </a:t>
          </a:r>
          <a:r>
            <a:rPr sz="3600" kern="1200" dirty="0" err="1"/>
            <a:t>girişimleri</a:t>
          </a:r>
          <a:r>
            <a:rPr sz="3600" kern="1200" dirty="0"/>
            <a:t> </a:t>
          </a:r>
          <a:r>
            <a:rPr sz="3600" kern="1200" dirty="0" err="1"/>
            <a:t>içerecek</a:t>
          </a:r>
          <a:r>
            <a:rPr sz="3600" kern="1200" dirty="0"/>
            <a:t> </a:t>
          </a:r>
          <a:r>
            <a:rPr sz="3600" kern="1200" dirty="0" err="1"/>
            <a:t>şekilde</a:t>
          </a:r>
          <a:r>
            <a:rPr sz="3600" kern="1200" dirty="0"/>
            <a:t> </a:t>
          </a:r>
          <a:r>
            <a:rPr sz="3600" kern="1200" dirty="0" err="1"/>
            <a:t>güncellendi</a:t>
          </a:r>
          <a:r>
            <a:rPr sz="3600" kern="1200" dirty="0"/>
            <a:t>. Plan </a:t>
          </a:r>
          <a:r>
            <a:rPr sz="3600" kern="1200" dirty="0" err="1"/>
            <a:t>tıkanıklığı</a:t>
          </a:r>
          <a:r>
            <a:rPr sz="3600" kern="1200" dirty="0"/>
            <a:t> </a:t>
          </a:r>
          <a:r>
            <a:rPr sz="3600" kern="1200" dirty="0" err="1"/>
            <a:t>azaltmaya</a:t>
          </a:r>
          <a:r>
            <a:rPr sz="3600" kern="1200" dirty="0"/>
            <a:t>, </a:t>
          </a:r>
          <a:r>
            <a:rPr sz="3600" kern="1200" dirty="0" err="1"/>
            <a:t>hava</a:t>
          </a:r>
          <a:r>
            <a:rPr sz="3600" kern="1200" dirty="0"/>
            <a:t> </a:t>
          </a:r>
          <a:r>
            <a:rPr sz="3600" kern="1200" dirty="0" err="1"/>
            <a:t>kalitesini</a:t>
          </a:r>
          <a:r>
            <a:rPr sz="3600" kern="1200" dirty="0"/>
            <a:t> </a:t>
          </a:r>
          <a:r>
            <a:rPr sz="3600" kern="1200" dirty="0" err="1"/>
            <a:t>iyileştirmeye</a:t>
          </a:r>
          <a:r>
            <a:rPr sz="3600" kern="1200" dirty="0"/>
            <a:t> </a:t>
          </a:r>
          <a:r>
            <a:rPr sz="3600" kern="1200" dirty="0" err="1"/>
            <a:t>ve</a:t>
          </a:r>
          <a:r>
            <a:rPr sz="3600" kern="1200" dirty="0"/>
            <a:t> </a:t>
          </a:r>
          <a:r>
            <a:rPr sz="3600" kern="1200" dirty="0" err="1"/>
            <a:t>sürdürülebilir</a:t>
          </a:r>
          <a:r>
            <a:rPr sz="3600" kern="1200" dirty="0"/>
            <a:t> </a:t>
          </a:r>
          <a:r>
            <a:rPr sz="3600" kern="1200" dirty="0" err="1"/>
            <a:t>ulaşım</a:t>
          </a:r>
          <a:r>
            <a:rPr sz="3600" kern="1200" dirty="0"/>
            <a:t> </a:t>
          </a:r>
          <a:r>
            <a:rPr sz="3600" kern="1200" dirty="0" err="1"/>
            <a:t>seçeneklerini</a:t>
          </a:r>
          <a:r>
            <a:rPr sz="3600" kern="1200" dirty="0"/>
            <a:t> </a:t>
          </a:r>
          <a:r>
            <a:rPr sz="3600" kern="1200" dirty="0" err="1"/>
            <a:t>teşvik</a:t>
          </a:r>
          <a:r>
            <a:rPr sz="3600" kern="1200" dirty="0"/>
            <a:t> </a:t>
          </a:r>
          <a:r>
            <a:rPr sz="3600" kern="1200" dirty="0" err="1"/>
            <a:t>etmeye</a:t>
          </a:r>
          <a:r>
            <a:rPr sz="3600" kern="1200" dirty="0"/>
            <a:t> </a:t>
          </a:r>
          <a:r>
            <a:rPr sz="3600" kern="1200" dirty="0" err="1"/>
            <a:t>yardımcı</a:t>
          </a:r>
          <a:r>
            <a:rPr sz="3600" kern="1200" dirty="0"/>
            <a:t> </a:t>
          </a:r>
          <a:r>
            <a:rPr sz="3600" kern="1200" dirty="0" err="1"/>
            <a:t>oldu</a:t>
          </a:r>
          <a:r>
            <a:rPr sz="3600" kern="1200" dirty="0"/>
            <a:t>. Ana </a:t>
          </a:r>
          <a:r>
            <a:rPr sz="3600" kern="1200" dirty="0" err="1"/>
            <a:t>Planın</a:t>
          </a:r>
          <a:r>
            <a:rPr sz="3600" kern="1200" dirty="0"/>
            <a:t> </a:t>
          </a:r>
          <a:r>
            <a:rPr sz="3600" kern="1200" dirty="0" err="1"/>
            <a:t>önemli</a:t>
          </a:r>
          <a:r>
            <a:rPr sz="3600" kern="1200" dirty="0"/>
            <a:t> </a:t>
          </a:r>
          <a:r>
            <a:rPr sz="3600" kern="1200" dirty="0" err="1"/>
            <a:t>girişimlerinden</a:t>
          </a:r>
          <a:r>
            <a:rPr sz="3600" kern="1200" dirty="0"/>
            <a:t> </a:t>
          </a:r>
          <a:r>
            <a:rPr sz="3600" kern="1200" dirty="0" err="1"/>
            <a:t>bazıları</a:t>
          </a:r>
          <a:r>
            <a:rPr sz="3600" kern="1200" dirty="0"/>
            <a:t> </a:t>
          </a:r>
          <a:r>
            <a:rPr sz="3600" kern="1200" dirty="0" err="1"/>
            <a:t>şunlardır</a:t>
          </a:r>
          <a:r>
            <a:rPr sz="3600" kern="1200" dirty="0"/>
            <a:t>:</a:t>
          </a:r>
        </a:p>
      </dsp:txBody>
      <dsp:txXfrm>
        <a:off x="91350" y="91829"/>
        <a:ext cx="2299760" cy="1688611"/>
      </dsp:txXfrm>
    </dsp:sp>
    <dsp:sp modelId="{DBEAEF16-C486-4B37-8B73-D1C2B13BAC57}">
      <dsp:nvSpPr>
        <dsp:cNvPr id="0" name=""/>
        <dsp:cNvSpPr/>
      </dsp:nvSpPr>
      <dsp:spPr>
        <a:xfrm>
          <a:off x="1749116" y="2059401"/>
          <a:ext cx="3723690" cy="1871311"/>
        </a:xfrm>
        <a:prstGeom prst="rightArrow">
          <a:avLst>
            <a:gd name="adj1" fmla="val 75000"/>
            <a:gd name="adj2" fmla="val 50000"/>
          </a:avLst>
        </a:prstGeom>
        <a:solidFill>
          <a:schemeClr val="accent4">
            <a:tint val="40000"/>
            <a:alpha val="90000"/>
            <a:hueOff val="10861925"/>
            <a:satOff val="-51245"/>
            <a:lumOff val="-1851"/>
            <a:alphaOff val="0"/>
          </a:schemeClr>
        </a:solidFill>
        <a:ln w="12700" cap="flat" cmpd="sng" algn="ctr">
          <a:solidFill>
            <a:schemeClr val="accent4">
              <a:tint val="40000"/>
              <a:alpha val="90000"/>
              <a:hueOff val="10861925"/>
              <a:satOff val="-51245"/>
              <a:lumOff val="-1851"/>
              <a:alphaOff val="0"/>
            </a:schemeClr>
          </a:solidFill>
          <a:prstDash val="solid"/>
          <a:miter lim="800000"/>
        </a:ln>
        <a:effectLst/>
      </dsp:spPr>
      <dsp:style>
        <a:lnRef idx="2">
          <a:scrgbClr r="0" g="0" b="0"/>
        </a:lnRef>
        <a:fillRef idx="1">
          <a:scrgbClr r="0" g="0" b="0"/>
        </a:fillRef>
        <a:effectRef idx="0">
          <a:scrgbClr r="0" g="0" b="0"/>
        </a:effectRef>
        <a:fontRef idx="minor"/>
      </dsp:style>
    </dsp:sp>
    <dsp:sp modelId="{1CF4261D-786F-40CC-B2F2-0ED7FC4FDE98}">
      <dsp:nvSpPr>
        <dsp:cNvPr id="0" name=""/>
        <dsp:cNvSpPr/>
      </dsp:nvSpPr>
      <dsp:spPr>
        <a:xfrm>
          <a:off x="1901241" y="2059401"/>
          <a:ext cx="2482460" cy="1871311"/>
        </a:xfrm>
        <a:prstGeom prst="roundRect">
          <a:avLst/>
        </a:prstGeom>
        <a:solidFill>
          <a:schemeClr val="accent4">
            <a:hueOff val="9800891"/>
            <a:satOff val="-40777"/>
            <a:lumOff val="960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7160" tIns="68580" rIns="137160" bIns="68580" numCol="1" spcCol="1270" anchor="ctr" anchorCtr="0">
          <a:noAutofit/>
        </a:bodyPr>
        <a:lstStyle/>
        <a:p>
          <a:pPr marL="0" lvl="0" indent="0" algn="ctr" defTabSz="1600200">
            <a:lnSpc>
              <a:spcPct val="90000"/>
            </a:lnSpc>
            <a:spcBef>
              <a:spcPct val="0"/>
            </a:spcBef>
            <a:spcAft>
              <a:spcPct val="35000"/>
            </a:spcAft>
            <a:buNone/>
            <a:defRPr sz="1800"/>
          </a:pPr>
          <a:r>
            <a:rPr sz="3600" kern="1200" dirty="0"/>
            <a:t>Bu </a:t>
          </a:r>
          <a:r>
            <a:rPr sz="3600" kern="1200" dirty="0" err="1"/>
            <a:t>önlemler</a:t>
          </a:r>
          <a:r>
            <a:rPr sz="3600" kern="1200" dirty="0"/>
            <a:t> </a:t>
          </a:r>
          <a:r>
            <a:rPr sz="3600" kern="1200" dirty="0" err="1"/>
            <a:t>Curitiba'yı</a:t>
          </a:r>
          <a:r>
            <a:rPr sz="3600" kern="1200" dirty="0"/>
            <a:t> </a:t>
          </a:r>
          <a:r>
            <a:rPr sz="3600" kern="1200" dirty="0" err="1"/>
            <a:t>sürdürülebilir</a:t>
          </a:r>
          <a:r>
            <a:rPr sz="3600" kern="1200" dirty="0"/>
            <a:t> </a:t>
          </a:r>
          <a:r>
            <a:rPr sz="3600" kern="1200" dirty="0" err="1"/>
            <a:t>kentsel</a:t>
          </a:r>
          <a:r>
            <a:rPr sz="3600" kern="1200" dirty="0"/>
            <a:t> </a:t>
          </a:r>
          <a:r>
            <a:rPr sz="3600" kern="1200" dirty="0" err="1"/>
            <a:t>planlama</a:t>
          </a:r>
          <a:r>
            <a:rPr sz="3600" kern="1200" dirty="0"/>
            <a:t> </a:t>
          </a:r>
          <a:r>
            <a:rPr sz="3600" kern="1200" dirty="0" err="1"/>
            <a:t>ve</a:t>
          </a:r>
          <a:r>
            <a:rPr sz="3600" kern="1200" dirty="0"/>
            <a:t> </a:t>
          </a:r>
          <a:r>
            <a:rPr sz="3600" kern="1200" dirty="0" err="1"/>
            <a:t>ulaşım</a:t>
          </a:r>
          <a:r>
            <a:rPr sz="3600" kern="1200" dirty="0"/>
            <a:t> </a:t>
          </a:r>
          <a:r>
            <a:rPr sz="3600" kern="1200" dirty="0" err="1"/>
            <a:t>için</a:t>
          </a:r>
          <a:r>
            <a:rPr sz="3600" kern="1200" dirty="0"/>
            <a:t> </a:t>
          </a:r>
          <a:r>
            <a:rPr sz="3600" kern="1200" dirty="0" err="1"/>
            <a:t>bir</a:t>
          </a:r>
          <a:r>
            <a:rPr sz="3600" kern="1200" dirty="0"/>
            <a:t> model </a:t>
          </a:r>
          <a:r>
            <a:rPr sz="3600" kern="1200" dirty="0" err="1"/>
            <a:t>haline</a:t>
          </a:r>
          <a:r>
            <a:rPr sz="3600" kern="1200" dirty="0"/>
            <a:t> </a:t>
          </a:r>
          <a:r>
            <a:rPr sz="3600" kern="1200" dirty="0" err="1"/>
            <a:t>getirmiştir</a:t>
          </a:r>
          <a:r>
            <a:rPr sz="3600" kern="1200" dirty="0"/>
            <a:t>.</a:t>
          </a:r>
        </a:p>
      </dsp:txBody>
      <dsp:txXfrm>
        <a:off x="1992591" y="2150751"/>
        <a:ext cx="2299760" cy="168861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0C12A0-6056-44DE-A5C1-D10741B796B7}">
      <dsp:nvSpPr>
        <dsp:cNvPr id="0" name=""/>
        <dsp:cNvSpPr/>
      </dsp:nvSpPr>
      <dsp:spPr>
        <a:xfrm>
          <a:off x="570094" y="93"/>
          <a:ext cx="3343575" cy="30396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l" defTabSz="533400">
            <a:lnSpc>
              <a:spcPct val="90000"/>
            </a:lnSpc>
            <a:spcBef>
              <a:spcPct val="0"/>
            </a:spcBef>
            <a:spcAft>
              <a:spcPct val="35000"/>
            </a:spcAft>
            <a:buNone/>
          </a:pPr>
          <a:r>
            <a:rPr sz="1200" kern="1200" dirty="0"/>
            <a:t>Problem 3: </a:t>
          </a:r>
          <a:r>
            <a:rPr sz="1200" kern="1200" dirty="0" err="1"/>
            <a:t>Aktif</a:t>
          </a:r>
          <a:r>
            <a:rPr sz="1200" kern="1200" dirty="0"/>
            <a:t> Ulaşım </a:t>
          </a:r>
          <a:r>
            <a:rPr sz="1200" kern="1200" dirty="0" err="1"/>
            <a:t>Altyapısının</a:t>
          </a:r>
          <a:r>
            <a:rPr sz="1200" kern="1200" dirty="0"/>
            <a:t> </a:t>
          </a:r>
          <a:r>
            <a:rPr sz="1200" kern="1200" dirty="0" err="1"/>
            <a:t>Olmaması</a:t>
          </a:r>
          <a:endParaRPr sz="1200" kern="1200" dirty="0"/>
        </a:p>
      </dsp:txBody>
      <dsp:txXfrm>
        <a:off x="570094" y="93"/>
        <a:ext cx="3343575" cy="303961"/>
      </dsp:txXfrm>
    </dsp:sp>
    <dsp:sp modelId="{9A1EF0CC-48CD-4BE1-9EFB-C62F539A9EDC}">
      <dsp:nvSpPr>
        <dsp:cNvPr id="0" name=""/>
        <dsp:cNvSpPr/>
      </dsp:nvSpPr>
      <dsp:spPr>
        <a:xfrm>
          <a:off x="570094" y="304055"/>
          <a:ext cx="782396" cy="619180"/>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DEEBDF8-F881-47EE-89BE-4F2819799EC7}">
      <dsp:nvSpPr>
        <dsp:cNvPr id="0" name=""/>
        <dsp:cNvSpPr/>
      </dsp:nvSpPr>
      <dsp:spPr>
        <a:xfrm>
          <a:off x="1040052" y="304055"/>
          <a:ext cx="782396" cy="619180"/>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C34C8F3-E9C6-4CF4-AF72-F3B07E0726CA}">
      <dsp:nvSpPr>
        <dsp:cNvPr id="0" name=""/>
        <dsp:cNvSpPr/>
      </dsp:nvSpPr>
      <dsp:spPr>
        <a:xfrm>
          <a:off x="1510382" y="304055"/>
          <a:ext cx="782396" cy="619180"/>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D7772D78-0301-4051-9EFF-79E21656A3E4}">
      <dsp:nvSpPr>
        <dsp:cNvPr id="0" name=""/>
        <dsp:cNvSpPr/>
      </dsp:nvSpPr>
      <dsp:spPr>
        <a:xfrm>
          <a:off x="1980340" y="304055"/>
          <a:ext cx="782396" cy="619180"/>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1A99D1D-E06B-460D-A1C6-4C6DFECC982C}">
      <dsp:nvSpPr>
        <dsp:cNvPr id="0" name=""/>
        <dsp:cNvSpPr/>
      </dsp:nvSpPr>
      <dsp:spPr>
        <a:xfrm>
          <a:off x="2450670" y="304055"/>
          <a:ext cx="782396" cy="619180"/>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1FC83DC-81B8-458B-8464-D10243D01EE7}">
      <dsp:nvSpPr>
        <dsp:cNvPr id="0" name=""/>
        <dsp:cNvSpPr/>
      </dsp:nvSpPr>
      <dsp:spPr>
        <a:xfrm>
          <a:off x="2920628" y="304055"/>
          <a:ext cx="782396" cy="619180"/>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633BBCE-C361-4776-8C61-A44CC2BFC88B}">
      <dsp:nvSpPr>
        <dsp:cNvPr id="0" name=""/>
        <dsp:cNvSpPr/>
      </dsp:nvSpPr>
      <dsp:spPr>
        <a:xfrm>
          <a:off x="3390957" y="304055"/>
          <a:ext cx="782396" cy="619180"/>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62CE297-C851-461A-8C09-791D991EF3EB}">
      <dsp:nvSpPr>
        <dsp:cNvPr id="0" name=""/>
        <dsp:cNvSpPr/>
      </dsp:nvSpPr>
      <dsp:spPr>
        <a:xfrm>
          <a:off x="570094" y="365973"/>
          <a:ext cx="3387042" cy="495344"/>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just" defTabSz="444500">
            <a:lnSpc>
              <a:spcPct val="90000"/>
            </a:lnSpc>
            <a:spcBef>
              <a:spcPct val="0"/>
            </a:spcBef>
            <a:spcAft>
              <a:spcPct val="35000"/>
            </a:spcAft>
            <a:buNone/>
          </a:pPr>
          <a:r>
            <a:rPr sz="1000" kern="1200" dirty="0" err="1"/>
            <a:t>Çözüm</a:t>
          </a:r>
          <a:r>
            <a:rPr sz="1000" kern="1200" dirty="0"/>
            <a:t>: Özel </a:t>
          </a:r>
          <a:r>
            <a:rPr sz="1000" kern="1200" dirty="0" err="1"/>
            <a:t>şeritler</a:t>
          </a:r>
          <a:r>
            <a:rPr sz="1000" kern="1200" dirty="0"/>
            <a:t>, </a:t>
          </a:r>
          <a:r>
            <a:rPr sz="1000" kern="1200" dirty="0" err="1"/>
            <a:t>kaldırımlar</a:t>
          </a:r>
          <a:r>
            <a:rPr sz="1000" kern="1200" dirty="0"/>
            <a:t> </a:t>
          </a:r>
          <a:r>
            <a:rPr sz="1000" kern="1200" dirty="0" err="1"/>
            <a:t>ve</a:t>
          </a:r>
          <a:r>
            <a:rPr sz="1000" kern="1200" dirty="0"/>
            <a:t> </a:t>
          </a:r>
          <a:r>
            <a:rPr sz="1000" kern="1200" dirty="0" err="1"/>
            <a:t>güvenli</a:t>
          </a:r>
          <a:r>
            <a:rPr sz="1000" kern="1200" dirty="0"/>
            <a:t> </a:t>
          </a:r>
          <a:r>
            <a:rPr sz="1000" kern="1200" dirty="0" err="1"/>
            <a:t>geçişler</a:t>
          </a:r>
          <a:r>
            <a:rPr sz="1000" kern="1200" dirty="0"/>
            <a:t> </a:t>
          </a:r>
          <a:r>
            <a:rPr sz="1000" kern="1200" dirty="0" err="1"/>
            <a:t>dahil</a:t>
          </a:r>
          <a:r>
            <a:rPr sz="1000" kern="1200" dirty="0"/>
            <a:t> </a:t>
          </a:r>
          <a:r>
            <a:rPr sz="1000" kern="1200" dirty="0" err="1"/>
            <a:t>olmak</a:t>
          </a:r>
          <a:r>
            <a:rPr sz="1000" kern="1200" dirty="0"/>
            <a:t> </a:t>
          </a:r>
          <a:r>
            <a:rPr sz="1000" kern="1200" dirty="0" err="1"/>
            <a:t>üzere</a:t>
          </a:r>
          <a:r>
            <a:rPr sz="1000" kern="1200" dirty="0"/>
            <a:t> </a:t>
          </a:r>
          <a:r>
            <a:rPr sz="1000" kern="1200" dirty="0" err="1"/>
            <a:t>kapsamlı</a:t>
          </a:r>
          <a:r>
            <a:rPr sz="1000" kern="1200" dirty="0"/>
            <a:t> </a:t>
          </a:r>
          <a:r>
            <a:rPr sz="1000" kern="1200" dirty="0" err="1"/>
            <a:t>bisiklet</a:t>
          </a:r>
          <a:r>
            <a:rPr sz="1000" kern="1200" dirty="0"/>
            <a:t> </a:t>
          </a:r>
          <a:r>
            <a:rPr sz="1000" kern="1200" dirty="0" err="1"/>
            <a:t>ve</a:t>
          </a:r>
          <a:r>
            <a:rPr sz="1000" kern="1200" dirty="0"/>
            <a:t> yaya </a:t>
          </a:r>
          <a:r>
            <a:rPr sz="1000" kern="1200" dirty="0" err="1"/>
            <a:t>altyapısı</a:t>
          </a:r>
          <a:r>
            <a:rPr sz="1000" kern="1200" dirty="0"/>
            <a:t> </a:t>
          </a:r>
          <a:r>
            <a:rPr sz="1000" kern="1200" dirty="0" err="1"/>
            <a:t>geliştirin</a:t>
          </a:r>
          <a:r>
            <a:rPr sz="1000" kern="1200" dirty="0"/>
            <a:t>.</a:t>
          </a:r>
        </a:p>
      </dsp:txBody>
      <dsp:txXfrm>
        <a:off x="570094" y="365973"/>
        <a:ext cx="3387042" cy="495344"/>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A82E90-C8A1-4F59-88A0-7FE69219C89F}">
      <dsp:nvSpPr>
        <dsp:cNvPr id="0" name=""/>
        <dsp:cNvSpPr/>
      </dsp:nvSpPr>
      <dsp:spPr>
        <a:xfrm>
          <a:off x="465563" y="31"/>
          <a:ext cx="3344025" cy="30400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45720" tIns="45720" rIns="45720" bIns="45720" numCol="1" spcCol="1270" anchor="b" anchorCtr="0">
          <a:noAutofit/>
        </a:bodyPr>
        <a:lstStyle/>
        <a:p>
          <a:pPr marL="0" lvl="0" indent="0" algn="l" defTabSz="533400">
            <a:lnSpc>
              <a:spcPct val="90000"/>
            </a:lnSpc>
            <a:spcBef>
              <a:spcPct val="0"/>
            </a:spcBef>
            <a:spcAft>
              <a:spcPct val="35000"/>
            </a:spcAft>
            <a:buNone/>
            <a:defRPr sz="1100"/>
          </a:pPr>
          <a:r>
            <a:rPr sz="1200" kern="1200" dirty="0" err="1"/>
            <a:t>Sorun</a:t>
          </a:r>
          <a:r>
            <a:rPr sz="1200" kern="1200" dirty="0"/>
            <a:t> 4: </a:t>
          </a:r>
          <a:r>
            <a:rPr sz="1200" kern="1200" dirty="0" err="1"/>
            <a:t>Sınırlı</a:t>
          </a:r>
          <a:r>
            <a:rPr sz="1200" kern="1200" dirty="0"/>
            <a:t> </a:t>
          </a:r>
          <a:r>
            <a:rPr sz="1200" kern="1200" dirty="0" err="1"/>
            <a:t>Finansman</a:t>
          </a:r>
          <a:r>
            <a:rPr sz="1200" kern="1200" dirty="0"/>
            <a:t> </a:t>
          </a:r>
          <a:r>
            <a:rPr sz="1200" kern="1200" dirty="0" err="1"/>
            <a:t>ve</a:t>
          </a:r>
          <a:r>
            <a:rPr sz="1200" kern="1200" dirty="0"/>
            <a:t> </a:t>
          </a:r>
          <a:r>
            <a:rPr sz="1200" kern="1200" dirty="0" err="1"/>
            <a:t>Kaynaklar</a:t>
          </a:r>
          <a:endParaRPr sz="1200" kern="1200" dirty="0"/>
        </a:p>
      </dsp:txBody>
      <dsp:txXfrm>
        <a:off x="465563" y="31"/>
        <a:ext cx="3344025" cy="304002"/>
      </dsp:txXfrm>
    </dsp:sp>
    <dsp:sp modelId="{3DE8DFA0-6B79-4065-9D31-88C1C8A1C129}">
      <dsp:nvSpPr>
        <dsp:cNvPr id="0" name=""/>
        <dsp:cNvSpPr/>
      </dsp:nvSpPr>
      <dsp:spPr>
        <a:xfrm>
          <a:off x="465563" y="304034"/>
          <a:ext cx="782501" cy="619263"/>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E5C7D61-4CD0-4F1D-A79E-CD64582B7695}">
      <dsp:nvSpPr>
        <dsp:cNvPr id="0" name=""/>
        <dsp:cNvSpPr/>
      </dsp:nvSpPr>
      <dsp:spPr>
        <a:xfrm>
          <a:off x="935585" y="304034"/>
          <a:ext cx="782501" cy="619263"/>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8EF9CA0-1634-428B-B7BC-2DF8BA0A1071}">
      <dsp:nvSpPr>
        <dsp:cNvPr id="0" name=""/>
        <dsp:cNvSpPr/>
      </dsp:nvSpPr>
      <dsp:spPr>
        <a:xfrm>
          <a:off x="1405977" y="304034"/>
          <a:ext cx="782501" cy="619263"/>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D831B5E-3F1A-4D80-A26E-B87DF8CC7B3D}">
      <dsp:nvSpPr>
        <dsp:cNvPr id="0" name=""/>
        <dsp:cNvSpPr/>
      </dsp:nvSpPr>
      <dsp:spPr>
        <a:xfrm>
          <a:off x="1875999" y="304034"/>
          <a:ext cx="782501" cy="619263"/>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04D123F0-7665-45ED-A6E4-678EC901E8D5}">
      <dsp:nvSpPr>
        <dsp:cNvPr id="0" name=""/>
        <dsp:cNvSpPr/>
      </dsp:nvSpPr>
      <dsp:spPr>
        <a:xfrm>
          <a:off x="2346392" y="304034"/>
          <a:ext cx="782501" cy="619263"/>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192A2F7-882F-45AB-BDAC-57D5BB99129D}">
      <dsp:nvSpPr>
        <dsp:cNvPr id="0" name=""/>
        <dsp:cNvSpPr/>
      </dsp:nvSpPr>
      <dsp:spPr>
        <a:xfrm>
          <a:off x="2816413" y="304034"/>
          <a:ext cx="782501" cy="619263"/>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8B8D231-514C-4FAC-A0ED-1EF2908FD30F}">
      <dsp:nvSpPr>
        <dsp:cNvPr id="0" name=""/>
        <dsp:cNvSpPr/>
      </dsp:nvSpPr>
      <dsp:spPr>
        <a:xfrm>
          <a:off x="3286806" y="304034"/>
          <a:ext cx="782501" cy="619263"/>
        </a:xfrm>
        <a:prstGeom prst="chevron">
          <a:avLst>
            <a:gd name="adj" fmla="val 70610"/>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8AED197-5083-4CF0-8C33-2623F9E79B56}">
      <dsp:nvSpPr>
        <dsp:cNvPr id="0" name=""/>
        <dsp:cNvSpPr/>
      </dsp:nvSpPr>
      <dsp:spPr>
        <a:xfrm>
          <a:off x="465563" y="365960"/>
          <a:ext cx="3387497" cy="495411"/>
        </a:xfrm>
        <a:prstGeom prst="rect">
          <a:avLst/>
        </a:prstGeom>
        <a:solidFill>
          <a:schemeClr val="l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5400" tIns="25400" rIns="25400" bIns="25400" numCol="1" spcCol="1270" anchor="ctr" anchorCtr="0">
          <a:noAutofit/>
        </a:bodyPr>
        <a:lstStyle/>
        <a:p>
          <a:pPr marL="0" lvl="0" indent="0" algn="just" defTabSz="444500">
            <a:lnSpc>
              <a:spcPct val="90000"/>
            </a:lnSpc>
            <a:spcBef>
              <a:spcPct val="0"/>
            </a:spcBef>
            <a:spcAft>
              <a:spcPct val="35000"/>
            </a:spcAft>
            <a:buNone/>
            <a:defRPr sz="1000"/>
          </a:pPr>
          <a:r>
            <a:rPr sz="1000" kern="1200" dirty="0" err="1"/>
            <a:t>Çözüm</a:t>
          </a:r>
          <a:r>
            <a:rPr sz="1000" kern="1200" dirty="0"/>
            <a:t>: Ulaşım </a:t>
          </a:r>
          <a:r>
            <a:rPr sz="1000" kern="1200" dirty="0" err="1"/>
            <a:t>projelerini</a:t>
          </a:r>
          <a:r>
            <a:rPr sz="1000" kern="1200" dirty="0"/>
            <a:t> </a:t>
          </a:r>
          <a:r>
            <a:rPr sz="1000" kern="1200" dirty="0" err="1"/>
            <a:t>desteklemek</a:t>
          </a:r>
          <a:r>
            <a:rPr sz="1000" kern="1200" dirty="0"/>
            <a:t> </a:t>
          </a:r>
          <a:r>
            <a:rPr sz="1000" kern="1200" dirty="0" err="1"/>
            <a:t>için</a:t>
          </a:r>
          <a:r>
            <a:rPr sz="1000" kern="1200" dirty="0"/>
            <a:t> </a:t>
          </a:r>
          <a:r>
            <a:rPr sz="1000" kern="1200" dirty="0" err="1"/>
            <a:t>ortaklıklar</a:t>
          </a:r>
          <a:r>
            <a:rPr sz="1000" kern="1200" dirty="0"/>
            <a:t>, </a:t>
          </a:r>
          <a:r>
            <a:rPr sz="1000" kern="1200" dirty="0" err="1"/>
            <a:t>hibeler</a:t>
          </a:r>
          <a:r>
            <a:rPr sz="1000" kern="1200" dirty="0"/>
            <a:t> </a:t>
          </a:r>
          <a:r>
            <a:rPr sz="1000" kern="1200" dirty="0" err="1"/>
            <a:t>ve</a:t>
          </a:r>
          <a:r>
            <a:rPr sz="1000" kern="1200" dirty="0"/>
            <a:t> </a:t>
          </a:r>
          <a:r>
            <a:rPr sz="1000" kern="1200" dirty="0" err="1"/>
            <a:t>yenilikçi</a:t>
          </a:r>
          <a:r>
            <a:rPr sz="1000" kern="1200" dirty="0"/>
            <a:t> </a:t>
          </a:r>
          <a:r>
            <a:rPr sz="1000" kern="1200" dirty="0" err="1"/>
            <a:t>finansman</a:t>
          </a:r>
          <a:r>
            <a:rPr sz="1000" kern="1200" dirty="0"/>
            <a:t> </a:t>
          </a:r>
          <a:r>
            <a:rPr sz="1000" kern="1200" dirty="0" err="1"/>
            <a:t>mekanizmaları</a:t>
          </a:r>
          <a:r>
            <a:rPr sz="1000" kern="1200" dirty="0"/>
            <a:t> </a:t>
          </a:r>
          <a:r>
            <a:rPr sz="1000" kern="1200" dirty="0" err="1"/>
            <a:t>aramak</a:t>
          </a:r>
          <a:r>
            <a:rPr sz="1000" kern="1200" dirty="0"/>
            <a:t>.</a:t>
          </a:r>
        </a:p>
      </dsp:txBody>
      <dsp:txXfrm>
        <a:off x="465563" y="365960"/>
        <a:ext cx="3387497" cy="49541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52EE96-5FB9-4600-8ADC-2EC00069AE8E}">
      <dsp:nvSpPr>
        <dsp:cNvPr id="0" name=""/>
        <dsp:cNvSpPr/>
      </dsp:nvSpPr>
      <dsp:spPr>
        <a:xfrm>
          <a:off x="2050" y="0"/>
          <a:ext cx="1999835" cy="3293375"/>
        </a:xfrm>
        <a:prstGeom prst="roundRect">
          <a:avLst>
            <a:gd name="adj" fmla="val 10000"/>
          </a:avLst>
        </a:prstGeom>
        <a:solidFill>
          <a:schemeClr val="accent2">
            <a:lumMod val="60000"/>
            <a:lumOff val="40000"/>
          </a:schemeClr>
        </a:solidFill>
        <a:ln w="12700" cap="flat" cmpd="sng" algn="ctr">
          <a:solidFill>
            <a:schemeClr val="accent2">
              <a:lumMod val="60000"/>
              <a:lumOff val="4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sz="1300" b="1" kern="1200" dirty="0" err="1"/>
            <a:t>Verimli</a:t>
          </a:r>
          <a:r>
            <a:rPr sz="1300" b="1" kern="1200" dirty="0"/>
            <a:t> </a:t>
          </a:r>
          <a:r>
            <a:rPr sz="1300" b="1" kern="1200" dirty="0" err="1"/>
            <a:t>ve</a:t>
          </a:r>
          <a:r>
            <a:rPr sz="1300" b="1" kern="1200" dirty="0"/>
            <a:t> </a:t>
          </a:r>
          <a:r>
            <a:rPr sz="1300" b="1" kern="1200" dirty="0" err="1"/>
            <a:t>erişilebilir</a:t>
          </a:r>
          <a:r>
            <a:rPr sz="1300" b="1" kern="1200" dirty="0"/>
            <a:t> </a:t>
          </a:r>
          <a:r>
            <a:rPr sz="1300" b="1" kern="1200" dirty="0" err="1"/>
            <a:t>toplu</a:t>
          </a:r>
          <a:r>
            <a:rPr sz="1300" b="1" kern="1200" dirty="0"/>
            <a:t> </a:t>
          </a:r>
          <a:r>
            <a:rPr sz="1300" b="1" kern="1200" dirty="0" err="1"/>
            <a:t>taşıma</a:t>
          </a:r>
          <a:r>
            <a:rPr sz="1300" b="1" kern="1200" dirty="0"/>
            <a:t>:</a:t>
          </a:r>
          <a:r>
            <a:rPr sz="1300" kern="1200" dirty="0"/>
            <a:t> </a:t>
          </a:r>
          <a:endParaRPr lang="hr-HR" sz="1300" kern="1200" dirty="0"/>
        </a:p>
        <a:p>
          <a:pPr marL="0" lvl="0" indent="0" algn="ctr" defTabSz="577850">
            <a:lnSpc>
              <a:spcPct val="90000"/>
            </a:lnSpc>
            <a:spcBef>
              <a:spcPct val="0"/>
            </a:spcBef>
            <a:spcAft>
              <a:spcPct val="35000"/>
            </a:spcAft>
            <a:buNone/>
          </a:pPr>
          <a:r>
            <a:rPr sz="1300" kern="1200" dirty="0"/>
            <a:t>Sürdürülebilir </a:t>
          </a:r>
          <a:r>
            <a:rPr sz="1300" kern="1200" dirty="0" err="1"/>
            <a:t>ulaşım</a:t>
          </a:r>
          <a:r>
            <a:rPr sz="1300" kern="1200" dirty="0"/>
            <a:t> </a:t>
          </a:r>
          <a:r>
            <a:rPr sz="1300" kern="1200" dirty="0" err="1"/>
            <a:t>planlaması</a:t>
          </a:r>
          <a:r>
            <a:rPr sz="1300" kern="1200" dirty="0"/>
            <a:t> </a:t>
          </a:r>
          <a:r>
            <a:rPr sz="1300" kern="1200" dirty="0" err="1"/>
            <a:t>için</a:t>
          </a:r>
          <a:r>
            <a:rPr sz="1300" kern="1200" dirty="0"/>
            <a:t> </a:t>
          </a:r>
          <a:r>
            <a:rPr sz="1300" kern="1200" dirty="0" err="1"/>
            <a:t>çok</a:t>
          </a:r>
          <a:r>
            <a:rPr sz="1300" kern="1200" dirty="0"/>
            <a:t> </a:t>
          </a:r>
          <a:r>
            <a:rPr sz="1300" kern="1200" dirty="0" err="1"/>
            <a:t>önemli</a:t>
          </a:r>
          <a:r>
            <a:rPr sz="1300" kern="1200" dirty="0"/>
            <a:t> </a:t>
          </a:r>
          <a:r>
            <a:rPr sz="1300" kern="1200" dirty="0" err="1"/>
            <a:t>olan</a:t>
          </a:r>
          <a:r>
            <a:rPr sz="1300" kern="1200" dirty="0"/>
            <a:t> </a:t>
          </a:r>
          <a:r>
            <a:rPr sz="1300" kern="1200" dirty="0" err="1"/>
            <a:t>toplu</a:t>
          </a:r>
          <a:r>
            <a:rPr sz="1300" kern="1200" dirty="0"/>
            <a:t> </a:t>
          </a:r>
          <a:r>
            <a:rPr sz="1300" kern="1200" dirty="0" err="1"/>
            <a:t>taşıma</a:t>
          </a:r>
          <a:r>
            <a:rPr sz="1300" kern="1200" dirty="0"/>
            <a:t> </a:t>
          </a:r>
          <a:r>
            <a:rPr sz="1300" kern="1200" dirty="0" err="1"/>
            <a:t>sistemleri</a:t>
          </a:r>
          <a:r>
            <a:rPr sz="1300" kern="1200" dirty="0"/>
            <a:t>, </a:t>
          </a:r>
          <a:r>
            <a:rPr sz="1300" kern="1200" dirty="0" err="1"/>
            <a:t>trafik</a:t>
          </a:r>
          <a:r>
            <a:rPr sz="1300" kern="1200" dirty="0"/>
            <a:t> </a:t>
          </a:r>
          <a:r>
            <a:rPr sz="1300" kern="1200" dirty="0" err="1"/>
            <a:t>sıkışıklığını</a:t>
          </a:r>
          <a:r>
            <a:rPr sz="1300" kern="1200" dirty="0"/>
            <a:t> </a:t>
          </a:r>
          <a:r>
            <a:rPr sz="1300" kern="1200" dirty="0" err="1"/>
            <a:t>azaltır</a:t>
          </a:r>
          <a:r>
            <a:rPr sz="1300" kern="1200" dirty="0"/>
            <a:t>, </a:t>
          </a:r>
          <a:r>
            <a:rPr sz="1300" kern="1200" dirty="0" err="1"/>
            <a:t>sosyal</a:t>
          </a:r>
          <a:r>
            <a:rPr sz="1300" kern="1200" dirty="0"/>
            <a:t> </a:t>
          </a:r>
          <a:r>
            <a:rPr sz="1300" kern="1200" dirty="0" err="1"/>
            <a:t>eşitliği</a:t>
          </a:r>
          <a:r>
            <a:rPr sz="1300" kern="1200" dirty="0"/>
            <a:t> </a:t>
          </a:r>
          <a:r>
            <a:rPr sz="1300" kern="1200" dirty="0" err="1"/>
            <a:t>teşvik</a:t>
          </a:r>
          <a:r>
            <a:rPr sz="1300" kern="1200" dirty="0"/>
            <a:t> </a:t>
          </a:r>
          <a:r>
            <a:rPr sz="1300" kern="1200" dirty="0" err="1"/>
            <a:t>eder</a:t>
          </a:r>
          <a:r>
            <a:rPr sz="1300" kern="1200" dirty="0"/>
            <a:t> </a:t>
          </a:r>
          <a:r>
            <a:rPr sz="1300" kern="1200" dirty="0" err="1"/>
            <a:t>ve</a:t>
          </a:r>
          <a:r>
            <a:rPr sz="1300" kern="1200" dirty="0"/>
            <a:t> </a:t>
          </a:r>
          <a:r>
            <a:rPr sz="1300" kern="1200" dirty="0" err="1"/>
            <a:t>özel</a:t>
          </a:r>
          <a:r>
            <a:rPr sz="1300" kern="1200" dirty="0"/>
            <a:t> </a:t>
          </a:r>
          <a:r>
            <a:rPr sz="1300" kern="1200" dirty="0" err="1"/>
            <a:t>araçlara</a:t>
          </a:r>
          <a:r>
            <a:rPr sz="1300" kern="1200" dirty="0"/>
            <a:t> </a:t>
          </a:r>
          <a:r>
            <a:rPr sz="1300" kern="1200" dirty="0" err="1"/>
            <a:t>bir</a:t>
          </a:r>
          <a:r>
            <a:rPr sz="1300" kern="1200" dirty="0"/>
            <a:t> </a:t>
          </a:r>
          <a:r>
            <a:rPr sz="1300" kern="1200" dirty="0" err="1"/>
            <a:t>alternatif</a:t>
          </a:r>
          <a:r>
            <a:rPr sz="1300" kern="1200" dirty="0"/>
            <a:t> </a:t>
          </a:r>
          <a:r>
            <a:rPr sz="1300" kern="1200" dirty="0" err="1"/>
            <a:t>sunar</a:t>
          </a:r>
          <a:r>
            <a:rPr sz="1300" kern="1200" dirty="0"/>
            <a:t>.</a:t>
          </a:r>
        </a:p>
      </dsp:txBody>
      <dsp:txXfrm>
        <a:off x="60623" y="58573"/>
        <a:ext cx="1882689" cy="3176229"/>
      </dsp:txXfrm>
    </dsp:sp>
    <dsp:sp modelId="{5D654995-25F7-452C-8FC5-F9CA5BCB530E}">
      <dsp:nvSpPr>
        <dsp:cNvPr id="0" name=""/>
        <dsp:cNvSpPr/>
      </dsp:nvSpPr>
      <dsp:spPr>
        <a:xfrm>
          <a:off x="2337858" y="0"/>
          <a:ext cx="1999835" cy="3293375"/>
        </a:xfrm>
        <a:prstGeom prst="roundRect">
          <a:avLst>
            <a:gd name="adj" fmla="val 10000"/>
          </a:avLst>
        </a:prstGeom>
        <a:solidFill>
          <a:schemeClr val="accent2">
            <a:lumMod val="60000"/>
            <a:lumOff val="40000"/>
          </a:schemeClr>
        </a:solidFill>
        <a:ln w="12700" cap="flat" cmpd="sng" algn="ctr">
          <a:solidFill>
            <a:schemeClr val="accent2">
              <a:lumMod val="60000"/>
              <a:lumOff val="4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defRPr b="1"/>
          </a:pPr>
          <a:r>
            <a:rPr sz="1300" kern="1200" dirty="0" err="1"/>
            <a:t>Maksimum</a:t>
          </a:r>
          <a:r>
            <a:rPr sz="1300" kern="1200" dirty="0"/>
            <a:t> </a:t>
          </a:r>
          <a:r>
            <a:rPr sz="1300" kern="1200" dirty="0" err="1"/>
            <a:t>kapsama</a:t>
          </a:r>
          <a:r>
            <a:rPr sz="1300" kern="1200" dirty="0"/>
            <a:t> </a:t>
          </a:r>
          <a:r>
            <a:rPr sz="1300" kern="1200" dirty="0" err="1"/>
            <a:t>alanı</a:t>
          </a:r>
          <a:r>
            <a:rPr sz="1300" kern="1200" dirty="0"/>
            <a:t> </a:t>
          </a:r>
          <a:r>
            <a:rPr sz="1300" kern="1200" dirty="0" err="1"/>
            <a:t>ve</a:t>
          </a:r>
          <a:r>
            <a:rPr sz="1300" kern="1200" dirty="0"/>
            <a:t> </a:t>
          </a:r>
          <a:r>
            <a:rPr sz="1300" kern="1200" dirty="0" err="1"/>
            <a:t>yolcu</a:t>
          </a:r>
          <a:r>
            <a:rPr sz="1300" kern="1200" dirty="0"/>
            <a:t> </a:t>
          </a:r>
          <a:r>
            <a:rPr sz="1300" kern="1200" dirty="0" err="1"/>
            <a:t>sayısı</a:t>
          </a:r>
          <a:r>
            <a:rPr sz="1300" kern="1200" dirty="0"/>
            <a:t>: </a:t>
          </a:r>
          <a:endParaRPr lang="hr-HR" sz="1300" b="1" kern="1200" dirty="0"/>
        </a:p>
        <a:p>
          <a:pPr marL="0" lvl="0" indent="0" algn="ctr" defTabSz="577850">
            <a:lnSpc>
              <a:spcPct val="90000"/>
            </a:lnSpc>
            <a:spcBef>
              <a:spcPct val="0"/>
            </a:spcBef>
            <a:spcAft>
              <a:spcPct val="35000"/>
            </a:spcAft>
            <a:buNone/>
          </a:pPr>
          <a:r>
            <a:rPr sz="1300" kern="1200" dirty="0"/>
            <a:t>Transit </a:t>
          </a:r>
          <a:r>
            <a:rPr sz="1300" kern="1200" dirty="0" err="1"/>
            <a:t>ağlar</a:t>
          </a:r>
          <a:r>
            <a:rPr sz="1300" kern="1200" dirty="0"/>
            <a:t>, </a:t>
          </a:r>
          <a:r>
            <a:rPr sz="1300" kern="1200" dirty="0" err="1"/>
            <a:t>yoğun</a:t>
          </a:r>
          <a:r>
            <a:rPr sz="1300" kern="1200" dirty="0"/>
            <a:t> </a:t>
          </a:r>
          <a:r>
            <a:rPr sz="1300" kern="1200" dirty="0" err="1"/>
            <a:t>nüfuslu</a:t>
          </a:r>
          <a:r>
            <a:rPr sz="1300" kern="1200" dirty="0"/>
            <a:t> </a:t>
          </a:r>
          <a:r>
            <a:rPr sz="1300" kern="1200" dirty="0" err="1"/>
            <a:t>bölgelere</a:t>
          </a:r>
          <a:r>
            <a:rPr sz="1300" kern="1200" dirty="0"/>
            <a:t>, </a:t>
          </a:r>
          <a:r>
            <a:rPr sz="1300" kern="1200" dirty="0" err="1"/>
            <a:t>istihdam</a:t>
          </a:r>
          <a:r>
            <a:rPr sz="1300" kern="1200" dirty="0"/>
            <a:t> </a:t>
          </a:r>
          <a:r>
            <a:rPr sz="1300" kern="1200" dirty="0" err="1"/>
            <a:t>merkezlerine</a:t>
          </a:r>
          <a:r>
            <a:rPr sz="1300" kern="1200" dirty="0"/>
            <a:t>, </a:t>
          </a:r>
          <a:r>
            <a:rPr sz="1300" kern="1200" dirty="0" err="1"/>
            <a:t>eğitim</a:t>
          </a:r>
          <a:r>
            <a:rPr sz="1300" kern="1200" dirty="0"/>
            <a:t> </a:t>
          </a:r>
          <a:r>
            <a:rPr sz="1300" kern="1200" dirty="0" err="1"/>
            <a:t>kurumlarına</a:t>
          </a:r>
          <a:r>
            <a:rPr sz="1300" kern="1200" dirty="0"/>
            <a:t> </a:t>
          </a:r>
          <a:r>
            <a:rPr sz="1300" kern="1200" dirty="0" err="1"/>
            <a:t>ve</a:t>
          </a:r>
          <a:r>
            <a:rPr sz="1300" kern="1200" dirty="0"/>
            <a:t> </a:t>
          </a:r>
          <a:r>
            <a:rPr sz="1300" kern="1200" dirty="0" err="1"/>
            <a:t>kilit</a:t>
          </a:r>
          <a:r>
            <a:rPr sz="1300" kern="1200" dirty="0"/>
            <a:t> </a:t>
          </a:r>
          <a:r>
            <a:rPr sz="1300" kern="1200" dirty="0" err="1"/>
            <a:t>destinasyonlara</a:t>
          </a:r>
          <a:r>
            <a:rPr sz="1300" kern="1200" dirty="0"/>
            <a:t> </a:t>
          </a:r>
          <a:r>
            <a:rPr sz="1300" kern="1200" dirty="0" err="1"/>
            <a:t>hizmet</a:t>
          </a:r>
          <a:r>
            <a:rPr sz="1300" kern="1200" dirty="0"/>
            <a:t> </a:t>
          </a:r>
          <a:r>
            <a:rPr sz="1300" kern="1200" dirty="0" err="1"/>
            <a:t>etmeli</a:t>
          </a:r>
          <a:r>
            <a:rPr sz="1300" kern="1200" dirty="0"/>
            <a:t> </a:t>
          </a:r>
          <a:r>
            <a:rPr sz="1300" kern="1200" dirty="0" err="1"/>
            <a:t>ve</a:t>
          </a:r>
          <a:r>
            <a:rPr sz="1300" kern="1200" dirty="0"/>
            <a:t> </a:t>
          </a:r>
          <a:r>
            <a:rPr sz="1300" kern="1200" dirty="0" err="1"/>
            <a:t>çok</a:t>
          </a:r>
          <a:r>
            <a:rPr sz="1300" kern="1200" dirty="0"/>
            <a:t> </a:t>
          </a:r>
          <a:r>
            <a:rPr sz="1300" kern="1200" dirty="0" err="1"/>
            <a:t>çeşitli</a:t>
          </a:r>
          <a:r>
            <a:rPr sz="1300" kern="1200" dirty="0"/>
            <a:t> </a:t>
          </a:r>
          <a:r>
            <a:rPr sz="1300" kern="1200" dirty="0" err="1"/>
            <a:t>sakinler</a:t>
          </a:r>
          <a:r>
            <a:rPr sz="1300" kern="1200" dirty="0"/>
            <a:t> </a:t>
          </a:r>
          <a:r>
            <a:rPr sz="1300" kern="1200" dirty="0" err="1"/>
            <a:t>için</a:t>
          </a:r>
          <a:r>
            <a:rPr sz="1300" kern="1200" dirty="0"/>
            <a:t> </a:t>
          </a:r>
          <a:r>
            <a:rPr sz="1300" kern="1200" dirty="0" err="1"/>
            <a:t>uygun</a:t>
          </a:r>
          <a:r>
            <a:rPr sz="1300" kern="1200" dirty="0"/>
            <a:t> </a:t>
          </a:r>
          <a:r>
            <a:rPr sz="1300" kern="1200" dirty="0" err="1"/>
            <a:t>erişim</a:t>
          </a:r>
          <a:r>
            <a:rPr sz="1300" kern="1200" dirty="0"/>
            <a:t> </a:t>
          </a:r>
          <a:r>
            <a:rPr sz="1300" kern="1200" dirty="0" err="1"/>
            <a:t>sağlamalıdır</a:t>
          </a:r>
          <a:r>
            <a:rPr sz="1300" kern="1200" dirty="0"/>
            <a:t>.</a:t>
          </a:r>
        </a:p>
      </dsp:txBody>
      <dsp:txXfrm>
        <a:off x="2396431" y="58573"/>
        <a:ext cx="1882689" cy="3176229"/>
      </dsp:txXfrm>
    </dsp:sp>
    <dsp:sp modelId="{07A8C179-8688-43B1-8261-365EB6830AB2}">
      <dsp:nvSpPr>
        <dsp:cNvPr id="0" name=""/>
        <dsp:cNvSpPr/>
      </dsp:nvSpPr>
      <dsp:spPr>
        <a:xfrm>
          <a:off x="4673666" y="0"/>
          <a:ext cx="1999835" cy="3293375"/>
        </a:xfrm>
        <a:prstGeom prst="roundRect">
          <a:avLst>
            <a:gd name="adj" fmla="val 10000"/>
          </a:avLst>
        </a:prstGeom>
        <a:solidFill>
          <a:schemeClr val="accent2">
            <a:lumMod val="60000"/>
            <a:lumOff val="40000"/>
          </a:schemeClr>
        </a:solidFill>
        <a:ln w="12700" cap="flat" cmpd="sng" algn="ctr">
          <a:solidFill>
            <a:schemeClr val="accent2">
              <a:lumMod val="60000"/>
              <a:lumOff val="4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defRPr b="1"/>
          </a:pPr>
          <a:r>
            <a:rPr sz="1300" kern="1200" dirty="0" err="1"/>
            <a:t>Çevresel</a:t>
          </a:r>
          <a:r>
            <a:rPr sz="1300" kern="1200" dirty="0"/>
            <a:t> </a:t>
          </a:r>
          <a:r>
            <a:rPr sz="1300" kern="1200" dirty="0" err="1"/>
            <a:t>Sürdürülebilirlik</a:t>
          </a:r>
          <a:endParaRPr lang="hr-HR" sz="1300" b="1" kern="1200" dirty="0"/>
        </a:p>
        <a:p>
          <a:pPr marL="0" lvl="0" indent="0" algn="ctr" defTabSz="577850">
            <a:lnSpc>
              <a:spcPct val="90000"/>
            </a:lnSpc>
            <a:spcBef>
              <a:spcPct val="0"/>
            </a:spcBef>
            <a:spcAft>
              <a:spcPct val="35000"/>
            </a:spcAft>
            <a:buNone/>
          </a:pPr>
          <a:r>
            <a:rPr sz="1300" kern="1200" dirty="0" err="1"/>
            <a:t>Toplu</a:t>
          </a:r>
          <a:r>
            <a:rPr sz="1300" kern="1200" dirty="0"/>
            <a:t> </a:t>
          </a:r>
          <a:r>
            <a:rPr sz="1300" kern="1200" dirty="0" err="1"/>
            <a:t>taşıma</a:t>
          </a:r>
          <a:r>
            <a:rPr sz="1300" kern="1200" dirty="0"/>
            <a:t> </a:t>
          </a:r>
          <a:r>
            <a:rPr sz="1300" kern="1200" dirty="0" err="1"/>
            <a:t>planlamasında</a:t>
          </a:r>
          <a:r>
            <a:rPr sz="1300" kern="1200" dirty="0"/>
            <a:t> </a:t>
          </a:r>
          <a:r>
            <a:rPr sz="1300" kern="1200" dirty="0" err="1"/>
            <a:t>sürdürülebilir</a:t>
          </a:r>
          <a:r>
            <a:rPr sz="1300" kern="1200" dirty="0"/>
            <a:t> </a:t>
          </a:r>
          <a:r>
            <a:rPr sz="1300" kern="1200" dirty="0" err="1"/>
            <a:t>uygulamaları</a:t>
          </a:r>
          <a:r>
            <a:rPr sz="1300" b="1" kern="1200" dirty="0"/>
            <a:t> </a:t>
          </a:r>
          <a:r>
            <a:rPr sz="1300" kern="1200" dirty="0" err="1"/>
            <a:t>önceliklendirmek</a:t>
          </a:r>
          <a:r>
            <a:rPr sz="1300" kern="1200" dirty="0"/>
            <a:t>, </a:t>
          </a:r>
          <a:r>
            <a:rPr sz="1300" kern="1200" dirty="0" err="1"/>
            <a:t>karbon</a:t>
          </a:r>
          <a:r>
            <a:rPr sz="1300" kern="1200" dirty="0"/>
            <a:t> </a:t>
          </a:r>
          <a:r>
            <a:rPr sz="1300" kern="1200" dirty="0" err="1"/>
            <a:t>emisyonlarını</a:t>
          </a:r>
          <a:r>
            <a:rPr sz="1300" kern="1200" dirty="0"/>
            <a:t> </a:t>
          </a:r>
          <a:r>
            <a:rPr sz="1300" kern="1200" dirty="0" err="1"/>
            <a:t>azaltmak</a:t>
          </a:r>
          <a:r>
            <a:rPr sz="1300" kern="1200" dirty="0"/>
            <a:t> </a:t>
          </a:r>
          <a:r>
            <a:rPr sz="1300" kern="1200" dirty="0" err="1"/>
            <a:t>ve</a:t>
          </a:r>
          <a:r>
            <a:rPr sz="1300" kern="1200" dirty="0"/>
            <a:t> </a:t>
          </a:r>
          <a:r>
            <a:rPr sz="1300" kern="1200" dirty="0" err="1"/>
            <a:t>çevresel</a:t>
          </a:r>
          <a:r>
            <a:rPr sz="1300" kern="1200" dirty="0"/>
            <a:t> </a:t>
          </a:r>
          <a:r>
            <a:rPr sz="1300" kern="1200" dirty="0" err="1"/>
            <a:t>etkiyi</a:t>
          </a:r>
          <a:r>
            <a:rPr sz="1300" kern="1200" dirty="0"/>
            <a:t> </a:t>
          </a:r>
          <a:r>
            <a:rPr sz="1300" kern="1200" dirty="0" err="1"/>
            <a:t>en</a:t>
          </a:r>
          <a:r>
            <a:rPr sz="1300" kern="1200" dirty="0"/>
            <a:t> </a:t>
          </a:r>
          <a:r>
            <a:rPr sz="1300" kern="1200" dirty="0" err="1"/>
            <a:t>aza</a:t>
          </a:r>
          <a:r>
            <a:rPr sz="1300" kern="1200" dirty="0"/>
            <a:t> </a:t>
          </a:r>
          <a:r>
            <a:rPr sz="1300" kern="1200" dirty="0" err="1"/>
            <a:t>indirmek</a:t>
          </a:r>
          <a:r>
            <a:rPr sz="1300" kern="1200" dirty="0"/>
            <a:t> </a:t>
          </a:r>
          <a:r>
            <a:rPr sz="1300" kern="1200" dirty="0" err="1"/>
            <a:t>için</a:t>
          </a:r>
          <a:r>
            <a:rPr sz="1300" kern="1200" dirty="0"/>
            <a:t> </a:t>
          </a:r>
          <a:r>
            <a:rPr sz="1300" kern="1200" dirty="0" err="1"/>
            <a:t>elektrikli</a:t>
          </a:r>
          <a:r>
            <a:rPr sz="1300" kern="1200" dirty="0"/>
            <a:t> </a:t>
          </a:r>
          <a:r>
            <a:rPr sz="1300" kern="1200" dirty="0" err="1"/>
            <a:t>otobüsleri</a:t>
          </a:r>
          <a:r>
            <a:rPr sz="1300" kern="1200" dirty="0"/>
            <a:t>, </a:t>
          </a:r>
          <a:r>
            <a:rPr sz="1300" kern="1200" dirty="0" err="1"/>
            <a:t>rejeneratif</a:t>
          </a:r>
          <a:r>
            <a:rPr sz="1300" kern="1200" dirty="0"/>
            <a:t> </a:t>
          </a:r>
          <a:r>
            <a:rPr sz="1300" kern="1200" dirty="0" err="1"/>
            <a:t>fren</a:t>
          </a:r>
          <a:r>
            <a:rPr sz="1300" kern="1200" dirty="0"/>
            <a:t> </a:t>
          </a:r>
          <a:r>
            <a:rPr sz="1300" kern="1200" dirty="0" err="1"/>
            <a:t>sistemlerini</a:t>
          </a:r>
          <a:r>
            <a:rPr sz="1300" kern="1200" dirty="0"/>
            <a:t> </a:t>
          </a:r>
          <a:r>
            <a:rPr sz="1300" kern="1200" dirty="0" err="1"/>
            <a:t>ve</a:t>
          </a:r>
          <a:r>
            <a:rPr sz="1300" kern="1200" dirty="0"/>
            <a:t> </a:t>
          </a:r>
          <a:r>
            <a:rPr sz="1300" kern="1200" dirty="0" err="1"/>
            <a:t>enerji</a:t>
          </a:r>
          <a:r>
            <a:rPr sz="1300" kern="1200" dirty="0"/>
            <a:t> </a:t>
          </a:r>
          <a:r>
            <a:rPr sz="1300" kern="1200" dirty="0" err="1"/>
            <a:t>tasarruflu</a:t>
          </a:r>
          <a:r>
            <a:rPr sz="1300" kern="1200" dirty="0"/>
            <a:t> transit </a:t>
          </a:r>
          <a:r>
            <a:rPr sz="1300" kern="1200" dirty="0" err="1"/>
            <a:t>istasyonlarını</a:t>
          </a:r>
          <a:r>
            <a:rPr sz="1300" kern="1200" dirty="0"/>
            <a:t> </a:t>
          </a:r>
          <a:r>
            <a:rPr sz="1300" kern="1200" dirty="0" err="1"/>
            <a:t>kullanmayı</a:t>
          </a:r>
          <a:r>
            <a:rPr sz="1300" kern="1200" dirty="0"/>
            <a:t> </a:t>
          </a:r>
          <a:r>
            <a:rPr sz="1300" kern="1200" dirty="0" err="1"/>
            <a:t>içerir</a:t>
          </a:r>
          <a:r>
            <a:rPr sz="1300" kern="1200" dirty="0"/>
            <a:t>.</a:t>
          </a:r>
        </a:p>
      </dsp:txBody>
      <dsp:txXfrm>
        <a:off x="4732239" y="58573"/>
        <a:ext cx="1882689" cy="3176229"/>
      </dsp:txXfrm>
    </dsp:sp>
    <dsp:sp modelId="{9C263A29-136C-4B77-83BC-FE7751B815A5}">
      <dsp:nvSpPr>
        <dsp:cNvPr id="0" name=""/>
        <dsp:cNvSpPr/>
      </dsp:nvSpPr>
      <dsp:spPr>
        <a:xfrm>
          <a:off x="7009474" y="0"/>
          <a:ext cx="1999835" cy="3293375"/>
        </a:xfrm>
        <a:prstGeom prst="roundRect">
          <a:avLst>
            <a:gd name="adj" fmla="val 10000"/>
          </a:avLst>
        </a:prstGeom>
        <a:solidFill>
          <a:schemeClr val="accent2">
            <a:lumMod val="60000"/>
            <a:lumOff val="40000"/>
          </a:schemeClr>
        </a:solidFill>
        <a:ln w="12700" cap="flat" cmpd="sng" algn="ctr">
          <a:solidFill>
            <a:schemeClr val="accent2">
              <a:lumMod val="60000"/>
              <a:lumOff val="4000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defRPr b="1"/>
          </a:pPr>
          <a:r>
            <a:rPr sz="1300" kern="1200" dirty="0"/>
            <a:t>Uygun </a:t>
          </a:r>
          <a:r>
            <a:rPr sz="1300" kern="1200" dirty="0" err="1"/>
            <a:t>fiyatlı</a:t>
          </a:r>
          <a:r>
            <a:rPr sz="1300" kern="1200" dirty="0"/>
            <a:t> </a:t>
          </a:r>
          <a:r>
            <a:rPr sz="1300" kern="1200" dirty="0" err="1"/>
            <a:t>ve</a:t>
          </a:r>
          <a:r>
            <a:rPr sz="1300" kern="1200" dirty="0"/>
            <a:t> </a:t>
          </a:r>
          <a:r>
            <a:rPr sz="1300" kern="1200" dirty="0" err="1"/>
            <a:t>kapsayıcı</a:t>
          </a:r>
          <a:r>
            <a:rPr sz="1300" kern="1200" dirty="0"/>
            <a:t> </a:t>
          </a:r>
          <a:r>
            <a:rPr sz="1300" kern="1200" dirty="0" err="1"/>
            <a:t>mobilite</a:t>
          </a:r>
          <a:r>
            <a:rPr sz="1300" kern="1200" dirty="0"/>
            <a:t>:</a:t>
          </a:r>
          <a:endParaRPr lang="hr-HR" sz="1300" b="1" kern="1200" dirty="0"/>
        </a:p>
        <a:p>
          <a:pPr marL="0" lvl="0" indent="0" algn="ctr" defTabSz="577850">
            <a:lnSpc>
              <a:spcPct val="90000"/>
            </a:lnSpc>
            <a:spcBef>
              <a:spcPct val="0"/>
            </a:spcBef>
            <a:spcAft>
              <a:spcPct val="35000"/>
            </a:spcAft>
            <a:buNone/>
          </a:pPr>
          <a:r>
            <a:rPr sz="1300" b="1" kern="1200" dirty="0"/>
            <a:t> </a:t>
          </a:r>
          <a:r>
            <a:rPr sz="1300" kern="1200" dirty="0" err="1"/>
            <a:t>Toplu</a:t>
          </a:r>
          <a:r>
            <a:rPr sz="1300" kern="1200" dirty="0"/>
            <a:t> </a:t>
          </a:r>
          <a:r>
            <a:rPr sz="1300" kern="1200" dirty="0" err="1"/>
            <a:t>taşıma</a:t>
          </a:r>
          <a:r>
            <a:rPr sz="1300" kern="1200" dirty="0"/>
            <a:t>, </a:t>
          </a:r>
          <a:r>
            <a:rPr sz="1300" kern="1200" dirty="0" err="1"/>
            <a:t>gelir</a:t>
          </a:r>
          <a:r>
            <a:rPr sz="1300" kern="1200" dirty="0"/>
            <a:t> </a:t>
          </a:r>
          <a:r>
            <a:rPr sz="1300" kern="1200" dirty="0" err="1"/>
            <a:t>düzeyine</a:t>
          </a:r>
          <a:r>
            <a:rPr sz="1300" kern="1200" dirty="0"/>
            <a:t> </a:t>
          </a:r>
          <a:r>
            <a:rPr sz="1300" kern="1200" dirty="0" err="1"/>
            <a:t>bakılmaksızın</a:t>
          </a:r>
          <a:r>
            <a:rPr sz="1300" kern="1200" dirty="0"/>
            <a:t>, </a:t>
          </a:r>
          <a:r>
            <a:rPr sz="1300" kern="1200" dirty="0" err="1"/>
            <a:t>tüm</a:t>
          </a:r>
          <a:r>
            <a:rPr sz="1300" kern="1200" dirty="0"/>
            <a:t> </a:t>
          </a:r>
          <a:r>
            <a:rPr sz="1300" kern="1200" dirty="0" err="1"/>
            <a:t>sakinler</a:t>
          </a:r>
          <a:r>
            <a:rPr sz="1300" kern="1200" dirty="0"/>
            <a:t> </a:t>
          </a:r>
          <a:r>
            <a:rPr sz="1300" kern="1200" dirty="0" err="1"/>
            <a:t>için</a:t>
          </a:r>
          <a:r>
            <a:rPr sz="1300" kern="1200" dirty="0"/>
            <a:t> </a:t>
          </a:r>
          <a:r>
            <a:rPr sz="1300" kern="1200" dirty="0" err="1"/>
            <a:t>eşit</a:t>
          </a:r>
          <a:r>
            <a:rPr sz="1300" kern="1200" dirty="0"/>
            <a:t> </a:t>
          </a:r>
          <a:r>
            <a:rPr sz="1300" kern="1200" dirty="0" err="1"/>
            <a:t>erişim</a:t>
          </a:r>
          <a:r>
            <a:rPr sz="1300" kern="1200" dirty="0"/>
            <a:t> </a:t>
          </a:r>
          <a:r>
            <a:rPr sz="1300" kern="1200" dirty="0" err="1"/>
            <a:t>sağlamak</a:t>
          </a:r>
          <a:r>
            <a:rPr sz="1300" kern="1200" dirty="0"/>
            <a:t>, </a:t>
          </a:r>
          <a:r>
            <a:rPr sz="1300" kern="1200" dirty="0" err="1"/>
            <a:t>sosyal</a:t>
          </a:r>
          <a:r>
            <a:rPr sz="1300" kern="1200" dirty="0"/>
            <a:t> </a:t>
          </a:r>
          <a:r>
            <a:rPr sz="1300" kern="1200" dirty="0" err="1"/>
            <a:t>katılımı</a:t>
          </a:r>
          <a:r>
            <a:rPr sz="1300" kern="1200" dirty="0"/>
            <a:t> </a:t>
          </a:r>
          <a:r>
            <a:rPr sz="1300" kern="1200" dirty="0" err="1"/>
            <a:t>teşvik</a:t>
          </a:r>
          <a:r>
            <a:rPr sz="1300" kern="1200" dirty="0"/>
            <a:t> </a:t>
          </a:r>
          <a:r>
            <a:rPr sz="1300" kern="1200" dirty="0" err="1"/>
            <a:t>etmek</a:t>
          </a:r>
          <a:r>
            <a:rPr sz="1300" kern="1200" dirty="0"/>
            <a:t> </a:t>
          </a:r>
          <a:r>
            <a:rPr sz="1300" kern="1200" dirty="0" err="1"/>
            <a:t>ve</a:t>
          </a:r>
          <a:r>
            <a:rPr sz="1300" kern="1200" dirty="0"/>
            <a:t> </a:t>
          </a:r>
          <a:r>
            <a:rPr sz="1300" kern="1200" dirty="0" err="1"/>
            <a:t>özel</a:t>
          </a:r>
          <a:r>
            <a:rPr sz="1300" kern="1200" dirty="0"/>
            <a:t> </a:t>
          </a:r>
          <a:r>
            <a:rPr sz="1300" kern="1200" dirty="0" err="1"/>
            <a:t>araçlara</a:t>
          </a:r>
          <a:r>
            <a:rPr sz="1300" kern="1200" dirty="0"/>
            <a:t> </a:t>
          </a:r>
          <a:r>
            <a:rPr sz="1300" kern="1200" dirty="0" err="1"/>
            <a:t>bağımlılığı</a:t>
          </a:r>
          <a:r>
            <a:rPr sz="1300" kern="1200" dirty="0"/>
            <a:t> </a:t>
          </a:r>
          <a:r>
            <a:rPr sz="1300" kern="1200" dirty="0" err="1"/>
            <a:t>azaltmak</a:t>
          </a:r>
          <a:r>
            <a:rPr sz="1300" kern="1200" dirty="0"/>
            <a:t> </a:t>
          </a:r>
          <a:r>
            <a:rPr sz="1300" kern="1200" dirty="0" err="1"/>
            <a:t>için</a:t>
          </a:r>
          <a:r>
            <a:rPr sz="1300" kern="1200" dirty="0"/>
            <a:t> </a:t>
          </a:r>
          <a:r>
            <a:rPr sz="1300" kern="1200" dirty="0" err="1"/>
            <a:t>uygun</a:t>
          </a:r>
          <a:r>
            <a:rPr sz="1300" kern="1200" dirty="0"/>
            <a:t> </a:t>
          </a:r>
          <a:r>
            <a:rPr sz="1300" kern="1200" dirty="0" err="1"/>
            <a:t>fiyatlı</a:t>
          </a:r>
          <a:r>
            <a:rPr sz="1300" kern="1200" dirty="0"/>
            <a:t> </a:t>
          </a:r>
          <a:r>
            <a:rPr sz="1300" kern="1200" dirty="0" err="1"/>
            <a:t>ücret</a:t>
          </a:r>
          <a:r>
            <a:rPr sz="1300" kern="1200" dirty="0"/>
            <a:t> </a:t>
          </a:r>
          <a:r>
            <a:rPr sz="1300" kern="1200" dirty="0" err="1"/>
            <a:t>seçenekleri</a:t>
          </a:r>
          <a:r>
            <a:rPr sz="1300" kern="1200" dirty="0"/>
            <a:t> </a:t>
          </a:r>
          <a:r>
            <a:rPr sz="1300" kern="1200" dirty="0" err="1"/>
            <a:t>sunmalıdır</a:t>
          </a:r>
          <a:r>
            <a:rPr sz="1300" kern="1200" dirty="0"/>
            <a:t>.</a:t>
          </a:r>
        </a:p>
      </dsp:txBody>
      <dsp:txXfrm>
        <a:off x="7068047" y="58573"/>
        <a:ext cx="1882689" cy="3176229"/>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F43343-791D-47C6-AE3D-50A1373664CF}">
      <dsp:nvSpPr>
        <dsp:cNvPr id="0" name=""/>
        <dsp:cNvSpPr/>
      </dsp:nvSpPr>
      <dsp:spPr>
        <a:xfrm>
          <a:off x="0" y="2124"/>
          <a:ext cx="5393361" cy="0"/>
        </a:xfrm>
        <a:prstGeom prst="line">
          <a:avLst/>
        </a:prstGeom>
        <a:gradFill rotWithShape="0">
          <a:gsLst>
            <a:gs pos="0">
              <a:schemeClr val="accent2">
                <a:hueOff val="0"/>
                <a:satOff val="0"/>
                <a:lumOff val="0"/>
                <a:alphaOff val="0"/>
                <a:satMod val="103000"/>
                <a:lumMod val="102000"/>
                <a:tint val="94000"/>
              </a:schemeClr>
            </a:gs>
            <a:gs pos="50000">
              <a:schemeClr val="accent2">
                <a:hueOff val="0"/>
                <a:satOff val="0"/>
                <a:lumOff val="0"/>
                <a:alphaOff val="0"/>
                <a:satMod val="110000"/>
                <a:lumMod val="100000"/>
                <a:shade val="100000"/>
              </a:schemeClr>
            </a:gs>
            <a:gs pos="100000">
              <a:schemeClr val="accent2">
                <a:hueOff val="0"/>
                <a:satOff val="0"/>
                <a:lumOff val="0"/>
                <a:alphaOff val="0"/>
                <a:lumMod val="99000"/>
                <a:satMod val="120000"/>
                <a:shade val="78000"/>
              </a:schemeClr>
            </a:gs>
          </a:gsLst>
          <a:lin ang="5400000" scaled="0"/>
        </a:gradFill>
        <a:ln w="6350" cap="flat" cmpd="sng" algn="ctr">
          <a:solidFill>
            <a:schemeClr val="accent2">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536E5EC7-A942-40F4-92B3-50F19841AE51}">
      <dsp:nvSpPr>
        <dsp:cNvPr id="0" name=""/>
        <dsp:cNvSpPr/>
      </dsp:nvSpPr>
      <dsp:spPr>
        <a:xfrm>
          <a:off x="0" y="2124"/>
          <a:ext cx="5393361" cy="14490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just" defTabSz="666750">
            <a:lnSpc>
              <a:spcPct val="90000"/>
            </a:lnSpc>
            <a:spcBef>
              <a:spcPct val="0"/>
            </a:spcBef>
            <a:spcAft>
              <a:spcPct val="35000"/>
            </a:spcAft>
            <a:buNone/>
          </a:pPr>
          <a:r>
            <a:rPr lang="en-US" sz="1500" b="0" i="0" kern="1200" dirty="0" err="1"/>
            <a:t>Aktif</a:t>
          </a:r>
          <a:r>
            <a:rPr lang="en-US" sz="1500" b="0" i="0" kern="1200" dirty="0"/>
            <a:t> </a:t>
          </a:r>
          <a:r>
            <a:rPr lang="en-US" sz="1500" b="0" i="0" kern="1200" dirty="0" err="1"/>
            <a:t>ulaşım</a:t>
          </a:r>
          <a:r>
            <a:rPr lang="en-US" sz="1500" b="0" i="0" kern="1200" dirty="0"/>
            <a:t>, </a:t>
          </a:r>
          <a:r>
            <a:rPr lang="en-US" sz="1500" b="0" i="0" kern="1200" dirty="0" err="1"/>
            <a:t>yani</a:t>
          </a:r>
          <a:r>
            <a:rPr lang="en-US" sz="1500" b="0" i="0" kern="1200" dirty="0"/>
            <a:t> yaya </a:t>
          </a:r>
          <a:r>
            <a:rPr lang="en-US" sz="1500" b="0" i="0" kern="1200" dirty="0" err="1"/>
            <a:t>hareketi</a:t>
          </a:r>
          <a:r>
            <a:rPr lang="en-US" sz="1500" b="0" i="0" kern="1200" dirty="0"/>
            <a:t> </a:t>
          </a:r>
          <a:r>
            <a:rPr lang="en-US" sz="1500" b="0" i="0" kern="1200" dirty="0" err="1"/>
            <a:t>ve</a:t>
          </a:r>
          <a:r>
            <a:rPr lang="en-US" sz="1500" b="0" i="0" kern="1200" dirty="0"/>
            <a:t> </a:t>
          </a:r>
          <a:r>
            <a:rPr lang="en-US" sz="1500" b="0" i="0" kern="1200" dirty="0" err="1"/>
            <a:t>bisiklet</a:t>
          </a:r>
          <a:r>
            <a:rPr lang="en-US" sz="1500" b="0" i="0" kern="1200" dirty="0"/>
            <a:t> </a:t>
          </a:r>
          <a:r>
            <a:rPr lang="en-US" sz="1500" b="0" i="0" kern="1200" dirty="0" err="1"/>
            <a:t>kullanımı</a:t>
          </a:r>
          <a:r>
            <a:rPr lang="en-US" sz="1500" b="0" i="0" kern="1200" dirty="0"/>
            <a:t>, </a:t>
          </a:r>
          <a:r>
            <a:rPr lang="en-US" sz="1500" b="0" i="0" kern="1200" dirty="0" err="1"/>
            <a:t>sürdürülebilir</a:t>
          </a:r>
          <a:r>
            <a:rPr lang="en-US" sz="1500" b="0" i="0" kern="1200" dirty="0"/>
            <a:t> </a:t>
          </a:r>
          <a:r>
            <a:rPr lang="en-US" sz="1500" b="0" i="0" kern="1200" dirty="0" err="1"/>
            <a:t>ulaşım</a:t>
          </a:r>
          <a:r>
            <a:rPr lang="en-US" sz="1500" b="0" i="0" kern="1200" dirty="0"/>
            <a:t> </a:t>
          </a:r>
          <a:r>
            <a:rPr lang="en-US" sz="1500" b="0" i="0" kern="1200" dirty="0" err="1"/>
            <a:t>planlamasında</a:t>
          </a:r>
          <a:r>
            <a:rPr lang="en-US" sz="1500" b="0" i="0" kern="1200" dirty="0"/>
            <a:t> </a:t>
          </a:r>
          <a:r>
            <a:rPr lang="en-US" sz="1500" b="0" i="0" kern="1200" dirty="0" err="1"/>
            <a:t>kritik</a:t>
          </a:r>
          <a:r>
            <a:rPr lang="en-US" sz="1500" b="0" i="0" kern="1200" dirty="0"/>
            <a:t> </a:t>
          </a:r>
          <a:r>
            <a:rPr lang="en-US" sz="1500" b="0" i="0" kern="1200" dirty="0" err="1"/>
            <a:t>bir</a:t>
          </a:r>
          <a:r>
            <a:rPr lang="en-US" sz="1500" b="0" i="0" kern="1200" dirty="0"/>
            <a:t> </a:t>
          </a:r>
          <a:r>
            <a:rPr lang="en-US" sz="1500" b="0" i="0" kern="1200" dirty="0" err="1"/>
            <a:t>rol</a:t>
          </a:r>
          <a:r>
            <a:rPr lang="en-US" sz="1500" b="0" i="0" kern="1200" dirty="0"/>
            <a:t> </a:t>
          </a:r>
          <a:r>
            <a:rPr lang="en-US" sz="1500" b="0" i="0" kern="1200" dirty="0" err="1"/>
            <a:t>üstlenmektedir</a:t>
          </a:r>
          <a:r>
            <a:rPr lang="en-US" sz="1500" b="0" i="0" kern="1200" dirty="0"/>
            <a:t>. Bu </a:t>
          </a:r>
          <a:r>
            <a:rPr lang="en-US" sz="1500" b="0" i="0" kern="1200" dirty="0" err="1"/>
            <a:t>tür</a:t>
          </a:r>
          <a:r>
            <a:rPr lang="en-US" sz="1500" b="0" i="0" kern="1200" dirty="0"/>
            <a:t> </a:t>
          </a:r>
          <a:r>
            <a:rPr lang="en-US" sz="1500" b="0" i="0" kern="1200" dirty="0" err="1"/>
            <a:t>ulaşım</a:t>
          </a:r>
          <a:r>
            <a:rPr lang="en-US" sz="1500" b="0" i="0" kern="1200" dirty="0"/>
            <a:t> </a:t>
          </a:r>
          <a:r>
            <a:rPr lang="en-US" sz="1500" b="0" i="0" kern="1200" dirty="0" err="1"/>
            <a:t>biçimlerini</a:t>
          </a:r>
          <a:r>
            <a:rPr lang="en-US" sz="1500" b="0" i="0" kern="1200" dirty="0"/>
            <a:t> </a:t>
          </a:r>
          <a:r>
            <a:rPr lang="en-US" sz="1500" b="0" i="0" kern="1200" dirty="0" err="1"/>
            <a:t>teşvik</a:t>
          </a:r>
          <a:r>
            <a:rPr lang="en-US" sz="1500" b="0" i="0" kern="1200" dirty="0"/>
            <a:t> </a:t>
          </a:r>
          <a:r>
            <a:rPr lang="en-US" sz="1500" b="0" i="0" kern="1200" dirty="0" err="1"/>
            <a:t>etmek</a:t>
          </a:r>
          <a:r>
            <a:rPr lang="en-US" sz="1500" b="0" i="0" kern="1200" dirty="0"/>
            <a:t>, </a:t>
          </a:r>
          <a:r>
            <a:rPr lang="en-US" sz="1500" b="0" i="0" kern="1200" dirty="0" err="1"/>
            <a:t>halk</a:t>
          </a:r>
          <a:r>
            <a:rPr lang="en-US" sz="1500" b="0" i="0" kern="1200" dirty="0"/>
            <a:t> </a:t>
          </a:r>
          <a:r>
            <a:rPr lang="en-US" sz="1500" b="0" i="0" kern="1200" dirty="0" err="1"/>
            <a:t>sağlığının</a:t>
          </a:r>
          <a:r>
            <a:rPr lang="en-US" sz="1500" b="0" i="0" kern="1200" dirty="0"/>
            <a:t> </a:t>
          </a:r>
          <a:r>
            <a:rPr lang="en-US" sz="1500" b="0" i="0" kern="1200" dirty="0" err="1"/>
            <a:t>iyileştirilmesi</a:t>
          </a:r>
          <a:r>
            <a:rPr lang="en-US" sz="1500" b="0" i="0" kern="1200" dirty="0"/>
            <a:t>, </a:t>
          </a:r>
          <a:r>
            <a:rPr lang="en-US" sz="1500" b="0" i="0" kern="1200" dirty="0" err="1"/>
            <a:t>trafik</a:t>
          </a:r>
          <a:r>
            <a:rPr lang="en-US" sz="1500" b="0" i="0" kern="1200" dirty="0"/>
            <a:t> </a:t>
          </a:r>
          <a:r>
            <a:rPr lang="en-US" sz="1500" b="0" i="0" kern="1200" dirty="0" err="1"/>
            <a:t>sıkışıklığının</a:t>
          </a:r>
          <a:r>
            <a:rPr lang="en-US" sz="1500" b="0" i="0" kern="1200" dirty="0"/>
            <a:t> </a:t>
          </a:r>
          <a:r>
            <a:rPr lang="en-US" sz="1500" b="0" i="0" kern="1200" dirty="0" err="1"/>
            <a:t>hafifletilmesi</a:t>
          </a:r>
          <a:r>
            <a:rPr lang="en-US" sz="1500" b="0" i="0" kern="1200" dirty="0"/>
            <a:t> </a:t>
          </a:r>
          <a:r>
            <a:rPr lang="en-US" sz="1500" b="0" i="0" kern="1200" dirty="0" err="1"/>
            <a:t>ve</a:t>
          </a:r>
          <a:r>
            <a:rPr lang="en-US" sz="1500" b="0" i="0" kern="1200" dirty="0"/>
            <a:t> </a:t>
          </a:r>
          <a:r>
            <a:rPr lang="en-US" sz="1500" b="0" i="0" kern="1200" dirty="0" err="1"/>
            <a:t>çevresel</a:t>
          </a:r>
          <a:r>
            <a:rPr lang="en-US" sz="1500" b="0" i="0" kern="1200" dirty="0"/>
            <a:t> </a:t>
          </a:r>
          <a:r>
            <a:rPr lang="en-US" sz="1500" b="0" i="0" kern="1200" dirty="0" err="1"/>
            <a:t>etkinin</a:t>
          </a:r>
          <a:r>
            <a:rPr lang="en-US" sz="1500" b="0" i="0" kern="1200" dirty="0"/>
            <a:t> minimize </a:t>
          </a:r>
          <a:r>
            <a:rPr lang="en-US" sz="1500" b="0" i="0" kern="1200" dirty="0" err="1"/>
            <a:t>edilmesi</a:t>
          </a:r>
          <a:r>
            <a:rPr lang="en-US" sz="1500" b="0" i="0" kern="1200" dirty="0"/>
            <a:t> </a:t>
          </a:r>
          <a:r>
            <a:rPr lang="en-US" sz="1500" b="0" i="0" kern="1200" dirty="0" err="1"/>
            <a:t>gibi</a:t>
          </a:r>
          <a:r>
            <a:rPr lang="en-US" sz="1500" b="0" i="0" kern="1200" dirty="0"/>
            <a:t> </a:t>
          </a:r>
          <a:r>
            <a:rPr lang="en-US" sz="1500" b="0" i="0" kern="1200" dirty="0" err="1"/>
            <a:t>bir</a:t>
          </a:r>
          <a:r>
            <a:rPr lang="en-US" sz="1500" b="0" i="0" kern="1200" dirty="0"/>
            <a:t> dizi </a:t>
          </a:r>
          <a:r>
            <a:rPr lang="en-US" sz="1500" b="0" i="0" kern="1200" dirty="0" err="1"/>
            <a:t>fayda</a:t>
          </a:r>
          <a:r>
            <a:rPr lang="en-US" sz="1500" b="0" i="0" kern="1200" dirty="0"/>
            <a:t> </a:t>
          </a:r>
          <a:r>
            <a:rPr lang="en-US" sz="1500" b="0" i="0" kern="1200" dirty="0" err="1"/>
            <a:t>sağlar</a:t>
          </a:r>
          <a:r>
            <a:rPr lang="en-US" sz="1500" b="0" i="0" kern="1200" dirty="0"/>
            <a:t>.</a:t>
          </a:r>
          <a:endParaRPr sz="1500" kern="1200" dirty="0"/>
        </a:p>
      </dsp:txBody>
      <dsp:txXfrm>
        <a:off x="0" y="2124"/>
        <a:ext cx="5393361" cy="1449029"/>
      </dsp:txXfrm>
    </dsp:sp>
    <dsp:sp modelId="{9098F2C0-4007-4E77-8E8D-C8CD8A21ED26}">
      <dsp:nvSpPr>
        <dsp:cNvPr id="0" name=""/>
        <dsp:cNvSpPr/>
      </dsp:nvSpPr>
      <dsp:spPr>
        <a:xfrm>
          <a:off x="0" y="1451154"/>
          <a:ext cx="5393361" cy="0"/>
        </a:xfrm>
        <a:prstGeom prst="line">
          <a:avLst/>
        </a:prstGeom>
        <a:gradFill rotWithShape="0">
          <a:gsLst>
            <a:gs pos="0">
              <a:schemeClr val="accent3">
                <a:hueOff val="0"/>
                <a:satOff val="0"/>
                <a:lumOff val="0"/>
                <a:alphaOff val="0"/>
                <a:satMod val="103000"/>
                <a:lumMod val="102000"/>
                <a:tint val="94000"/>
              </a:schemeClr>
            </a:gs>
            <a:gs pos="50000">
              <a:schemeClr val="accent3">
                <a:hueOff val="0"/>
                <a:satOff val="0"/>
                <a:lumOff val="0"/>
                <a:alphaOff val="0"/>
                <a:satMod val="110000"/>
                <a:lumMod val="100000"/>
                <a:shade val="100000"/>
              </a:schemeClr>
            </a:gs>
            <a:gs pos="100000">
              <a:schemeClr val="accent3">
                <a:hueOff val="0"/>
                <a:satOff val="0"/>
                <a:lumOff val="0"/>
                <a:alphaOff val="0"/>
                <a:lumMod val="99000"/>
                <a:satMod val="120000"/>
                <a:shade val="78000"/>
              </a:schemeClr>
            </a:gs>
          </a:gsLst>
          <a:lin ang="5400000" scaled="0"/>
        </a:gradFill>
        <a:ln w="6350" cap="flat" cmpd="sng" algn="ctr">
          <a:solidFill>
            <a:schemeClr val="accent3">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0EF75B13-AC73-4717-8B0A-2DCF3EF3076F}">
      <dsp:nvSpPr>
        <dsp:cNvPr id="0" name=""/>
        <dsp:cNvSpPr/>
      </dsp:nvSpPr>
      <dsp:spPr>
        <a:xfrm>
          <a:off x="0" y="1451154"/>
          <a:ext cx="5393361" cy="14490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just" defTabSz="666750">
            <a:lnSpc>
              <a:spcPct val="90000"/>
            </a:lnSpc>
            <a:spcBef>
              <a:spcPct val="0"/>
            </a:spcBef>
            <a:spcAft>
              <a:spcPct val="35000"/>
            </a:spcAft>
            <a:buNone/>
          </a:pPr>
          <a:r>
            <a:rPr lang="en-US" sz="1500" b="0" i="0" kern="1200" dirty="0"/>
            <a:t>Yaya </a:t>
          </a:r>
          <a:r>
            <a:rPr lang="en-US" sz="1500" b="0" i="0" kern="1200" dirty="0" err="1"/>
            <a:t>hareketini</a:t>
          </a:r>
          <a:r>
            <a:rPr lang="en-US" sz="1500" b="0" i="0" kern="1200" dirty="0"/>
            <a:t> </a:t>
          </a:r>
          <a:r>
            <a:rPr lang="en-US" sz="1500" b="0" i="0" kern="1200" dirty="0" err="1"/>
            <a:t>ve</a:t>
          </a:r>
          <a:r>
            <a:rPr lang="en-US" sz="1500" b="0" i="0" kern="1200" dirty="0"/>
            <a:t> </a:t>
          </a:r>
          <a:r>
            <a:rPr lang="en-US" sz="1500" b="0" i="0" kern="1200" dirty="0" err="1"/>
            <a:t>bisiklet</a:t>
          </a:r>
          <a:r>
            <a:rPr lang="en-US" sz="1500" b="0" i="0" kern="1200" dirty="0"/>
            <a:t> </a:t>
          </a:r>
          <a:r>
            <a:rPr lang="en-US" sz="1500" b="0" i="0" kern="1200" dirty="0" err="1"/>
            <a:t>kullanımını</a:t>
          </a:r>
          <a:r>
            <a:rPr lang="en-US" sz="1500" b="0" i="0" kern="1200" dirty="0"/>
            <a:t> </a:t>
          </a:r>
          <a:r>
            <a:rPr lang="en-US" sz="1500" b="0" i="0" kern="1200" dirty="0" err="1"/>
            <a:t>teşvik</a:t>
          </a:r>
          <a:r>
            <a:rPr lang="en-US" sz="1500" b="0" i="0" kern="1200" dirty="0"/>
            <a:t> </a:t>
          </a:r>
          <a:r>
            <a:rPr lang="en-US" sz="1500" b="0" i="0" kern="1200" dirty="0" err="1"/>
            <a:t>etmek</a:t>
          </a:r>
          <a:r>
            <a:rPr lang="en-US" sz="1500" b="0" i="0" kern="1200" dirty="0"/>
            <a:t> </a:t>
          </a:r>
          <a:r>
            <a:rPr lang="en-US" sz="1500" b="0" i="0" kern="1200" dirty="0" err="1"/>
            <a:t>adına</a:t>
          </a:r>
          <a:r>
            <a:rPr lang="en-US" sz="1500" b="0" i="0" kern="1200" dirty="0"/>
            <a:t>, </a:t>
          </a:r>
          <a:r>
            <a:rPr lang="en-US" sz="1500" b="0" i="0" kern="1200" dirty="0" err="1"/>
            <a:t>şehirlerin</a:t>
          </a:r>
          <a:r>
            <a:rPr lang="en-US" sz="1500" b="0" i="0" kern="1200" dirty="0"/>
            <a:t> </a:t>
          </a:r>
          <a:r>
            <a:rPr lang="en-US" sz="1500" b="0" i="0" kern="1200" dirty="0" err="1"/>
            <a:t>özel</a:t>
          </a:r>
          <a:r>
            <a:rPr lang="en-US" sz="1500" b="0" i="0" kern="1200" dirty="0"/>
            <a:t> </a:t>
          </a:r>
          <a:r>
            <a:rPr lang="en-US" sz="1500" b="0" i="0" kern="1200" dirty="0" err="1"/>
            <a:t>bir</a:t>
          </a:r>
          <a:r>
            <a:rPr lang="en-US" sz="1500" b="0" i="0" kern="1200" dirty="0"/>
            <a:t> </a:t>
          </a:r>
          <a:r>
            <a:rPr lang="en-US" sz="1500" b="0" i="0" kern="1200" dirty="0" err="1"/>
            <a:t>altyapı</a:t>
          </a:r>
          <a:r>
            <a:rPr lang="en-US" sz="1500" b="0" i="0" kern="1200" dirty="0"/>
            <a:t> </a:t>
          </a:r>
          <a:r>
            <a:rPr lang="en-US" sz="1500" b="0" i="0" kern="1200" dirty="0" err="1"/>
            <a:t>oluşturması</a:t>
          </a:r>
          <a:r>
            <a:rPr lang="en-US" sz="1500" b="0" i="0" kern="1200" dirty="0"/>
            <a:t> </a:t>
          </a:r>
          <a:r>
            <a:rPr lang="en-US" sz="1500" b="0" i="0" kern="1200" dirty="0" err="1"/>
            <a:t>gerekmektedir</a:t>
          </a:r>
          <a:r>
            <a:rPr lang="en-US" sz="1500" b="0" i="0" kern="1200" dirty="0"/>
            <a:t>. Bu, </a:t>
          </a:r>
          <a:r>
            <a:rPr lang="en-US" sz="1500" b="0" i="0" kern="1200" dirty="0" err="1"/>
            <a:t>bisiklet</a:t>
          </a:r>
          <a:r>
            <a:rPr lang="en-US" sz="1500" b="0" i="0" kern="1200" dirty="0"/>
            <a:t> </a:t>
          </a:r>
          <a:r>
            <a:rPr lang="en-US" sz="1500" b="0" i="0" kern="1200" dirty="0" err="1"/>
            <a:t>yolları</a:t>
          </a:r>
          <a:r>
            <a:rPr lang="en-US" sz="1500" b="0" i="0" kern="1200" dirty="0"/>
            <a:t> </a:t>
          </a:r>
          <a:r>
            <a:rPr lang="en-US" sz="1500" b="0" i="0" kern="1200" dirty="0" err="1"/>
            <a:t>ve</a:t>
          </a:r>
          <a:r>
            <a:rPr lang="en-US" sz="1500" b="0" i="0" kern="1200" dirty="0"/>
            <a:t> yaya </a:t>
          </a:r>
          <a:r>
            <a:rPr lang="en-US" sz="1500" b="0" i="0" kern="1200" dirty="0" err="1"/>
            <a:t>dostu</a:t>
          </a:r>
          <a:r>
            <a:rPr lang="en-US" sz="1500" b="0" i="0" kern="1200" dirty="0"/>
            <a:t> </a:t>
          </a:r>
          <a:r>
            <a:rPr lang="en-US" sz="1500" b="0" i="0" kern="1200" dirty="0" err="1"/>
            <a:t>kaldırımların</a:t>
          </a:r>
          <a:r>
            <a:rPr lang="en-US" sz="1500" b="0" i="0" kern="1200" dirty="0"/>
            <a:t> </a:t>
          </a:r>
          <a:r>
            <a:rPr lang="en-US" sz="1500" b="0" i="0" kern="1200" dirty="0" err="1"/>
            <a:t>inşası</a:t>
          </a:r>
          <a:r>
            <a:rPr lang="en-US" sz="1500" b="0" i="0" kern="1200" dirty="0"/>
            <a:t> </a:t>
          </a:r>
          <a:r>
            <a:rPr lang="en-US" sz="1500" b="0" i="0" kern="1200" dirty="0" err="1"/>
            <a:t>ile</a:t>
          </a:r>
          <a:r>
            <a:rPr lang="en-US" sz="1500" b="0" i="0" kern="1200" dirty="0"/>
            <a:t> </a:t>
          </a:r>
          <a:r>
            <a:rPr lang="en-US" sz="1500" b="0" i="0" kern="1200" dirty="0" err="1"/>
            <a:t>beraber</a:t>
          </a:r>
          <a:r>
            <a:rPr lang="en-US" sz="1500" b="0" i="0" kern="1200" dirty="0"/>
            <a:t> </a:t>
          </a:r>
          <a:r>
            <a:rPr lang="en-US" sz="1500" b="0" i="0" kern="1200" dirty="0" err="1"/>
            <a:t>ortak</a:t>
          </a:r>
          <a:r>
            <a:rPr lang="en-US" sz="1500" b="0" i="0" kern="1200" dirty="0"/>
            <a:t> </a:t>
          </a:r>
          <a:r>
            <a:rPr lang="en-US" sz="1500" b="0" i="0" kern="1200" dirty="0" err="1"/>
            <a:t>kullanım</a:t>
          </a:r>
          <a:r>
            <a:rPr lang="en-US" sz="1500" b="0" i="0" kern="1200" dirty="0"/>
            <a:t> </a:t>
          </a:r>
          <a:r>
            <a:rPr lang="en-US" sz="1500" b="0" i="0" kern="1200" dirty="0" err="1"/>
            <a:t>alanlarını</a:t>
          </a:r>
          <a:r>
            <a:rPr lang="en-US" sz="1500" b="0" i="0" kern="1200" dirty="0"/>
            <a:t> da </a:t>
          </a:r>
          <a:r>
            <a:rPr lang="en-US" sz="1500" b="0" i="0" kern="1200" dirty="0" err="1"/>
            <a:t>içerir</a:t>
          </a:r>
          <a:r>
            <a:rPr lang="en-US" sz="1500" b="0" i="0" kern="1200" dirty="0"/>
            <a:t>. </a:t>
          </a:r>
          <a:r>
            <a:rPr lang="en-US" sz="1500" b="0" i="0" kern="1200" dirty="0" err="1"/>
            <a:t>Ayrıca</a:t>
          </a:r>
          <a:r>
            <a:rPr lang="en-US" sz="1500" b="0" i="0" kern="1200" dirty="0"/>
            <a:t>, </a:t>
          </a:r>
          <a:r>
            <a:rPr lang="en-US" sz="1500" b="0" i="0" kern="1200" dirty="0" err="1"/>
            <a:t>aktif</a:t>
          </a:r>
          <a:r>
            <a:rPr lang="en-US" sz="1500" b="0" i="0" kern="1200" dirty="0"/>
            <a:t> </a:t>
          </a:r>
          <a:r>
            <a:rPr lang="en-US" sz="1500" b="0" i="0" kern="1200" dirty="0" err="1"/>
            <a:t>ulaşım</a:t>
          </a:r>
          <a:r>
            <a:rPr lang="en-US" sz="1500" b="0" i="0" kern="1200" dirty="0"/>
            <a:t> </a:t>
          </a:r>
          <a:r>
            <a:rPr lang="en-US" sz="1500" b="0" i="0" kern="1200" dirty="0" err="1"/>
            <a:t>kullanıcıları</a:t>
          </a:r>
          <a:r>
            <a:rPr lang="en-US" sz="1500" b="0" i="0" kern="1200" dirty="0"/>
            <a:t> </a:t>
          </a:r>
          <a:r>
            <a:rPr lang="en-US" sz="1500" b="0" i="0" kern="1200" dirty="0" err="1"/>
            <a:t>için</a:t>
          </a:r>
          <a:r>
            <a:rPr lang="en-US" sz="1500" b="0" i="0" kern="1200" dirty="0"/>
            <a:t> </a:t>
          </a:r>
          <a:r>
            <a:rPr lang="en-US" sz="1500" b="0" i="0" kern="1200" dirty="0" err="1"/>
            <a:t>güvenli</a:t>
          </a:r>
          <a:r>
            <a:rPr lang="en-US" sz="1500" b="0" i="0" kern="1200" dirty="0"/>
            <a:t> </a:t>
          </a:r>
          <a:r>
            <a:rPr lang="en-US" sz="1500" b="0" i="0" kern="1200" dirty="0" err="1"/>
            <a:t>ve</a:t>
          </a:r>
          <a:r>
            <a:rPr lang="en-US" sz="1500" b="0" i="0" kern="1200" dirty="0"/>
            <a:t> </a:t>
          </a:r>
          <a:r>
            <a:rPr lang="en-US" sz="1500" b="0" i="0" kern="1200" dirty="0" err="1"/>
            <a:t>konforlu</a:t>
          </a:r>
          <a:r>
            <a:rPr lang="en-US" sz="1500" b="0" i="0" kern="1200" dirty="0"/>
            <a:t> </a:t>
          </a:r>
          <a:r>
            <a:rPr lang="en-US" sz="1500" b="0" i="0" kern="1200" dirty="0" err="1"/>
            <a:t>bir</a:t>
          </a:r>
          <a:r>
            <a:rPr lang="en-US" sz="1500" b="0" i="0" kern="1200" dirty="0"/>
            <a:t> </a:t>
          </a:r>
          <a:r>
            <a:rPr lang="en-US" sz="1500" b="0" i="0" kern="1200" dirty="0" err="1"/>
            <a:t>ortam</a:t>
          </a:r>
          <a:r>
            <a:rPr lang="en-US" sz="1500" b="0" i="0" kern="1200" dirty="0"/>
            <a:t> </a:t>
          </a:r>
          <a:r>
            <a:rPr lang="en-US" sz="1500" b="0" i="0" kern="1200" dirty="0" err="1"/>
            <a:t>sağlamak</a:t>
          </a:r>
          <a:r>
            <a:rPr lang="en-US" sz="1500" b="0" i="0" kern="1200" dirty="0"/>
            <a:t> </a:t>
          </a:r>
          <a:r>
            <a:rPr lang="en-US" sz="1500" b="0" i="0" kern="1200" dirty="0" err="1"/>
            <a:t>amacıyla</a:t>
          </a:r>
          <a:r>
            <a:rPr lang="en-US" sz="1500" b="0" i="0" kern="1200" dirty="0"/>
            <a:t> </a:t>
          </a:r>
          <a:r>
            <a:rPr lang="en-US" sz="1500" b="0" i="0" kern="1200" dirty="0" err="1"/>
            <a:t>trafik</a:t>
          </a:r>
          <a:r>
            <a:rPr lang="en-US" sz="1500" b="0" i="0" kern="1200" dirty="0"/>
            <a:t> </a:t>
          </a:r>
          <a:r>
            <a:rPr lang="en-US" sz="1500" b="0" i="0" kern="1200" dirty="0" err="1"/>
            <a:t>sakinleştirme</a:t>
          </a:r>
          <a:r>
            <a:rPr lang="en-US" sz="1500" b="0" i="0" kern="1200" dirty="0"/>
            <a:t> </a:t>
          </a:r>
          <a:r>
            <a:rPr lang="en-US" sz="1500" b="0" i="0" kern="1200" dirty="0" err="1"/>
            <a:t>önlemlerinin</a:t>
          </a:r>
          <a:r>
            <a:rPr lang="en-US" sz="1500" b="0" i="0" kern="1200" dirty="0"/>
            <a:t> </a:t>
          </a:r>
          <a:r>
            <a:rPr lang="en-US" sz="1500" b="0" i="0" kern="1200" dirty="0" err="1"/>
            <a:t>uygulanması</a:t>
          </a:r>
          <a:r>
            <a:rPr lang="en-US" sz="1500" b="0" i="0" kern="1200" dirty="0"/>
            <a:t> da </a:t>
          </a:r>
          <a:r>
            <a:rPr lang="en-US" sz="1500" b="0" i="0" kern="1200" dirty="0" err="1"/>
            <a:t>bu</a:t>
          </a:r>
          <a:r>
            <a:rPr lang="en-US" sz="1500" b="0" i="0" kern="1200" dirty="0"/>
            <a:t> </a:t>
          </a:r>
          <a:r>
            <a:rPr lang="en-US" sz="1500" b="0" i="0" kern="1200" dirty="0" err="1"/>
            <a:t>sürecin</a:t>
          </a:r>
          <a:r>
            <a:rPr lang="en-US" sz="1500" b="0" i="0" kern="1200" dirty="0"/>
            <a:t> </a:t>
          </a:r>
          <a:r>
            <a:rPr lang="en-US" sz="1500" b="0" i="0" kern="1200" dirty="0" err="1"/>
            <a:t>bir</a:t>
          </a:r>
          <a:r>
            <a:rPr lang="en-US" sz="1500" b="0" i="0" kern="1200" dirty="0"/>
            <a:t> </a:t>
          </a:r>
          <a:r>
            <a:rPr lang="en-US" sz="1500" b="0" i="0" kern="1200" dirty="0" err="1"/>
            <a:t>parçasıdır</a:t>
          </a:r>
          <a:endParaRPr sz="1500" kern="1200" dirty="0"/>
        </a:p>
      </dsp:txBody>
      <dsp:txXfrm>
        <a:off x="0" y="1451154"/>
        <a:ext cx="5393361" cy="1449029"/>
      </dsp:txXfrm>
    </dsp:sp>
    <dsp:sp modelId="{8D559058-F405-4FA4-A622-89BE53684CC4}">
      <dsp:nvSpPr>
        <dsp:cNvPr id="0" name=""/>
        <dsp:cNvSpPr/>
      </dsp:nvSpPr>
      <dsp:spPr>
        <a:xfrm>
          <a:off x="0" y="2900183"/>
          <a:ext cx="5393361" cy="0"/>
        </a:xfrm>
        <a:prstGeom prst="line">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w="6350" cap="flat" cmpd="sng" algn="ctr">
          <a:solidFill>
            <a:schemeClr val="accent4">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sp>
    <dsp:sp modelId="{CAB52CDC-55D1-4121-9E18-F4D76FE1D3A6}">
      <dsp:nvSpPr>
        <dsp:cNvPr id="0" name=""/>
        <dsp:cNvSpPr/>
      </dsp:nvSpPr>
      <dsp:spPr>
        <a:xfrm>
          <a:off x="0" y="2900183"/>
          <a:ext cx="5393361" cy="144902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7150" tIns="57150" rIns="57150" bIns="57150" numCol="1" spcCol="1270" anchor="t" anchorCtr="0">
          <a:noAutofit/>
        </a:bodyPr>
        <a:lstStyle/>
        <a:p>
          <a:pPr marL="0" lvl="0" indent="0" algn="just" defTabSz="666750">
            <a:lnSpc>
              <a:spcPct val="90000"/>
            </a:lnSpc>
            <a:spcBef>
              <a:spcPct val="0"/>
            </a:spcBef>
            <a:spcAft>
              <a:spcPct val="35000"/>
            </a:spcAft>
            <a:buNone/>
          </a:pPr>
          <a:r>
            <a:rPr lang="en-US" sz="1500" b="0" i="0" kern="1200" dirty="0" err="1"/>
            <a:t>Aktif</a:t>
          </a:r>
          <a:r>
            <a:rPr lang="en-US" sz="1500" b="0" i="0" kern="1200" dirty="0"/>
            <a:t> </a:t>
          </a:r>
          <a:r>
            <a:rPr lang="en-US" sz="1500" b="0" i="0" kern="1200" dirty="0" err="1"/>
            <a:t>ulaşımın</a:t>
          </a:r>
          <a:r>
            <a:rPr lang="en-US" sz="1500" b="0" i="0" kern="1200" dirty="0"/>
            <a:t> </a:t>
          </a:r>
          <a:r>
            <a:rPr lang="en-US" sz="1500" b="0" i="0" kern="1200" dirty="0" err="1"/>
            <a:t>sağlık</a:t>
          </a:r>
          <a:r>
            <a:rPr lang="en-US" sz="1500" b="0" i="0" kern="1200" dirty="0"/>
            <a:t> </a:t>
          </a:r>
          <a:r>
            <a:rPr lang="tr-TR" sz="1500" b="0" i="0" kern="1200" dirty="0"/>
            <a:t>konusunda faydaları</a:t>
          </a:r>
          <a:r>
            <a:rPr lang="en-US" sz="1500" b="0" i="0" kern="1200" dirty="0"/>
            <a:t> </a:t>
          </a:r>
          <a:r>
            <a:rPr lang="en-US" sz="1500" b="0" i="0" kern="1200" dirty="0" err="1"/>
            <a:t>büyük</a:t>
          </a:r>
          <a:r>
            <a:rPr lang="en-US" sz="1500" b="0" i="0" kern="1200" dirty="0"/>
            <a:t> </a:t>
          </a:r>
          <a:r>
            <a:rPr lang="en-US" sz="1500" b="0" i="0" kern="1200" dirty="0" err="1"/>
            <a:t>öneme</a:t>
          </a:r>
          <a:r>
            <a:rPr lang="en-US" sz="1500" b="0" i="0" kern="1200" dirty="0"/>
            <a:t> </a:t>
          </a:r>
          <a:r>
            <a:rPr lang="en-US" sz="1500" b="0" i="0" kern="1200" dirty="0" err="1"/>
            <a:t>sahiptir</a:t>
          </a:r>
          <a:r>
            <a:rPr lang="en-US" sz="1500" b="0" i="0" kern="1200" dirty="0"/>
            <a:t>. Yaya </a:t>
          </a:r>
          <a:r>
            <a:rPr lang="en-US" sz="1500" b="0" i="0" kern="1200" dirty="0" err="1"/>
            <a:t>hareketi</a:t>
          </a:r>
          <a:r>
            <a:rPr lang="en-US" sz="1500" b="0" i="0" kern="1200" dirty="0"/>
            <a:t> </a:t>
          </a:r>
          <a:r>
            <a:rPr lang="en-US" sz="1500" b="0" i="0" kern="1200" dirty="0" err="1"/>
            <a:t>ve</a:t>
          </a:r>
          <a:r>
            <a:rPr lang="en-US" sz="1500" b="0" i="0" kern="1200" dirty="0"/>
            <a:t> </a:t>
          </a:r>
          <a:r>
            <a:rPr lang="en-US" sz="1500" b="0" i="0" kern="1200" dirty="0" err="1"/>
            <a:t>bisiklet</a:t>
          </a:r>
          <a:r>
            <a:rPr lang="en-US" sz="1500" b="0" i="0" kern="1200" dirty="0"/>
            <a:t> </a:t>
          </a:r>
          <a:r>
            <a:rPr lang="en-US" sz="1500" b="0" i="0" kern="1200" dirty="0" err="1"/>
            <a:t>kullanımı</a:t>
          </a:r>
          <a:r>
            <a:rPr lang="en-US" sz="1500" b="0" i="0" kern="1200" dirty="0"/>
            <a:t>, </a:t>
          </a:r>
          <a:r>
            <a:rPr lang="en-US" sz="1500" b="0" i="0" kern="1200" dirty="0" err="1"/>
            <a:t>fiziksel</a:t>
          </a:r>
          <a:r>
            <a:rPr lang="en-US" sz="1500" b="0" i="0" kern="1200" dirty="0"/>
            <a:t> </a:t>
          </a:r>
          <a:r>
            <a:rPr lang="en-US" sz="1500" b="0" i="0" kern="1200" dirty="0" err="1"/>
            <a:t>aktivite</a:t>
          </a:r>
          <a:r>
            <a:rPr lang="en-US" sz="1500" b="0" i="0" kern="1200" dirty="0"/>
            <a:t> </a:t>
          </a:r>
          <a:r>
            <a:rPr lang="en-US" sz="1500" b="0" i="0" kern="1200" dirty="0" err="1"/>
            <a:t>seviyesini</a:t>
          </a:r>
          <a:r>
            <a:rPr lang="en-US" sz="1500" b="0" i="0" kern="1200" dirty="0"/>
            <a:t> </a:t>
          </a:r>
          <a:r>
            <a:rPr lang="en-US" sz="1500" b="0" i="0" kern="1200" dirty="0" err="1"/>
            <a:t>artırır</a:t>
          </a:r>
          <a:r>
            <a:rPr lang="en-US" sz="1500" b="0" i="0" kern="1200" dirty="0"/>
            <a:t>, </a:t>
          </a:r>
          <a:r>
            <a:rPr lang="en-US" sz="1500" b="0" i="0" kern="1200" dirty="0" err="1"/>
            <a:t>kronik</a:t>
          </a:r>
          <a:r>
            <a:rPr lang="en-US" sz="1500" b="0" i="0" kern="1200" dirty="0"/>
            <a:t> </a:t>
          </a:r>
          <a:r>
            <a:rPr lang="en-US" sz="1500" b="0" i="0" kern="1200" dirty="0" err="1"/>
            <a:t>hastalık</a:t>
          </a:r>
          <a:r>
            <a:rPr lang="en-US" sz="1500" b="0" i="0" kern="1200" dirty="0"/>
            <a:t> </a:t>
          </a:r>
          <a:r>
            <a:rPr lang="en-US" sz="1500" b="0" i="0" kern="1200" dirty="0" err="1"/>
            <a:t>riskini</a:t>
          </a:r>
          <a:r>
            <a:rPr lang="en-US" sz="1500" b="0" i="0" kern="1200" dirty="0"/>
            <a:t> </a:t>
          </a:r>
          <a:r>
            <a:rPr lang="en-US" sz="1500" b="0" i="0" kern="1200" dirty="0" err="1"/>
            <a:t>azaltır</a:t>
          </a:r>
          <a:r>
            <a:rPr lang="en-US" sz="1500" b="0" i="0" kern="1200" dirty="0"/>
            <a:t> </a:t>
          </a:r>
          <a:r>
            <a:rPr lang="en-US" sz="1500" b="0" i="0" kern="1200" dirty="0" err="1"/>
            <a:t>ve</a:t>
          </a:r>
          <a:r>
            <a:rPr lang="en-US" sz="1500" b="0" i="0" kern="1200" dirty="0"/>
            <a:t> </a:t>
          </a:r>
          <a:r>
            <a:rPr lang="en-US" sz="1500" b="0" i="0" kern="1200" dirty="0" err="1"/>
            <a:t>genel</a:t>
          </a:r>
          <a:r>
            <a:rPr lang="en-US" sz="1500" b="0" i="0" kern="1200" dirty="0"/>
            <a:t> </a:t>
          </a:r>
          <a:r>
            <a:rPr lang="en-US" sz="1500" b="0" i="0" kern="1200" dirty="0" err="1"/>
            <a:t>refahı</a:t>
          </a:r>
          <a:r>
            <a:rPr lang="en-US" sz="1500" b="0" i="0" kern="1200" dirty="0"/>
            <a:t> </a:t>
          </a:r>
          <a:r>
            <a:rPr lang="en-US" sz="1500" b="0" i="0" kern="1200" dirty="0" err="1"/>
            <a:t>iyileştirir</a:t>
          </a:r>
          <a:r>
            <a:rPr lang="en-US" sz="1500" b="0" i="0" kern="1200" dirty="0"/>
            <a:t>. </a:t>
          </a:r>
          <a:r>
            <a:rPr lang="en-US" sz="1500" b="0" i="0" kern="1200" dirty="0" err="1"/>
            <a:t>Ayrıca</a:t>
          </a:r>
          <a:r>
            <a:rPr lang="en-US" sz="1500" b="0" i="0" kern="1200" dirty="0"/>
            <a:t>, </a:t>
          </a:r>
          <a:r>
            <a:rPr lang="en-US" sz="1500" b="0" i="0" kern="1200" dirty="0" err="1"/>
            <a:t>aktif</a:t>
          </a:r>
          <a:r>
            <a:rPr lang="en-US" sz="1500" b="0" i="0" kern="1200" dirty="0"/>
            <a:t> </a:t>
          </a:r>
          <a:r>
            <a:rPr lang="en-US" sz="1500" b="0" i="0" kern="1200" dirty="0" err="1"/>
            <a:t>ulaşımı</a:t>
          </a:r>
          <a:r>
            <a:rPr lang="en-US" sz="1500" b="0" i="0" kern="1200" dirty="0"/>
            <a:t> </a:t>
          </a:r>
          <a:r>
            <a:rPr lang="en-US" sz="1500" b="0" i="0" kern="1200" dirty="0" err="1"/>
            <a:t>önceliklendirmek</a:t>
          </a:r>
          <a:r>
            <a:rPr lang="en-US" sz="1500" b="0" i="0" kern="1200" dirty="0"/>
            <a:t>, </a:t>
          </a:r>
          <a:r>
            <a:rPr lang="en-US" sz="1500" b="0" i="0" kern="1200" dirty="0" err="1"/>
            <a:t>şehirlerin</a:t>
          </a:r>
          <a:r>
            <a:rPr lang="en-US" sz="1500" b="0" i="0" kern="1200" dirty="0"/>
            <a:t> </a:t>
          </a:r>
          <a:r>
            <a:rPr lang="en-US" sz="1500" b="0" i="0" kern="1200" dirty="0" err="1"/>
            <a:t>karbon</a:t>
          </a:r>
          <a:r>
            <a:rPr lang="en-US" sz="1500" b="0" i="0" kern="1200" dirty="0"/>
            <a:t> </a:t>
          </a:r>
          <a:r>
            <a:rPr lang="en-US" sz="1500" b="0" i="0" kern="1200" dirty="0" err="1"/>
            <a:t>emisyonlarını</a:t>
          </a:r>
          <a:r>
            <a:rPr lang="en-US" sz="1500" b="0" i="0" kern="1200" dirty="0"/>
            <a:t> </a:t>
          </a:r>
          <a:r>
            <a:rPr lang="en-US" sz="1500" b="0" i="0" kern="1200" dirty="0" err="1"/>
            <a:t>azaltmasına</a:t>
          </a:r>
          <a:r>
            <a:rPr lang="en-US" sz="1500" b="0" i="0" kern="1200" dirty="0"/>
            <a:t> </a:t>
          </a:r>
          <a:r>
            <a:rPr lang="en-US" sz="1500" b="0" i="0" kern="1200" dirty="0" err="1"/>
            <a:t>ve</a:t>
          </a:r>
          <a:r>
            <a:rPr lang="en-US" sz="1500" b="0" i="0" kern="1200" dirty="0"/>
            <a:t> </a:t>
          </a:r>
          <a:r>
            <a:rPr lang="en-US" sz="1500" b="0" i="0" kern="1200" dirty="0" err="1"/>
            <a:t>daha</a:t>
          </a:r>
          <a:r>
            <a:rPr lang="en-US" sz="1500" b="0" i="0" kern="1200" dirty="0"/>
            <a:t> </a:t>
          </a:r>
          <a:r>
            <a:rPr lang="en-US" sz="1500" b="0" i="0" kern="1200" dirty="0" err="1"/>
            <a:t>temiz</a:t>
          </a:r>
          <a:r>
            <a:rPr lang="en-US" sz="1500" b="0" i="0" kern="1200" dirty="0"/>
            <a:t>, </a:t>
          </a:r>
          <a:r>
            <a:rPr lang="en-US" sz="1500" b="0" i="0" kern="1200" dirty="0" err="1"/>
            <a:t>sağlıklı</a:t>
          </a:r>
          <a:r>
            <a:rPr lang="en-US" sz="1500" b="0" i="0" kern="1200" dirty="0"/>
            <a:t> </a:t>
          </a:r>
          <a:r>
            <a:rPr lang="en-US" sz="1500" b="0" i="0" kern="1200" dirty="0" err="1"/>
            <a:t>bir</a:t>
          </a:r>
          <a:r>
            <a:rPr lang="en-US" sz="1500" b="0" i="0" kern="1200" dirty="0"/>
            <a:t> </a:t>
          </a:r>
          <a:r>
            <a:rPr lang="en-US" sz="1500" b="0" i="0" kern="1200" dirty="0" err="1"/>
            <a:t>kentsel</a:t>
          </a:r>
          <a:r>
            <a:rPr lang="en-US" sz="1500" b="0" i="0" kern="1200" dirty="0"/>
            <a:t> </a:t>
          </a:r>
          <a:r>
            <a:rPr lang="en-US" sz="1500" b="0" i="0" kern="1200" dirty="0" err="1"/>
            <a:t>çevre</a:t>
          </a:r>
          <a:r>
            <a:rPr lang="en-US" sz="1500" b="0" i="0" kern="1200" dirty="0"/>
            <a:t> </a:t>
          </a:r>
          <a:r>
            <a:rPr lang="en-US" sz="1500" b="0" i="0" kern="1200" dirty="0" err="1"/>
            <a:t>oluşturmasına</a:t>
          </a:r>
          <a:r>
            <a:rPr lang="en-US" sz="1500" b="0" i="0" kern="1200" dirty="0"/>
            <a:t> </a:t>
          </a:r>
          <a:r>
            <a:rPr lang="en-US" sz="1500" b="0" i="0" kern="1200" dirty="0" err="1"/>
            <a:t>yardımcı</a:t>
          </a:r>
          <a:r>
            <a:rPr lang="en-US" sz="1500" b="0" i="0" kern="1200" dirty="0"/>
            <a:t> </a:t>
          </a:r>
          <a:r>
            <a:rPr lang="en-US" sz="1500" b="0" i="0" kern="1200" dirty="0" err="1"/>
            <a:t>olabilir</a:t>
          </a:r>
          <a:endParaRPr sz="1500" kern="1200" dirty="0"/>
        </a:p>
      </dsp:txBody>
      <dsp:txXfrm>
        <a:off x="0" y="2900183"/>
        <a:ext cx="5393361" cy="1449029"/>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6324E7C-C6CA-4E3E-8E48-9F2008CE215B}">
      <dsp:nvSpPr>
        <dsp:cNvPr id="0" name=""/>
        <dsp:cNvSpPr/>
      </dsp:nvSpPr>
      <dsp:spPr>
        <a:xfrm>
          <a:off x="0" y="0"/>
          <a:ext cx="5090611" cy="1299093"/>
        </a:xfrm>
        <a:prstGeom prst="roundRect">
          <a:avLst>
            <a:gd name="adj" fmla="val 10000"/>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just" defTabSz="488950">
            <a:lnSpc>
              <a:spcPct val="90000"/>
            </a:lnSpc>
            <a:spcBef>
              <a:spcPct val="0"/>
            </a:spcBef>
            <a:spcAft>
              <a:spcPct val="35000"/>
            </a:spcAft>
            <a:buNone/>
          </a:pPr>
          <a:r>
            <a:rPr sz="1100" kern="1200" dirty="0" err="1"/>
            <a:t>Entegre</a:t>
          </a:r>
          <a:r>
            <a:rPr sz="1100" kern="1200" dirty="0"/>
            <a:t> </a:t>
          </a:r>
          <a:r>
            <a:rPr sz="1100" kern="1200" dirty="0" err="1"/>
            <a:t>arazi</a:t>
          </a:r>
          <a:r>
            <a:rPr sz="1100" kern="1200" dirty="0"/>
            <a:t> </a:t>
          </a:r>
          <a:r>
            <a:rPr sz="1100" kern="1200" dirty="0" err="1"/>
            <a:t>kullanımı</a:t>
          </a:r>
          <a:r>
            <a:rPr sz="1100" kern="1200" dirty="0"/>
            <a:t> </a:t>
          </a:r>
          <a:r>
            <a:rPr sz="1100" kern="1200" dirty="0" err="1"/>
            <a:t>ve</a:t>
          </a:r>
          <a:r>
            <a:rPr sz="1100" kern="1200" dirty="0"/>
            <a:t> </a:t>
          </a:r>
          <a:r>
            <a:rPr sz="1100" kern="1200" dirty="0" err="1"/>
            <a:t>ulaşım</a:t>
          </a:r>
          <a:r>
            <a:rPr sz="1100" kern="1200" dirty="0"/>
            <a:t> </a:t>
          </a:r>
          <a:r>
            <a:rPr sz="1100" kern="1200" dirty="0" err="1"/>
            <a:t>planlaması</a:t>
          </a:r>
          <a:r>
            <a:rPr sz="1100" kern="1200" dirty="0"/>
            <a:t>, </a:t>
          </a:r>
          <a:r>
            <a:rPr sz="1100" kern="1200" dirty="0" err="1"/>
            <a:t>sürdürülebilir</a:t>
          </a:r>
          <a:r>
            <a:rPr sz="1100" kern="1200" dirty="0"/>
            <a:t> </a:t>
          </a:r>
          <a:r>
            <a:rPr sz="1100" kern="1200" dirty="0" err="1"/>
            <a:t>kentsel</a:t>
          </a:r>
          <a:r>
            <a:rPr sz="1100" kern="1200" dirty="0"/>
            <a:t> </a:t>
          </a:r>
          <a:r>
            <a:rPr sz="1100" kern="1200" dirty="0" err="1"/>
            <a:t>gelişim</a:t>
          </a:r>
          <a:r>
            <a:rPr sz="1100" kern="1200" dirty="0"/>
            <a:t> </a:t>
          </a:r>
          <a:r>
            <a:rPr sz="1100" kern="1200" dirty="0" err="1"/>
            <a:t>için</a:t>
          </a:r>
          <a:r>
            <a:rPr sz="1100" kern="1200" dirty="0"/>
            <a:t> </a:t>
          </a:r>
          <a:r>
            <a:rPr sz="1100" kern="1200" dirty="0" err="1"/>
            <a:t>temel</a:t>
          </a:r>
          <a:r>
            <a:rPr sz="1100" kern="1200" dirty="0"/>
            <a:t> </a:t>
          </a:r>
          <a:r>
            <a:rPr sz="1100" kern="1200" dirty="0" err="1"/>
            <a:t>bir</a:t>
          </a:r>
          <a:r>
            <a:rPr sz="1100" kern="1200" dirty="0"/>
            <a:t> </a:t>
          </a:r>
          <a:r>
            <a:rPr sz="1100" kern="1200" dirty="0" err="1"/>
            <a:t>ilkedir</a:t>
          </a:r>
          <a:r>
            <a:rPr sz="1100" kern="1200" dirty="0"/>
            <a:t>. </a:t>
          </a:r>
          <a:r>
            <a:rPr sz="1100" kern="1200" dirty="0" err="1"/>
            <a:t>Kentler</a:t>
          </a:r>
          <a:r>
            <a:rPr sz="1100" kern="1200" dirty="0"/>
            <a:t>, </a:t>
          </a:r>
          <a:r>
            <a:rPr sz="1100" kern="1200" dirty="0" err="1"/>
            <a:t>arazi</a:t>
          </a:r>
          <a:r>
            <a:rPr sz="1100" kern="1200" dirty="0"/>
            <a:t> </a:t>
          </a:r>
          <a:r>
            <a:rPr sz="1100" kern="1200" dirty="0" err="1"/>
            <a:t>kullanım</a:t>
          </a:r>
          <a:r>
            <a:rPr sz="1100" kern="1200" dirty="0"/>
            <a:t> </a:t>
          </a:r>
          <a:r>
            <a:rPr sz="1100" kern="1200" dirty="0" err="1"/>
            <a:t>kalıplarını</a:t>
          </a:r>
          <a:r>
            <a:rPr sz="1100" kern="1200" dirty="0"/>
            <a:t> </a:t>
          </a:r>
          <a:r>
            <a:rPr sz="1100" kern="1200" dirty="0" err="1"/>
            <a:t>ulaşım</a:t>
          </a:r>
          <a:r>
            <a:rPr sz="1100" kern="1200" dirty="0"/>
            <a:t> </a:t>
          </a:r>
          <a:r>
            <a:rPr sz="1100" kern="1200" dirty="0" err="1"/>
            <a:t>altyapısı</a:t>
          </a:r>
          <a:r>
            <a:rPr sz="1100" kern="1200" dirty="0"/>
            <a:t> </a:t>
          </a:r>
          <a:r>
            <a:rPr sz="1100" kern="1200" dirty="0" err="1"/>
            <a:t>ile</a:t>
          </a:r>
          <a:r>
            <a:rPr sz="1100" kern="1200" dirty="0"/>
            <a:t> </a:t>
          </a:r>
          <a:r>
            <a:rPr sz="1100" kern="1200" dirty="0" err="1"/>
            <a:t>uyumlu</a:t>
          </a:r>
          <a:r>
            <a:rPr sz="1100" kern="1200" dirty="0"/>
            <a:t> hale </a:t>
          </a:r>
          <a:r>
            <a:rPr sz="1100" kern="1200" dirty="0" err="1"/>
            <a:t>getirerek</a:t>
          </a:r>
          <a:r>
            <a:rPr sz="1100" kern="1200" dirty="0"/>
            <a:t> </a:t>
          </a:r>
          <a:r>
            <a:rPr sz="1100" kern="1200" dirty="0" err="1"/>
            <a:t>daha</a:t>
          </a:r>
          <a:r>
            <a:rPr sz="1100" kern="1200" dirty="0"/>
            <a:t> </a:t>
          </a:r>
          <a:r>
            <a:rPr sz="1100" kern="1200" dirty="0" err="1"/>
            <a:t>verimli</a:t>
          </a:r>
          <a:r>
            <a:rPr sz="1100" kern="1200" dirty="0"/>
            <a:t> </a:t>
          </a:r>
          <a:r>
            <a:rPr sz="1100" kern="1200" dirty="0" err="1"/>
            <a:t>ve</a:t>
          </a:r>
          <a:r>
            <a:rPr sz="1100" kern="1200" dirty="0"/>
            <a:t> </a:t>
          </a:r>
          <a:r>
            <a:rPr sz="1100" kern="1200" dirty="0" err="1"/>
            <a:t>sürdürülebilir</a:t>
          </a:r>
          <a:r>
            <a:rPr sz="1100" kern="1200" dirty="0"/>
            <a:t> </a:t>
          </a:r>
          <a:r>
            <a:rPr sz="1100" kern="1200" dirty="0" err="1"/>
            <a:t>ulaşım</a:t>
          </a:r>
          <a:r>
            <a:rPr sz="1100" kern="1200" dirty="0"/>
            <a:t> </a:t>
          </a:r>
          <a:r>
            <a:rPr sz="1100" kern="1200" dirty="0" err="1"/>
            <a:t>sistemleri</a:t>
          </a:r>
          <a:r>
            <a:rPr sz="1100" kern="1200" dirty="0"/>
            <a:t> </a:t>
          </a:r>
          <a:r>
            <a:rPr sz="1100" kern="1200" dirty="0" err="1"/>
            <a:t>oluşturabilirler</a:t>
          </a:r>
          <a:r>
            <a:rPr sz="1100" kern="1200" dirty="0"/>
            <a:t>.</a:t>
          </a:r>
        </a:p>
      </dsp:txBody>
      <dsp:txXfrm>
        <a:off x="1148031" y="0"/>
        <a:ext cx="3942579" cy="1299093"/>
      </dsp:txXfrm>
    </dsp:sp>
    <dsp:sp modelId="{C7EA714E-AABA-4D4C-9F3F-B59F3DB3A9EF}">
      <dsp:nvSpPr>
        <dsp:cNvPr id="0" name=""/>
        <dsp:cNvSpPr/>
      </dsp:nvSpPr>
      <dsp:spPr>
        <a:xfrm>
          <a:off x="129909" y="129909"/>
          <a:ext cx="1018122" cy="1039274"/>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l="-28000" r="-2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0008256-A9EB-4FB5-9B78-BE9F3504CA6E}">
      <dsp:nvSpPr>
        <dsp:cNvPr id="0" name=""/>
        <dsp:cNvSpPr/>
      </dsp:nvSpPr>
      <dsp:spPr>
        <a:xfrm>
          <a:off x="0" y="1429002"/>
          <a:ext cx="5090611" cy="1299093"/>
        </a:xfrm>
        <a:prstGeom prst="roundRect">
          <a:avLst>
            <a:gd name="adj" fmla="val 10000"/>
          </a:avLst>
        </a:prstGeom>
        <a:solidFill>
          <a:schemeClr val="accent5">
            <a:hueOff val="-3379271"/>
            <a:satOff val="-8710"/>
            <a:lumOff val="-588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just" defTabSz="488950">
            <a:lnSpc>
              <a:spcPct val="90000"/>
            </a:lnSpc>
            <a:spcBef>
              <a:spcPct val="0"/>
            </a:spcBef>
            <a:spcAft>
              <a:spcPct val="35000"/>
            </a:spcAft>
            <a:buNone/>
          </a:pPr>
          <a:r>
            <a:rPr lang="tr-TR" sz="1100" kern="1200" dirty="0"/>
            <a:t>Toplu taşıma</a:t>
          </a:r>
          <a:r>
            <a:rPr sz="1100" kern="1200" dirty="0"/>
            <a:t> </a:t>
          </a:r>
          <a:r>
            <a:rPr sz="1100" kern="1200" dirty="0" err="1"/>
            <a:t>odaklı</a:t>
          </a:r>
          <a:r>
            <a:rPr sz="1100" kern="1200" dirty="0"/>
            <a:t> </a:t>
          </a:r>
          <a:r>
            <a:rPr sz="1100" kern="1200" dirty="0" err="1"/>
            <a:t>gelişim</a:t>
          </a:r>
          <a:r>
            <a:rPr lang="tr-TR" sz="1100" kern="1200" dirty="0"/>
            <a:t>, İngilizce’de «Transit Oriented Development»</a:t>
          </a:r>
          <a:r>
            <a:rPr sz="1100" kern="1200" dirty="0"/>
            <a:t> (TO</a:t>
          </a:r>
          <a:r>
            <a:rPr lang="tr-TR" sz="1100" kern="1200" dirty="0"/>
            <a:t>D</a:t>
          </a:r>
          <a:r>
            <a:rPr sz="1100" kern="1200" dirty="0"/>
            <a:t>), </a:t>
          </a:r>
          <a:r>
            <a:rPr sz="1100" kern="1200" dirty="0" err="1"/>
            <a:t>entegre</a:t>
          </a:r>
          <a:r>
            <a:rPr sz="1100" kern="1200" dirty="0"/>
            <a:t> </a:t>
          </a:r>
          <a:r>
            <a:rPr sz="1100" kern="1200" dirty="0" err="1"/>
            <a:t>planlamanın</a:t>
          </a:r>
          <a:r>
            <a:rPr sz="1100" kern="1200" dirty="0"/>
            <a:t> </a:t>
          </a:r>
          <a:r>
            <a:rPr sz="1100" kern="1200" dirty="0" err="1"/>
            <a:t>önemli</a:t>
          </a:r>
          <a:r>
            <a:rPr sz="1100" kern="1200" dirty="0"/>
            <a:t> </a:t>
          </a:r>
          <a:r>
            <a:rPr sz="1100" kern="1200" dirty="0" err="1"/>
            <a:t>bir</a:t>
          </a:r>
          <a:r>
            <a:rPr sz="1100" kern="1200" dirty="0"/>
            <a:t> </a:t>
          </a:r>
          <a:r>
            <a:rPr sz="1100" kern="1200" dirty="0" err="1"/>
            <a:t>yönüdür</a:t>
          </a:r>
          <a:r>
            <a:rPr sz="1100" kern="1200" dirty="0"/>
            <a:t>. </a:t>
          </a:r>
          <a:r>
            <a:rPr sz="1100" kern="1200" dirty="0" err="1"/>
            <a:t>Toplu</a:t>
          </a:r>
          <a:r>
            <a:rPr sz="1100" kern="1200" dirty="0"/>
            <a:t> </a:t>
          </a:r>
          <a:r>
            <a:rPr sz="1100" kern="1200" dirty="0" err="1"/>
            <a:t>taşıma</a:t>
          </a:r>
          <a:r>
            <a:rPr sz="1100" kern="1200" dirty="0"/>
            <a:t> </a:t>
          </a:r>
          <a:r>
            <a:rPr sz="1100" kern="1200" dirty="0" err="1"/>
            <a:t>merkezleri</a:t>
          </a:r>
          <a:r>
            <a:rPr sz="1100" kern="1200" dirty="0"/>
            <a:t> </a:t>
          </a:r>
          <a:r>
            <a:rPr sz="1100" kern="1200" dirty="0" err="1"/>
            <a:t>etrafında</a:t>
          </a:r>
          <a:r>
            <a:rPr sz="1100" kern="1200" dirty="0"/>
            <a:t> </a:t>
          </a:r>
          <a:r>
            <a:rPr sz="1100" kern="1200" dirty="0" err="1"/>
            <a:t>konut</a:t>
          </a:r>
          <a:r>
            <a:rPr sz="1100" kern="1200" dirty="0"/>
            <a:t>, </a:t>
          </a:r>
          <a:r>
            <a:rPr sz="1100" kern="1200" dirty="0" err="1"/>
            <a:t>ticari</a:t>
          </a:r>
          <a:r>
            <a:rPr sz="1100" kern="1200" dirty="0"/>
            <a:t> </a:t>
          </a:r>
          <a:r>
            <a:rPr sz="1100" kern="1200" dirty="0" err="1"/>
            <a:t>ve</a:t>
          </a:r>
          <a:r>
            <a:rPr sz="1100" kern="1200" dirty="0"/>
            <a:t> </a:t>
          </a:r>
          <a:r>
            <a:rPr sz="1100" kern="1200" dirty="0" err="1"/>
            <a:t>rekreasyon</a:t>
          </a:r>
          <a:r>
            <a:rPr sz="1100" kern="1200" dirty="0"/>
            <a:t> </a:t>
          </a:r>
          <a:r>
            <a:rPr sz="1100" kern="1200" dirty="0" err="1"/>
            <a:t>alanlarının</a:t>
          </a:r>
          <a:r>
            <a:rPr sz="1100" kern="1200" dirty="0"/>
            <a:t> </a:t>
          </a:r>
          <a:r>
            <a:rPr sz="1100" kern="1200" dirty="0" err="1"/>
            <a:t>yoğunlaştırılmasını</a:t>
          </a:r>
          <a:r>
            <a:rPr sz="1100" kern="1200" dirty="0"/>
            <a:t>, </a:t>
          </a:r>
          <a:r>
            <a:rPr sz="1100" kern="1200" dirty="0" err="1"/>
            <a:t>yürüyüş</a:t>
          </a:r>
          <a:r>
            <a:rPr sz="1100" kern="1200" dirty="0"/>
            <a:t>, </a:t>
          </a:r>
          <a:r>
            <a:rPr sz="1100" kern="1200" dirty="0" err="1"/>
            <a:t>bisiklete</a:t>
          </a:r>
          <a:r>
            <a:rPr sz="1100" kern="1200" dirty="0"/>
            <a:t> </a:t>
          </a:r>
          <a:r>
            <a:rPr sz="1100" kern="1200" dirty="0" err="1"/>
            <a:t>binme</a:t>
          </a:r>
          <a:r>
            <a:rPr sz="1100" kern="1200" dirty="0"/>
            <a:t> </a:t>
          </a:r>
          <a:r>
            <a:rPr sz="1100" kern="1200" dirty="0" err="1"/>
            <a:t>ve</a:t>
          </a:r>
          <a:r>
            <a:rPr sz="1100" kern="1200" dirty="0"/>
            <a:t> </a:t>
          </a:r>
          <a:r>
            <a:rPr sz="1100" kern="1200" dirty="0" err="1"/>
            <a:t>toplu</a:t>
          </a:r>
          <a:r>
            <a:rPr sz="1100" kern="1200" dirty="0"/>
            <a:t> </a:t>
          </a:r>
          <a:r>
            <a:rPr sz="1100" kern="1200" dirty="0" err="1"/>
            <a:t>taşıma</a:t>
          </a:r>
          <a:r>
            <a:rPr sz="1100" kern="1200" dirty="0"/>
            <a:t> </a:t>
          </a:r>
          <a:r>
            <a:rPr sz="1100" kern="1200" dirty="0" err="1"/>
            <a:t>kullanımının</a:t>
          </a:r>
          <a:r>
            <a:rPr sz="1100" kern="1200" dirty="0"/>
            <a:t> </a:t>
          </a:r>
          <a:r>
            <a:rPr sz="1100" kern="1200" dirty="0" err="1"/>
            <a:t>teşvik</a:t>
          </a:r>
          <a:r>
            <a:rPr sz="1100" kern="1200" dirty="0"/>
            <a:t> </a:t>
          </a:r>
          <a:r>
            <a:rPr sz="1100" kern="1200" dirty="0" err="1"/>
            <a:t>edilmesini</a:t>
          </a:r>
          <a:r>
            <a:rPr sz="1100" kern="1200" dirty="0"/>
            <a:t> </a:t>
          </a:r>
          <a:r>
            <a:rPr sz="1100" kern="1200" dirty="0" err="1"/>
            <a:t>içerir</a:t>
          </a:r>
          <a:r>
            <a:rPr sz="1100" kern="1200" dirty="0"/>
            <a:t>. TO</a:t>
          </a:r>
          <a:r>
            <a:rPr lang="tr-TR" sz="1100" kern="1200" dirty="0"/>
            <a:t>D</a:t>
          </a:r>
          <a:r>
            <a:rPr sz="1100" kern="1200" dirty="0"/>
            <a:t>, </a:t>
          </a:r>
          <a:r>
            <a:rPr sz="1100" kern="1200" dirty="0" err="1"/>
            <a:t>seyahat</a:t>
          </a:r>
          <a:r>
            <a:rPr sz="1100" kern="1200" dirty="0"/>
            <a:t> </a:t>
          </a:r>
          <a:r>
            <a:rPr sz="1100" kern="1200" dirty="0" err="1"/>
            <a:t>mesafelerini</a:t>
          </a:r>
          <a:r>
            <a:rPr sz="1100" kern="1200" dirty="0"/>
            <a:t> </a:t>
          </a:r>
          <a:r>
            <a:rPr sz="1100" kern="1200" dirty="0" err="1"/>
            <a:t>azaltan</a:t>
          </a:r>
          <a:r>
            <a:rPr sz="1100" kern="1200" dirty="0"/>
            <a:t> </a:t>
          </a:r>
          <a:r>
            <a:rPr sz="1100" kern="1200" dirty="0" err="1"/>
            <a:t>ve</a:t>
          </a:r>
          <a:r>
            <a:rPr sz="1100" kern="1200" dirty="0"/>
            <a:t> </a:t>
          </a:r>
          <a:r>
            <a:rPr sz="1100" kern="1200" dirty="0" err="1"/>
            <a:t>daha</a:t>
          </a:r>
          <a:r>
            <a:rPr sz="1100" kern="1200" dirty="0"/>
            <a:t> </a:t>
          </a:r>
          <a:r>
            <a:rPr sz="1100" kern="1200" dirty="0" err="1"/>
            <a:t>sürdürülebilir</a:t>
          </a:r>
          <a:r>
            <a:rPr sz="1100" kern="1200" dirty="0"/>
            <a:t> </a:t>
          </a:r>
          <a:r>
            <a:rPr sz="1100" kern="1200" dirty="0" err="1"/>
            <a:t>bir</a:t>
          </a:r>
          <a:r>
            <a:rPr sz="1100" kern="1200" dirty="0"/>
            <a:t> </a:t>
          </a:r>
          <a:r>
            <a:rPr sz="1100" kern="1200" dirty="0" err="1"/>
            <a:t>yaşam</a:t>
          </a:r>
          <a:r>
            <a:rPr sz="1100" kern="1200" dirty="0"/>
            <a:t> </a:t>
          </a:r>
          <a:r>
            <a:rPr sz="1100" kern="1200" dirty="0" err="1"/>
            <a:t>tarzını</a:t>
          </a:r>
          <a:r>
            <a:rPr sz="1100" kern="1200" dirty="0"/>
            <a:t> </a:t>
          </a:r>
          <a:r>
            <a:rPr sz="1100" kern="1200" dirty="0" err="1"/>
            <a:t>destekleyen</a:t>
          </a:r>
          <a:r>
            <a:rPr sz="1100" kern="1200" dirty="0"/>
            <a:t> </a:t>
          </a:r>
          <a:r>
            <a:rPr sz="1100" kern="1200" dirty="0" err="1"/>
            <a:t>kompakt</a:t>
          </a:r>
          <a:r>
            <a:rPr sz="1100" kern="1200" dirty="0"/>
            <a:t>, karma </a:t>
          </a:r>
          <a:r>
            <a:rPr sz="1100" kern="1200" dirty="0" err="1"/>
            <a:t>kullanımlı</a:t>
          </a:r>
          <a:r>
            <a:rPr sz="1100" kern="1200" dirty="0"/>
            <a:t> </a:t>
          </a:r>
          <a:r>
            <a:rPr sz="1100" kern="1200" dirty="0" err="1"/>
            <a:t>mahalleleri</a:t>
          </a:r>
          <a:r>
            <a:rPr sz="1100" kern="1200" dirty="0"/>
            <a:t> </a:t>
          </a:r>
          <a:r>
            <a:rPr sz="1100" kern="1200" dirty="0" err="1"/>
            <a:t>teşvik</a:t>
          </a:r>
          <a:r>
            <a:rPr sz="1100" kern="1200" dirty="0"/>
            <a:t> </a:t>
          </a:r>
          <a:r>
            <a:rPr sz="1100" kern="1200" dirty="0" err="1"/>
            <a:t>eder</a:t>
          </a:r>
          <a:r>
            <a:rPr sz="1100" kern="1200" dirty="0"/>
            <a:t>.</a:t>
          </a:r>
        </a:p>
      </dsp:txBody>
      <dsp:txXfrm>
        <a:off x="1148031" y="1429002"/>
        <a:ext cx="3942579" cy="1299093"/>
      </dsp:txXfrm>
    </dsp:sp>
    <dsp:sp modelId="{6F3AA5BF-1BC3-4648-BB2B-5278FDE79E09}">
      <dsp:nvSpPr>
        <dsp:cNvPr id="0" name=""/>
        <dsp:cNvSpPr/>
      </dsp:nvSpPr>
      <dsp:spPr>
        <a:xfrm>
          <a:off x="129909" y="1558912"/>
          <a:ext cx="1018122" cy="1039274"/>
        </a:xfrm>
        <a:prstGeom prst="roundRect">
          <a:avLst>
            <a:gd name="adj" fmla="val 10000"/>
          </a:avLst>
        </a:prstGeom>
        <a:blipFill>
          <a:blip xmlns:r="http://schemas.openxmlformats.org/officeDocument/2006/relationships" r:embed="rId2">
            <a:extLst>
              <a:ext uri="{28A0092B-C50C-407E-A947-70E740481C1C}">
                <a14:useLocalDpi xmlns:a14="http://schemas.microsoft.com/office/drawing/2010/main" val="0"/>
              </a:ext>
            </a:extLst>
          </a:blip>
          <a:srcRect/>
          <a:stretch>
            <a:fillRect l="-1000" r="-1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9F01938-B8E6-48E9-BDCD-E8CA400E4B37}">
      <dsp:nvSpPr>
        <dsp:cNvPr id="0" name=""/>
        <dsp:cNvSpPr/>
      </dsp:nvSpPr>
      <dsp:spPr>
        <a:xfrm>
          <a:off x="0" y="2858005"/>
          <a:ext cx="5090611" cy="1299093"/>
        </a:xfrm>
        <a:prstGeom prst="roundRect">
          <a:avLst>
            <a:gd name="adj" fmla="val 10000"/>
          </a:avLst>
        </a:prstGeom>
        <a:solidFill>
          <a:schemeClr val="accent5">
            <a:hueOff val="-6758543"/>
            <a:satOff val="-17419"/>
            <a:lumOff val="-1176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just" defTabSz="488950">
            <a:lnSpc>
              <a:spcPct val="90000"/>
            </a:lnSpc>
            <a:spcBef>
              <a:spcPct val="0"/>
            </a:spcBef>
            <a:spcAft>
              <a:spcPct val="35000"/>
            </a:spcAft>
            <a:buNone/>
          </a:pPr>
          <a:r>
            <a:rPr lang="en-US" sz="1100" b="0" i="0" kern="1200" dirty="0"/>
            <a:t>Karma </a:t>
          </a:r>
          <a:r>
            <a:rPr lang="en-US" sz="1100" b="0" i="0" kern="1200" dirty="0" err="1"/>
            <a:t>kullanımlı</a:t>
          </a:r>
          <a:r>
            <a:rPr lang="en-US" sz="1100" b="0" i="0" kern="1200" dirty="0"/>
            <a:t> </a:t>
          </a:r>
          <a:r>
            <a:rPr lang="en-US" sz="1100" b="0" i="0" kern="1200" dirty="0" err="1"/>
            <a:t>yapılaşma</a:t>
          </a:r>
          <a:r>
            <a:rPr lang="en-US" sz="1100" b="0" i="0" kern="1200" dirty="0"/>
            <a:t>, </a:t>
          </a:r>
          <a:r>
            <a:rPr lang="en-US" sz="1100" b="0" i="0" kern="1200" dirty="0" err="1"/>
            <a:t>entegre</a:t>
          </a:r>
          <a:r>
            <a:rPr lang="en-US" sz="1100" b="0" i="0" kern="1200" dirty="0"/>
            <a:t> </a:t>
          </a:r>
          <a:r>
            <a:rPr lang="en-US" sz="1100" b="0" i="0" kern="1200" dirty="0" err="1"/>
            <a:t>planlamanın</a:t>
          </a:r>
          <a:r>
            <a:rPr lang="en-US" sz="1100" b="0" i="0" kern="1200" dirty="0"/>
            <a:t> </a:t>
          </a:r>
          <a:r>
            <a:rPr lang="en-US" sz="1100" b="0" i="0" kern="1200" dirty="0" err="1"/>
            <a:t>bir</a:t>
          </a:r>
          <a:r>
            <a:rPr lang="en-US" sz="1100" b="0" i="0" kern="1200" dirty="0"/>
            <a:t> </a:t>
          </a:r>
          <a:r>
            <a:rPr lang="en-US" sz="1100" b="0" i="0" kern="1200" dirty="0" err="1"/>
            <a:t>başka</a:t>
          </a:r>
          <a:r>
            <a:rPr lang="en-US" sz="1100" b="0" i="0" kern="1200" dirty="0"/>
            <a:t> </a:t>
          </a:r>
          <a:r>
            <a:rPr lang="en-US" sz="1100" b="0" i="0" kern="1200" dirty="0" err="1"/>
            <a:t>kritik</a:t>
          </a:r>
          <a:r>
            <a:rPr lang="en-US" sz="1100" b="0" i="0" kern="1200" dirty="0"/>
            <a:t> </a:t>
          </a:r>
          <a:r>
            <a:rPr lang="en-US" sz="1100" b="0" i="0" kern="1200" dirty="0" err="1"/>
            <a:t>unsurudur</a:t>
          </a:r>
          <a:r>
            <a:rPr lang="en-US" sz="1100" b="0" i="0" kern="1200" dirty="0"/>
            <a:t>. </a:t>
          </a:r>
          <a:r>
            <a:rPr lang="en-US" sz="1100" b="0" i="0" kern="1200" dirty="0" err="1"/>
            <a:t>Şehirler</a:t>
          </a:r>
          <a:r>
            <a:rPr lang="en-US" sz="1100" b="0" i="0" kern="1200" dirty="0"/>
            <a:t>, </a:t>
          </a:r>
          <a:r>
            <a:rPr lang="en-US" sz="1100" b="0" i="0" kern="1200" dirty="0" err="1"/>
            <a:t>çevredeki</a:t>
          </a:r>
          <a:r>
            <a:rPr lang="en-US" sz="1100" b="0" i="0" kern="1200" dirty="0"/>
            <a:t> </a:t>
          </a:r>
          <a:r>
            <a:rPr lang="en-US" sz="1100" b="0" i="0" kern="1200" dirty="0" err="1"/>
            <a:t>konutlar</a:t>
          </a:r>
          <a:r>
            <a:rPr lang="en-US" sz="1100" b="0" i="0" kern="1200" dirty="0"/>
            <a:t>, </a:t>
          </a:r>
          <a:r>
            <a:rPr lang="en-US" sz="1100" b="0" i="0" kern="1200" dirty="0" err="1"/>
            <a:t>ticari</a:t>
          </a:r>
          <a:r>
            <a:rPr lang="en-US" sz="1100" b="0" i="0" kern="1200" dirty="0"/>
            <a:t> </a:t>
          </a:r>
          <a:r>
            <a:rPr lang="en-US" sz="1100" b="0" i="0" kern="1200" dirty="0" err="1"/>
            <a:t>alanlar</a:t>
          </a:r>
          <a:r>
            <a:rPr lang="en-US" sz="1100" b="0" i="0" kern="1200" dirty="0"/>
            <a:t> </a:t>
          </a:r>
          <a:r>
            <a:rPr lang="en-US" sz="1100" b="0" i="0" kern="1200" dirty="0" err="1"/>
            <a:t>ve</a:t>
          </a:r>
          <a:r>
            <a:rPr lang="en-US" sz="1100" b="0" i="0" kern="1200" dirty="0"/>
            <a:t> </a:t>
          </a:r>
          <a:r>
            <a:rPr lang="en-US" sz="1100" b="0" i="0" kern="1200" dirty="0" err="1"/>
            <a:t>rekreasyonel</a:t>
          </a:r>
          <a:r>
            <a:rPr lang="en-US" sz="1100" b="0" i="0" kern="1200" dirty="0"/>
            <a:t> </a:t>
          </a:r>
          <a:r>
            <a:rPr lang="en-US" sz="1100" b="0" i="0" kern="1200" dirty="0" err="1"/>
            <a:t>faaliyetlerin</a:t>
          </a:r>
          <a:r>
            <a:rPr lang="en-US" sz="1100" b="0" i="0" kern="1200" dirty="0"/>
            <a:t> </a:t>
          </a:r>
          <a:r>
            <a:rPr lang="en-US" sz="1100" b="0" i="0" kern="1200" dirty="0" err="1"/>
            <a:t>birleştirilmesine</a:t>
          </a:r>
          <a:r>
            <a:rPr lang="en-US" sz="1100" b="0" i="0" kern="1200" dirty="0"/>
            <a:t> </a:t>
          </a:r>
          <a:r>
            <a:rPr lang="en-US" sz="1100" b="0" i="0" kern="1200" dirty="0" err="1"/>
            <a:t>izin</a:t>
          </a:r>
          <a:r>
            <a:rPr lang="en-US" sz="1100" b="0" i="0" kern="1200" dirty="0"/>
            <a:t> </a:t>
          </a:r>
          <a:r>
            <a:rPr lang="en-US" sz="1100" b="0" i="0" kern="1200" dirty="0" err="1"/>
            <a:t>vererek</a:t>
          </a:r>
          <a:r>
            <a:rPr lang="en-US" sz="1100" b="0" i="0" kern="1200" dirty="0"/>
            <a:t>, </a:t>
          </a:r>
          <a:r>
            <a:rPr lang="en-US" sz="1100" b="0" i="0" kern="1200" dirty="0" err="1"/>
            <a:t>uzun</a:t>
          </a:r>
          <a:r>
            <a:rPr lang="en-US" sz="1100" b="0" i="0" kern="1200" dirty="0"/>
            <a:t> </a:t>
          </a:r>
          <a:r>
            <a:rPr lang="en-US" sz="1100" b="0" i="0" kern="1200" dirty="0" err="1"/>
            <a:t>mesafeli</a:t>
          </a:r>
          <a:r>
            <a:rPr lang="en-US" sz="1100" b="0" i="0" kern="1200" dirty="0"/>
            <a:t> </a:t>
          </a:r>
          <a:r>
            <a:rPr lang="en-US" sz="1100" b="0" i="0" kern="1200" dirty="0" err="1"/>
            <a:t>işe</a:t>
          </a:r>
          <a:r>
            <a:rPr lang="en-US" sz="1100" b="0" i="0" kern="1200" dirty="0"/>
            <a:t> </a:t>
          </a:r>
          <a:r>
            <a:rPr lang="en-US" sz="1100" b="0" i="0" kern="1200" dirty="0" err="1"/>
            <a:t>gidip</a:t>
          </a:r>
          <a:r>
            <a:rPr lang="en-US" sz="1100" b="0" i="0" kern="1200" dirty="0"/>
            <a:t> </a:t>
          </a:r>
          <a:r>
            <a:rPr lang="en-US" sz="1100" b="0" i="0" kern="1200" dirty="0" err="1"/>
            <a:t>gelme</a:t>
          </a:r>
          <a:r>
            <a:rPr lang="en-US" sz="1100" b="0" i="0" kern="1200" dirty="0"/>
            <a:t> </a:t>
          </a:r>
          <a:r>
            <a:rPr lang="en-US" sz="1100" b="0" i="0" kern="1200" dirty="0" err="1"/>
            <a:t>ihtiyacını</a:t>
          </a:r>
          <a:r>
            <a:rPr lang="en-US" sz="1100" b="0" i="0" kern="1200" dirty="0"/>
            <a:t> </a:t>
          </a:r>
          <a:r>
            <a:rPr lang="en-US" sz="1100" b="0" i="0" kern="1200" dirty="0" err="1"/>
            <a:t>azaltabilir</a:t>
          </a:r>
          <a:r>
            <a:rPr lang="en-US" sz="1100" b="0" i="0" kern="1200" dirty="0"/>
            <a:t> </a:t>
          </a:r>
          <a:r>
            <a:rPr lang="en-US" sz="1100" b="0" i="0" kern="1200" dirty="0" err="1"/>
            <a:t>ve</a:t>
          </a:r>
          <a:r>
            <a:rPr lang="en-US" sz="1100" b="0" i="0" kern="1200" dirty="0"/>
            <a:t> </a:t>
          </a:r>
          <a:r>
            <a:rPr lang="en-US" sz="1100" b="0" i="0" kern="1200" dirty="0" err="1"/>
            <a:t>canlı</a:t>
          </a:r>
          <a:r>
            <a:rPr lang="en-US" sz="1100" b="0" i="0" kern="1200" dirty="0"/>
            <a:t>, </a:t>
          </a:r>
          <a:r>
            <a:rPr lang="en-US" sz="1100" b="0" i="0" kern="1200" dirty="0" err="1"/>
            <a:t>yürünebilir</a:t>
          </a:r>
          <a:r>
            <a:rPr lang="en-US" sz="1100" b="0" i="0" kern="1200" dirty="0"/>
            <a:t> </a:t>
          </a:r>
          <a:r>
            <a:rPr lang="en-US" sz="1100" b="0" i="0" kern="1200" dirty="0" err="1"/>
            <a:t>topluluklar</a:t>
          </a:r>
          <a:r>
            <a:rPr lang="en-US" sz="1100" b="0" i="0" kern="1200" dirty="0"/>
            <a:t> </a:t>
          </a:r>
          <a:r>
            <a:rPr lang="en-US" sz="1100" b="0" i="0" kern="1200" dirty="0" err="1"/>
            <a:t>oluşturabilirler</a:t>
          </a:r>
          <a:r>
            <a:rPr lang="en-US" sz="1100" b="0" i="0" kern="1200" dirty="0"/>
            <a:t>. Bu </a:t>
          </a:r>
          <a:r>
            <a:rPr lang="en-US" sz="1100" b="0" i="0" kern="1200" dirty="0" err="1"/>
            <a:t>yaklaşım</a:t>
          </a:r>
          <a:r>
            <a:rPr lang="en-US" sz="1100" b="0" i="0" kern="1200" dirty="0"/>
            <a:t>, </a:t>
          </a:r>
          <a:r>
            <a:rPr lang="en-US" sz="1100" b="0" i="0" kern="1200" dirty="0" err="1"/>
            <a:t>aktif</a:t>
          </a:r>
          <a:r>
            <a:rPr lang="en-US" sz="1100" b="0" i="0" kern="1200" dirty="0"/>
            <a:t> </a:t>
          </a:r>
          <a:r>
            <a:rPr lang="en-US" sz="1100" b="0" i="0" kern="1200" dirty="0" err="1"/>
            <a:t>ulaşımı</a:t>
          </a:r>
          <a:r>
            <a:rPr lang="en-US" sz="1100" b="0" i="0" kern="1200" dirty="0"/>
            <a:t> </a:t>
          </a:r>
          <a:r>
            <a:rPr lang="en-US" sz="1100" b="0" i="0" kern="1200" dirty="0" err="1"/>
            <a:t>destekler</a:t>
          </a:r>
          <a:r>
            <a:rPr lang="en-US" sz="1100" b="0" i="0" kern="1200" dirty="0"/>
            <a:t> </a:t>
          </a:r>
          <a:r>
            <a:rPr lang="en-US" sz="1100" b="0" i="0" kern="1200" dirty="0" err="1"/>
            <a:t>ve</a:t>
          </a:r>
          <a:r>
            <a:rPr lang="en-US" sz="1100" b="0" i="0" kern="1200" dirty="0"/>
            <a:t> </a:t>
          </a:r>
          <a:r>
            <a:rPr lang="en-US" sz="1100" b="0" i="0" kern="1200" dirty="0" err="1"/>
            <a:t>özel</a:t>
          </a:r>
          <a:r>
            <a:rPr lang="en-US" sz="1100" b="0" i="0" kern="1200" dirty="0"/>
            <a:t> </a:t>
          </a:r>
          <a:r>
            <a:rPr lang="en-US" sz="1100" b="0" i="0" kern="1200" dirty="0" err="1"/>
            <a:t>araç</a:t>
          </a:r>
          <a:r>
            <a:rPr lang="en-US" sz="1100" b="0" i="0" kern="1200" dirty="0"/>
            <a:t> </a:t>
          </a:r>
          <a:r>
            <a:rPr lang="en-US" sz="1100" b="0" i="0" kern="1200" dirty="0" err="1"/>
            <a:t>kullanımına</a:t>
          </a:r>
          <a:r>
            <a:rPr lang="en-US" sz="1100" b="0" i="0" kern="1200" dirty="0"/>
            <a:t> </a:t>
          </a:r>
          <a:r>
            <a:rPr lang="en-US" sz="1100" b="0" i="0" kern="1200" dirty="0" err="1"/>
            <a:t>olan</a:t>
          </a:r>
          <a:r>
            <a:rPr lang="en-US" sz="1100" b="0" i="0" kern="1200" dirty="0"/>
            <a:t> </a:t>
          </a:r>
          <a:r>
            <a:rPr lang="en-US" sz="1100" b="0" i="0" kern="1200" dirty="0" err="1"/>
            <a:t>bağımlılığı</a:t>
          </a:r>
          <a:r>
            <a:rPr lang="en-US" sz="1100" b="0" i="0" kern="1200" dirty="0"/>
            <a:t> </a:t>
          </a:r>
          <a:r>
            <a:rPr lang="en-US" sz="1100" b="0" i="0" kern="1200" dirty="0" err="1"/>
            <a:t>düşürür</a:t>
          </a:r>
          <a:r>
            <a:rPr lang="en-US" sz="1100" b="0" i="0" kern="1200" dirty="0"/>
            <a:t>. Bu durum </a:t>
          </a:r>
          <a:r>
            <a:rPr lang="en-US" sz="1100" b="0" i="0" kern="1200" dirty="0" err="1"/>
            <a:t>çevresel</a:t>
          </a:r>
          <a:r>
            <a:rPr lang="en-US" sz="1100" b="0" i="0" kern="1200" dirty="0"/>
            <a:t> </a:t>
          </a:r>
          <a:r>
            <a:rPr lang="en-US" sz="1100" b="0" i="0" kern="1200" dirty="0" err="1"/>
            <a:t>sürdürülebilirliği</a:t>
          </a:r>
          <a:r>
            <a:rPr lang="en-US" sz="1100" b="0" i="0" kern="1200" dirty="0"/>
            <a:t> </a:t>
          </a:r>
          <a:r>
            <a:rPr lang="en-US" sz="1100" b="0" i="0" kern="1200" dirty="0" err="1"/>
            <a:t>ve</a:t>
          </a:r>
          <a:r>
            <a:rPr lang="en-US" sz="1100" b="0" i="0" kern="1200" dirty="0"/>
            <a:t> </a:t>
          </a:r>
          <a:r>
            <a:rPr lang="en-US" sz="1100" b="0" i="0" kern="1200" dirty="0" err="1"/>
            <a:t>yaşam</a:t>
          </a:r>
          <a:r>
            <a:rPr lang="en-US" sz="1100" b="0" i="0" kern="1200" dirty="0"/>
            <a:t> </a:t>
          </a:r>
          <a:r>
            <a:rPr lang="en-US" sz="1100" b="0" i="0" kern="1200" dirty="0" err="1"/>
            <a:t>kalitesini</a:t>
          </a:r>
          <a:r>
            <a:rPr lang="en-US" sz="1100" b="0" i="0" kern="1200" dirty="0"/>
            <a:t> </a:t>
          </a:r>
          <a:r>
            <a:rPr lang="en-US" sz="1100" b="0" i="0" kern="1200" dirty="0" err="1"/>
            <a:t>iyileştirir</a:t>
          </a:r>
          <a:r>
            <a:rPr lang="tr-TR" sz="1100" b="0" i="0" kern="1200" dirty="0"/>
            <a:t>.</a:t>
          </a:r>
          <a:endParaRPr sz="1100" kern="1200" dirty="0"/>
        </a:p>
      </dsp:txBody>
      <dsp:txXfrm>
        <a:off x="1148031" y="2858005"/>
        <a:ext cx="3942579" cy="1299093"/>
      </dsp:txXfrm>
    </dsp:sp>
    <dsp:sp modelId="{8F7FCAE3-C489-4390-A1C5-B160E29C78C4}">
      <dsp:nvSpPr>
        <dsp:cNvPr id="0" name=""/>
        <dsp:cNvSpPr/>
      </dsp:nvSpPr>
      <dsp:spPr>
        <a:xfrm>
          <a:off x="129909" y="2987914"/>
          <a:ext cx="1018122" cy="1039274"/>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26000" r="-26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29E31D-9A8A-45F9-8B3D-99A6014D6B52}">
      <dsp:nvSpPr>
        <dsp:cNvPr id="0" name=""/>
        <dsp:cNvSpPr/>
      </dsp:nvSpPr>
      <dsp:spPr>
        <a:xfrm>
          <a:off x="0" y="459"/>
          <a:ext cx="10598020" cy="1075567"/>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8A0628E-DCD5-4227-916B-21CCD6C046EC}">
      <dsp:nvSpPr>
        <dsp:cNvPr id="0" name=""/>
        <dsp:cNvSpPr/>
      </dsp:nvSpPr>
      <dsp:spPr>
        <a:xfrm>
          <a:off x="325359" y="242462"/>
          <a:ext cx="591562" cy="591562"/>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183BAE6-AD69-4B44-BC03-E8DE86A6B79D}">
      <dsp:nvSpPr>
        <dsp:cNvPr id="0" name=""/>
        <dsp:cNvSpPr/>
      </dsp:nvSpPr>
      <dsp:spPr>
        <a:xfrm>
          <a:off x="1242280" y="459"/>
          <a:ext cx="9355739" cy="10755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831" tIns="113831" rIns="113831" bIns="113831" numCol="1" spcCol="1270" anchor="ctr" anchorCtr="0">
          <a:noAutofit/>
        </a:bodyPr>
        <a:lstStyle/>
        <a:p>
          <a:pPr marL="0" lvl="0" indent="0" algn="just" defTabSz="755650">
            <a:lnSpc>
              <a:spcPct val="90000"/>
            </a:lnSpc>
            <a:spcBef>
              <a:spcPct val="0"/>
            </a:spcBef>
            <a:spcAft>
              <a:spcPct val="35000"/>
            </a:spcAft>
            <a:buNone/>
          </a:pPr>
          <a:r>
            <a:rPr lang="en-US" sz="1700" b="0" i="0" kern="1200" dirty="0"/>
            <a:t>Ulaşım </a:t>
          </a:r>
          <a:r>
            <a:rPr lang="en-US" sz="1700" b="0" i="0" kern="1200" dirty="0" err="1"/>
            <a:t>planlama</a:t>
          </a:r>
          <a:r>
            <a:rPr lang="en-US" sz="1700" b="0" i="0" kern="1200" dirty="0"/>
            <a:t> </a:t>
          </a:r>
          <a:r>
            <a:rPr lang="en-US" sz="1700" b="0" i="0" kern="1200" dirty="0" err="1"/>
            <a:t>ilkeleri</a:t>
          </a:r>
          <a:r>
            <a:rPr lang="en-US" sz="1700" b="0" i="0" kern="1200" dirty="0"/>
            <a:t> </a:t>
          </a:r>
          <a:r>
            <a:rPr lang="en-US" sz="1700" b="0" i="0" kern="1200" dirty="0" err="1"/>
            <a:t>üzerine</a:t>
          </a:r>
          <a:r>
            <a:rPr lang="en-US" sz="1700" b="0" i="0" kern="1200" dirty="0"/>
            <a:t> </a:t>
          </a:r>
          <a:r>
            <a:rPr lang="en-US" sz="1700" b="0" i="0" kern="1200" dirty="0" err="1"/>
            <a:t>yaptığımız</a:t>
          </a:r>
          <a:r>
            <a:rPr lang="en-US" sz="1700" b="0" i="0" kern="1200" dirty="0"/>
            <a:t> </a:t>
          </a:r>
          <a:r>
            <a:rPr lang="en-US" sz="1700" b="0" i="0" kern="1200" dirty="0" err="1"/>
            <a:t>bu</a:t>
          </a:r>
          <a:r>
            <a:rPr lang="en-US" sz="1700" b="0" i="0" kern="1200" dirty="0"/>
            <a:t> </a:t>
          </a:r>
          <a:r>
            <a:rPr lang="en-US" sz="1700" b="0" i="0" kern="1200" dirty="0" err="1"/>
            <a:t>sunumu</a:t>
          </a:r>
          <a:r>
            <a:rPr lang="en-US" sz="1700" b="0" i="0" kern="1200" dirty="0"/>
            <a:t> </a:t>
          </a:r>
          <a:r>
            <a:rPr lang="en-US" sz="1700" b="0" i="0" kern="1200" dirty="0" err="1"/>
            <a:t>sonlandırırken</a:t>
          </a:r>
          <a:r>
            <a:rPr lang="en-US" sz="1700" b="0" i="0" kern="1200" dirty="0"/>
            <a:t> </a:t>
          </a:r>
          <a:r>
            <a:rPr lang="en-US" sz="1700" b="0" i="0" kern="1200" dirty="0" err="1"/>
            <a:t>etkili</a:t>
          </a:r>
          <a:r>
            <a:rPr lang="en-US" sz="1700" b="0" i="0" kern="1200" dirty="0"/>
            <a:t> </a:t>
          </a:r>
          <a:r>
            <a:rPr lang="en-US" sz="1700" b="0" i="0" kern="1200" dirty="0" err="1"/>
            <a:t>ulaşım</a:t>
          </a:r>
          <a:r>
            <a:rPr lang="en-US" sz="1700" b="0" i="0" kern="1200" dirty="0"/>
            <a:t> </a:t>
          </a:r>
          <a:r>
            <a:rPr lang="en-US" sz="1700" b="0" i="0" kern="1200" dirty="0" err="1"/>
            <a:t>planlama</a:t>
          </a:r>
          <a:r>
            <a:rPr lang="en-US" sz="1700" b="0" i="0" kern="1200" dirty="0"/>
            <a:t> </a:t>
          </a:r>
          <a:r>
            <a:rPr lang="en-US" sz="1700" b="0" i="0" kern="1200" dirty="0" err="1"/>
            <a:t>stratejilerinin</a:t>
          </a:r>
          <a:r>
            <a:rPr lang="en-US" sz="1700" b="0" i="0" kern="1200" dirty="0"/>
            <a:t> </a:t>
          </a:r>
          <a:r>
            <a:rPr lang="en-US" sz="1700" b="0" i="0" kern="1200" dirty="0" err="1"/>
            <a:t>temelini</a:t>
          </a:r>
          <a:r>
            <a:rPr lang="en-US" sz="1700" b="0" i="0" kern="1200" dirty="0"/>
            <a:t> </a:t>
          </a:r>
          <a:r>
            <a:rPr lang="en-US" sz="1700" b="0" i="0" kern="1200" dirty="0" err="1"/>
            <a:t>oluşturan</a:t>
          </a:r>
          <a:r>
            <a:rPr lang="en-US" sz="1700" b="0" i="0" kern="1200" dirty="0"/>
            <a:t> </a:t>
          </a:r>
          <a:r>
            <a:rPr lang="en-US" sz="1700" b="0" i="0" kern="1200" dirty="0" err="1"/>
            <a:t>teorik</a:t>
          </a:r>
          <a:r>
            <a:rPr lang="en-US" sz="1700" b="0" i="0" kern="1200" dirty="0"/>
            <a:t> </a:t>
          </a:r>
          <a:r>
            <a:rPr lang="en-US" sz="1700" b="0" i="0" kern="1200" dirty="0" err="1"/>
            <a:t>temelleri</a:t>
          </a:r>
          <a:r>
            <a:rPr lang="en-US" sz="1700" b="0" i="0" kern="1200" dirty="0"/>
            <a:t> </a:t>
          </a:r>
          <a:r>
            <a:rPr lang="en-US" sz="1700" b="0" i="0" kern="1200" dirty="0" err="1"/>
            <a:t>keşfetmeniz</a:t>
          </a:r>
          <a:r>
            <a:rPr lang="en-US" sz="1700" b="0" i="0" kern="1200" dirty="0"/>
            <a:t> </a:t>
          </a:r>
          <a:r>
            <a:rPr lang="en-US" sz="1700" b="0" i="0" kern="1200" dirty="0" err="1"/>
            <a:t>için</a:t>
          </a:r>
          <a:r>
            <a:rPr lang="en-US" sz="1700" b="0" i="0" kern="1200" dirty="0"/>
            <a:t> </a:t>
          </a:r>
          <a:r>
            <a:rPr lang="en-US" sz="1700" b="0" i="0" kern="1200" dirty="0" err="1"/>
            <a:t>sizi</a:t>
          </a:r>
          <a:r>
            <a:rPr lang="en-US" sz="1700" b="0" i="0" kern="1200" dirty="0"/>
            <a:t> </a:t>
          </a:r>
          <a:r>
            <a:rPr lang="en-US" sz="1700" b="0" i="0" kern="1200" dirty="0" err="1"/>
            <a:t>davet</a:t>
          </a:r>
          <a:r>
            <a:rPr lang="en-US" sz="1700" b="0" i="0" kern="1200" dirty="0"/>
            <a:t> </a:t>
          </a:r>
          <a:r>
            <a:rPr lang="en-US" sz="1700" b="0" i="0" kern="1200" dirty="0" err="1"/>
            <a:t>ediyoruz</a:t>
          </a:r>
          <a:r>
            <a:rPr lang="tr-TR" sz="1700" b="0" i="0" kern="1200" dirty="0"/>
            <a:t>.</a:t>
          </a:r>
          <a:endParaRPr sz="1700" kern="1200" dirty="0"/>
        </a:p>
      </dsp:txBody>
      <dsp:txXfrm>
        <a:off x="1242280" y="459"/>
        <a:ext cx="9355739" cy="1075567"/>
      </dsp:txXfrm>
    </dsp:sp>
    <dsp:sp modelId="{641F9267-2109-4332-AFDB-E935C738834F}">
      <dsp:nvSpPr>
        <dsp:cNvPr id="0" name=""/>
        <dsp:cNvSpPr/>
      </dsp:nvSpPr>
      <dsp:spPr>
        <a:xfrm>
          <a:off x="0" y="1344919"/>
          <a:ext cx="10598020" cy="1075567"/>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2B2F1547-FE57-4E58-B36E-B4D245DA514B}">
      <dsp:nvSpPr>
        <dsp:cNvPr id="0" name=""/>
        <dsp:cNvSpPr/>
      </dsp:nvSpPr>
      <dsp:spPr>
        <a:xfrm>
          <a:off x="325359" y="1586922"/>
          <a:ext cx="591562" cy="591562"/>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0330144-ECB5-4AC4-93C8-466257271460}">
      <dsp:nvSpPr>
        <dsp:cNvPr id="0" name=""/>
        <dsp:cNvSpPr/>
      </dsp:nvSpPr>
      <dsp:spPr>
        <a:xfrm>
          <a:off x="1242280" y="1344919"/>
          <a:ext cx="9355739" cy="10755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831" tIns="113831" rIns="113831" bIns="113831" numCol="1" spcCol="1270" anchor="ctr" anchorCtr="0">
          <a:noAutofit/>
        </a:bodyPr>
        <a:lstStyle/>
        <a:p>
          <a:pPr marL="0" lvl="0" indent="0" algn="just" defTabSz="755650">
            <a:lnSpc>
              <a:spcPct val="90000"/>
            </a:lnSpc>
            <a:spcBef>
              <a:spcPct val="0"/>
            </a:spcBef>
            <a:spcAft>
              <a:spcPct val="35000"/>
            </a:spcAft>
            <a:buNone/>
          </a:pPr>
          <a:r>
            <a:rPr lang="en-US" sz="1700" b="0" i="0" kern="1200" dirty="0" err="1"/>
            <a:t>Bilinçli</a:t>
          </a:r>
          <a:r>
            <a:rPr lang="en-US" sz="1700" b="0" i="0" kern="1200" dirty="0"/>
            <a:t> </a:t>
          </a:r>
          <a:r>
            <a:rPr lang="en-US" sz="1700" b="0" i="0" kern="1200" dirty="0" err="1"/>
            <a:t>kararlar</a:t>
          </a:r>
          <a:r>
            <a:rPr lang="en-US" sz="1700" b="0" i="0" kern="1200" dirty="0"/>
            <a:t> </a:t>
          </a:r>
          <a:r>
            <a:rPr lang="en-US" sz="1700" b="0" i="0" kern="1200" dirty="0" err="1"/>
            <a:t>alabilmek</a:t>
          </a:r>
          <a:r>
            <a:rPr lang="en-US" sz="1700" b="0" i="0" kern="1200" dirty="0"/>
            <a:t> </a:t>
          </a:r>
          <a:r>
            <a:rPr lang="en-US" sz="1700" b="0" i="0" kern="1200" dirty="0" err="1"/>
            <a:t>ve</a:t>
          </a:r>
          <a:r>
            <a:rPr lang="en-US" sz="1700" b="0" i="0" kern="1200" dirty="0"/>
            <a:t> </a:t>
          </a:r>
          <a:r>
            <a:rPr lang="en-US" sz="1700" b="0" i="0" kern="1200" dirty="0" err="1"/>
            <a:t>sürdürülebilir</a:t>
          </a:r>
          <a:r>
            <a:rPr lang="en-US" sz="1700" b="0" i="0" kern="1200" dirty="0"/>
            <a:t>, </a:t>
          </a:r>
          <a:r>
            <a:rPr lang="en-US" sz="1700" b="0" i="0" kern="1200" dirty="0" err="1"/>
            <a:t>verimli</a:t>
          </a:r>
          <a:r>
            <a:rPr lang="en-US" sz="1700" b="0" i="0" kern="1200" dirty="0"/>
            <a:t> </a:t>
          </a:r>
          <a:r>
            <a:rPr lang="en-US" sz="1700" b="0" i="0" kern="1200" dirty="0" err="1"/>
            <a:t>ulaşım</a:t>
          </a:r>
          <a:r>
            <a:rPr lang="en-US" sz="1700" b="0" i="0" kern="1200" dirty="0"/>
            <a:t> </a:t>
          </a:r>
          <a:r>
            <a:rPr lang="en-US" sz="1700" b="0" i="0" kern="1200" dirty="0" err="1"/>
            <a:t>sistemlerini</a:t>
          </a:r>
          <a:r>
            <a:rPr lang="en-US" sz="1700" b="0" i="0" kern="1200" dirty="0"/>
            <a:t> </a:t>
          </a:r>
          <a:r>
            <a:rPr lang="en-US" sz="1700" b="0" i="0" kern="1200" dirty="0" err="1"/>
            <a:t>oluşturabilmek</a:t>
          </a:r>
          <a:r>
            <a:rPr lang="en-US" sz="1700" b="0" i="0" kern="1200" dirty="0"/>
            <a:t> </a:t>
          </a:r>
          <a:r>
            <a:rPr lang="en-US" sz="1700" b="0" i="0" kern="1200" dirty="0" err="1"/>
            <a:t>için</a:t>
          </a:r>
          <a:r>
            <a:rPr lang="en-US" sz="1700" b="0" i="0" kern="1200" dirty="0"/>
            <a:t> </a:t>
          </a:r>
          <a:r>
            <a:rPr lang="en-US" sz="1700" b="0" i="0" kern="1200" dirty="0" err="1"/>
            <a:t>bu</a:t>
          </a:r>
          <a:r>
            <a:rPr lang="en-US" sz="1700" b="0" i="0" kern="1200" dirty="0"/>
            <a:t> </a:t>
          </a:r>
          <a:r>
            <a:rPr lang="en-US" sz="1700" b="0" i="0" kern="1200" dirty="0" err="1"/>
            <a:t>teorilerin</a:t>
          </a:r>
          <a:r>
            <a:rPr lang="en-US" sz="1700" b="0" i="0" kern="1200" dirty="0"/>
            <a:t> </a:t>
          </a:r>
          <a:r>
            <a:rPr lang="en-US" sz="1700" b="0" i="0" kern="1200" dirty="0" err="1"/>
            <a:t>anlaşılması</a:t>
          </a:r>
          <a:r>
            <a:rPr lang="en-US" sz="1700" b="0" i="0" kern="1200" dirty="0"/>
            <a:t> </a:t>
          </a:r>
          <a:r>
            <a:rPr lang="en-US" sz="1700" b="0" i="0" kern="1200" dirty="0" err="1"/>
            <a:t>hayati</a:t>
          </a:r>
          <a:r>
            <a:rPr lang="en-US" sz="1700" b="0" i="0" kern="1200" dirty="0"/>
            <a:t> </a:t>
          </a:r>
          <a:r>
            <a:rPr lang="en-US" sz="1700" b="0" i="0" kern="1200" dirty="0" err="1"/>
            <a:t>önem</a:t>
          </a:r>
          <a:r>
            <a:rPr lang="en-US" sz="1700" b="0" i="0" kern="1200" dirty="0"/>
            <a:t> </a:t>
          </a:r>
          <a:r>
            <a:rPr lang="en-US" sz="1700" b="0" i="0" kern="1200" dirty="0" err="1"/>
            <a:t>taşımaktadır</a:t>
          </a:r>
          <a:r>
            <a:rPr lang="en-US" sz="1700" b="0" i="0" kern="1200" dirty="0"/>
            <a:t>.</a:t>
          </a:r>
        </a:p>
        <a:p>
          <a:pPr marL="0" lvl="0" indent="0" algn="just" defTabSz="755650">
            <a:lnSpc>
              <a:spcPct val="90000"/>
            </a:lnSpc>
            <a:spcBef>
              <a:spcPct val="0"/>
            </a:spcBef>
            <a:spcAft>
              <a:spcPct val="35000"/>
            </a:spcAft>
            <a:buNone/>
          </a:pPr>
          <a:endParaRPr sz="1700" kern="1200" dirty="0"/>
        </a:p>
      </dsp:txBody>
      <dsp:txXfrm>
        <a:off x="1242280" y="1344919"/>
        <a:ext cx="9355739" cy="1075567"/>
      </dsp:txXfrm>
    </dsp:sp>
    <dsp:sp modelId="{8764B429-ACF1-46CA-9712-4C88DE8F17EB}">
      <dsp:nvSpPr>
        <dsp:cNvPr id="0" name=""/>
        <dsp:cNvSpPr/>
      </dsp:nvSpPr>
      <dsp:spPr>
        <a:xfrm>
          <a:off x="0" y="2689379"/>
          <a:ext cx="10598020" cy="1075567"/>
        </a:xfrm>
        <a:prstGeom prst="roundRect">
          <a:avLst>
            <a:gd name="adj" fmla="val 1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945D515-EF6A-4BA5-854F-9121650BA252}">
      <dsp:nvSpPr>
        <dsp:cNvPr id="0" name=""/>
        <dsp:cNvSpPr/>
      </dsp:nvSpPr>
      <dsp:spPr>
        <a:xfrm>
          <a:off x="325359" y="2931382"/>
          <a:ext cx="591562" cy="591562"/>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E6744C77-A8DC-413F-8311-390D1CCED774}">
      <dsp:nvSpPr>
        <dsp:cNvPr id="0" name=""/>
        <dsp:cNvSpPr/>
      </dsp:nvSpPr>
      <dsp:spPr>
        <a:xfrm>
          <a:off x="1242280" y="2689379"/>
          <a:ext cx="9355739" cy="10755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831" tIns="113831" rIns="113831" bIns="113831" numCol="1" spcCol="1270" anchor="ctr" anchorCtr="0">
          <a:noAutofit/>
        </a:bodyPr>
        <a:lstStyle/>
        <a:p>
          <a:pPr marL="0" lvl="0" indent="0" algn="just" defTabSz="755650">
            <a:lnSpc>
              <a:spcPct val="90000"/>
            </a:lnSpc>
            <a:spcBef>
              <a:spcPct val="0"/>
            </a:spcBef>
            <a:spcAft>
              <a:spcPct val="35000"/>
            </a:spcAft>
            <a:buNone/>
          </a:pPr>
          <a:r>
            <a:rPr lang="en-US" sz="1700" b="0" i="0" kern="1200" dirty="0"/>
            <a:t>Bir </a:t>
          </a:r>
          <a:r>
            <a:rPr lang="en-US" sz="1700" b="0" i="0" kern="1200" dirty="0" err="1"/>
            <a:t>sonraki</a:t>
          </a:r>
          <a:r>
            <a:rPr lang="en-US" sz="1700" b="0" i="0" kern="1200" dirty="0"/>
            <a:t> </a:t>
          </a:r>
          <a:r>
            <a:rPr lang="en-US" sz="1700" b="0" i="0" kern="1200" dirty="0" err="1"/>
            <a:t>sunumda</a:t>
          </a:r>
          <a:r>
            <a:rPr lang="en-US" sz="1700" b="0" i="0" kern="1200" dirty="0"/>
            <a:t>, </a:t>
          </a:r>
          <a:r>
            <a:rPr lang="en-US" sz="1700" b="0" i="0" kern="1200" dirty="0" err="1"/>
            <a:t>ulaşım</a:t>
          </a:r>
          <a:r>
            <a:rPr lang="en-US" sz="1700" b="0" i="0" kern="1200" dirty="0"/>
            <a:t> </a:t>
          </a:r>
          <a:r>
            <a:rPr lang="en-US" sz="1700" b="0" i="0" kern="1200" dirty="0" err="1"/>
            <a:t>planlamasını</a:t>
          </a:r>
          <a:r>
            <a:rPr lang="en-US" sz="1700" b="0" i="0" kern="1200" dirty="0"/>
            <a:t> </a:t>
          </a:r>
          <a:r>
            <a:rPr lang="en-US" sz="1700" b="0" i="0" kern="1200" dirty="0" err="1"/>
            <a:t>şekillendiren</a:t>
          </a:r>
          <a:r>
            <a:rPr lang="en-US" sz="1700" b="0" i="0" kern="1200" dirty="0"/>
            <a:t> </a:t>
          </a:r>
          <a:r>
            <a:rPr lang="en-US" sz="1700" b="0" i="0" kern="1200" dirty="0" err="1"/>
            <a:t>temel</a:t>
          </a:r>
          <a:r>
            <a:rPr lang="en-US" sz="1700" b="0" i="0" kern="1200" dirty="0"/>
            <a:t> </a:t>
          </a:r>
          <a:r>
            <a:rPr lang="en-US" sz="1700" b="0" i="0" kern="1200" dirty="0" err="1"/>
            <a:t>teorileri</a:t>
          </a:r>
          <a:r>
            <a:rPr lang="en-US" sz="1700" b="0" i="0" kern="1200" dirty="0"/>
            <a:t> </a:t>
          </a:r>
          <a:r>
            <a:rPr lang="en-US" sz="1700" b="0" i="0" kern="1200" dirty="0" err="1"/>
            <a:t>ve</a:t>
          </a:r>
          <a:r>
            <a:rPr lang="en-US" sz="1700" b="0" i="0" kern="1200" dirty="0"/>
            <a:t> </a:t>
          </a:r>
          <a:r>
            <a:rPr lang="en-US" sz="1700" b="0" i="0" kern="1200" dirty="0" err="1"/>
            <a:t>kavramları</a:t>
          </a:r>
          <a:r>
            <a:rPr lang="en-US" sz="1700" b="0" i="0" kern="1200" dirty="0"/>
            <a:t> </a:t>
          </a:r>
          <a:r>
            <a:rPr lang="en-US" sz="1700" b="0" i="0" kern="1200" dirty="0" err="1"/>
            <a:t>derinlemesine</a:t>
          </a:r>
          <a:r>
            <a:rPr lang="en-US" sz="1700" b="0" i="0" kern="1200" dirty="0"/>
            <a:t> </a:t>
          </a:r>
          <a:r>
            <a:rPr lang="en-US" sz="1700" b="0" i="0" kern="1200" dirty="0" err="1"/>
            <a:t>inceleyecek</a:t>
          </a:r>
          <a:r>
            <a:rPr lang="en-US" sz="1700" b="0" i="0" kern="1200" dirty="0"/>
            <a:t> </a:t>
          </a:r>
          <a:r>
            <a:rPr lang="en-US" sz="1700" b="0" i="0" kern="1200" dirty="0" err="1"/>
            <a:t>ve</a:t>
          </a:r>
          <a:r>
            <a:rPr lang="en-US" sz="1700" b="0" i="0" kern="1200" dirty="0"/>
            <a:t> </a:t>
          </a:r>
          <a:r>
            <a:rPr lang="en-US" sz="1700" b="0" i="0" kern="1200" dirty="0" err="1"/>
            <a:t>bu</a:t>
          </a:r>
          <a:r>
            <a:rPr lang="en-US" sz="1700" b="0" i="0" kern="1200" dirty="0"/>
            <a:t> </a:t>
          </a:r>
          <a:r>
            <a:rPr lang="en-US" sz="1700" b="0" i="0" kern="1200" dirty="0" err="1"/>
            <a:t>teorik</a:t>
          </a:r>
          <a:r>
            <a:rPr lang="en-US" sz="1700" b="0" i="0" kern="1200" dirty="0"/>
            <a:t> </a:t>
          </a:r>
          <a:r>
            <a:rPr lang="en-US" sz="1700" b="0" i="0" kern="1200" dirty="0" err="1"/>
            <a:t>temellerin</a:t>
          </a:r>
          <a:r>
            <a:rPr lang="en-US" sz="1700" b="0" i="0" kern="1200" dirty="0"/>
            <a:t> </a:t>
          </a:r>
          <a:r>
            <a:rPr lang="en-US" sz="1700" b="0" i="0" kern="1200" dirty="0" err="1"/>
            <a:t>sizin</a:t>
          </a:r>
          <a:r>
            <a:rPr lang="en-US" sz="1700" b="0" i="0" kern="1200" dirty="0"/>
            <a:t> </a:t>
          </a:r>
          <a:r>
            <a:rPr lang="en-US" sz="1700" b="0" i="0" kern="1200" dirty="0" err="1"/>
            <a:t>için</a:t>
          </a:r>
          <a:r>
            <a:rPr lang="en-US" sz="1700" b="0" i="0" kern="1200" dirty="0"/>
            <a:t> </a:t>
          </a:r>
          <a:r>
            <a:rPr lang="en-US" sz="1700" b="0" i="0" kern="1200" dirty="0" err="1"/>
            <a:t>daha</a:t>
          </a:r>
          <a:r>
            <a:rPr lang="en-US" sz="1700" b="0" i="0" kern="1200" dirty="0"/>
            <a:t> </a:t>
          </a:r>
          <a:r>
            <a:rPr lang="en-US" sz="1700" b="0" i="0" kern="1200" dirty="0" err="1"/>
            <a:t>kapsamlı</a:t>
          </a:r>
          <a:r>
            <a:rPr lang="en-US" sz="1700" b="0" i="0" kern="1200" dirty="0"/>
            <a:t> </a:t>
          </a:r>
          <a:r>
            <a:rPr lang="en-US" sz="1700" b="0" i="0" kern="1200" dirty="0" err="1"/>
            <a:t>bir</a:t>
          </a:r>
          <a:r>
            <a:rPr lang="en-US" sz="1700" b="0" i="0" kern="1200" dirty="0"/>
            <a:t> </a:t>
          </a:r>
          <a:r>
            <a:rPr lang="en-US" sz="1700" b="0" i="0" kern="1200" dirty="0" err="1"/>
            <a:t>şekilde</a:t>
          </a:r>
          <a:r>
            <a:rPr lang="en-US" sz="1700" b="0" i="0" kern="1200" dirty="0"/>
            <a:t> </a:t>
          </a:r>
          <a:r>
            <a:rPr lang="en-US" sz="1700" b="0" i="0" kern="1200" dirty="0" err="1"/>
            <a:t>anlaşılmasını</a:t>
          </a:r>
          <a:r>
            <a:rPr lang="en-US" sz="1700" b="0" i="0" kern="1200" dirty="0"/>
            <a:t> </a:t>
          </a:r>
          <a:r>
            <a:rPr lang="en-US" sz="1700" b="0" i="0" kern="1200" dirty="0" err="1"/>
            <a:t>sağlayacağız</a:t>
          </a:r>
          <a:r>
            <a:rPr lang="en-US" sz="1700" b="0" i="0" kern="1200" dirty="0"/>
            <a:t>.</a:t>
          </a:r>
        </a:p>
      </dsp:txBody>
      <dsp:txXfrm>
        <a:off x="1242280" y="2689379"/>
        <a:ext cx="9355739" cy="1075567"/>
      </dsp:txXfrm>
    </dsp:sp>
  </dsp:spTree>
</dsp:drawing>
</file>

<file path=ppt/diagrams/layout1.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1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2.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9/3/layout/HorizontalOrganizationChart">
  <dgm:title val=""/>
  <dgm:desc val=""/>
  <dgm:catLst>
    <dgm:cat type="hierarchy" pri="43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305"/>
      <dgm:constr type="w" for="des" forName="rootComposite" refType="w" fact="10"/>
      <dgm:constr type="h" for="des" forName="rootComposite" refType="w" refFor="des" refForName="rootComposite1" fact="0.305"/>
      <dgm:constr type="w" for="des" forName="rootComposite3" refType="w" fact="10"/>
      <dgm:constr type="h" for="des" forName="rootComposite3" refType="w" refFor="des" refForName="rootComposite1" fact="0.305"/>
      <dgm:constr type="primFontSz" for="des" ptType="node" op="equ"/>
      <dgm:constr type="sp" for="des" op="equ"/>
      <dgm:constr type="sp" for="des" forName="hierRoot1" refType="w" refFor="des" refForName="rootComposite1" fact="0.2"/>
      <dgm:constr type="sp" for="des" forName="hierRoot2" refType="sp" refFor="des" refForName="hierRoot1"/>
      <dgm:constr type="sp" for="des" forName="hierRoot3" refType="sp" refFor="des" refForName="hierRoot1"/>
      <dgm:constr type="sibSp" refType="w" refFor="des" refForName="rootComposite1" fact="0.125"/>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125"/>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func="var" arg="dir" op="equ" val="norm">
                  <dgm:alg type="hierRoot">
                    <dgm:param type="hierAlign" val="lT"/>
                  </dgm:alg>
                  <dgm:constrLst>
                    <dgm:constr type="alignOff" val="0.75"/>
                  </dgm:constrLst>
                </dgm:if>
                <dgm:else name="Name9">
                  <dgm:alg type="hierRoot">
                    <dgm:param type="hierAlign" val="rT"/>
                  </dgm:alg>
                  <dgm:constrLst>
                    <dgm:constr type="alignOff" val="0.75"/>
                  </dgm:constrLst>
                </dgm:else>
              </dgm:choose>
            </dgm:if>
            <dgm:if name="Name10" func="var" arg="hierBranch" op="equ" val="r">
              <dgm:choose name="Name11">
                <dgm:if name="Name12" func="var" arg="dir" op="equ" val="norm">
                  <dgm:alg type="hierRoot">
                    <dgm:param type="hierAlign" val="lB"/>
                  </dgm:alg>
                  <dgm:constrLst>
                    <dgm:constr type="alignOff" val="0.75"/>
                  </dgm:constrLst>
                </dgm:if>
                <dgm:else name="Name13">
                  <dgm:alg type="hierRoot">
                    <dgm:param type="hierAlign" val="rB"/>
                  </dgm:alg>
                  <dgm:constrLst>
                    <dgm:constr type="alignOff" val="0.75"/>
                  </dgm:constrLst>
                </dgm:else>
              </dgm:choose>
            </dgm:if>
            <dgm:if name="Name14" func="var" arg="hierBranch" op="equ" val="hang">
              <dgm:choose name="Name15">
                <dgm:if name="Name16" func="var" arg="dir" op="equ" val="norm">
                  <dgm:alg type="hierRoot">
                    <dgm:param type="hierAlign" val="lCtrCh"/>
                  </dgm:alg>
                  <dgm:constrLst>
                    <dgm:constr type="alignOff" val="0.65"/>
                  </dgm:constrLst>
                </dgm:if>
                <dgm:else name="Name17">
                  <dgm:alg type="hierRoot">
                    <dgm:param type="hierAlign" val="rCtrCh"/>
                  </dgm:alg>
                  <dgm:constrLst>
                    <dgm:constr type="alignOff" val="0.65"/>
                  </dgm:constrLst>
                </dgm:else>
              </dgm:choose>
            </dgm:if>
            <dgm:else name="Name18">
              <dgm:choose name="Name19">
                <dgm:if name="Name20" func="var" arg="dir" op="equ" val="norm">
                  <dgm:alg type="hierRoot">
                    <dgm:param type="hierAlign" val="lCtrCh"/>
                  </dgm:alg>
                  <dgm:constrLst>
                    <dgm:constr type="alignOff"/>
                    <dgm:constr type="bendDist" for="des" ptType="parTrans" refType="sp" fact="0.5"/>
                  </dgm:constrLst>
                </dgm:if>
                <dgm:else name="Name21">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22">
              <dgm:if name="Name23"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24"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25"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6">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7">
              <dgm:if name="Name28" func="var" arg="hierBranch" op="equ" val="l">
                <dgm:choose name="Name29">
                  <dgm:if name="Name30" func="var" arg="dir" op="equ" val="norm">
                    <dgm:alg type="hierChild">
                      <dgm:param type="chAlign" val="t"/>
                      <dgm:param type="linDir" val="fromL"/>
                    </dgm:alg>
                  </dgm:if>
                  <dgm:else name="Name31">
                    <dgm:alg type="hierChild">
                      <dgm:param type="chAlign" val="t"/>
                      <dgm:param type="linDir" val="fromR"/>
                    </dgm:alg>
                  </dgm:else>
                </dgm:choose>
              </dgm:if>
              <dgm:if name="Name32" func="var" arg="hierBranch" op="equ" val="r">
                <dgm:choose name="Name33">
                  <dgm:if name="Name34" func="var" arg="dir" op="equ" val="norm">
                    <dgm:alg type="hierChild">
                      <dgm:param type="chAlign" val="b"/>
                      <dgm:param type="linDir" val="fromL"/>
                    </dgm:alg>
                  </dgm:if>
                  <dgm:else name="Name35">
                    <dgm:alg type="hierChild">
                      <dgm:param type="chAlign" val="b"/>
                      <dgm:param type="linDir" val="fromR"/>
                    </dgm:alg>
                  </dgm:else>
                </dgm:choose>
              </dgm:if>
              <dgm:if name="Name36" func="var" arg="hierBranch" op="equ" val="hang">
                <dgm:choose name="Name37">
                  <dgm:if name="Name38" func="var" arg="dir" op="equ" val="norm">
                    <dgm:alg type="hierChild">
                      <dgm:param type="chAlign" val="l"/>
                      <dgm:param type="linDir" val="fromT"/>
                      <dgm:param type="secChAlign" val="t"/>
                      <dgm:param type="secLinDir" val="fromL"/>
                    </dgm:alg>
                  </dgm:if>
                  <dgm:else name="Name39">
                    <dgm:alg type="hierChild">
                      <dgm:param type="chAlign" val="r"/>
                      <dgm:param type="linDir" val="fromT"/>
                      <dgm:param type="secChAlign" val="t"/>
                      <dgm:param type="secLinDir" val="fromR"/>
                    </dgm:alg>
                  </dgm:else>
                </dgm:choose>
              </dgm:if>
              <dgm:else name="Name40">
                <dgm:choose name="Name41">
                  <dgm:if name="Name42" func="var" arg="dir" op="equ" val="norm">
                    <dgm:alg type="hierChild">
                      <dgm:param type="linDir" val="fromT"/>
                      <dgm:param type="chAlign" val="l"/>
                    </dgm:alg>
                  </dgm:if>
                  <dgm:else name="Name43">
                    <dgm:alg type="hierChild">
                      <dgm:param type="linDir" val="fromT"/>
                      <dgm:param type="chAlign" val="r"/>
                    </dgm:alg>
                  </dgm:else>
                </dgm:choose>
              </dgm:else>
            </dgm:choose>
            <dgm:shape xmlns:r="http://schemas.openxmlformats.org/officeDocument/2006/relationships" r:blip="">
              <dgm:adjLst/>
            </dgm:shape>
            <dgm:presOf/>
            <dgm:constrLst/>
            <dgm:ruleLst/>
            <dgm:forEach name="rep2a" axis="ch" ptType="nonAsst">
              <dgm:forEach name="Name44" axis="precedSib" ptType="parTrans" st="-1" cnt="1">
                <dgm:choose name="Name45">
                  <dgm:if name="Name46" func="var" arg="hierBranch" op="equ" val="hang">
                    <dgm:layoutNode name="Name47">
                      <dgm:choose name="Name48">
                        <dgm:if name="Name49" func="var" arg="dir" op="equ" val="norm">
                          <dgm:alg type="conn">
                            <dgm:param type="connRout" val="bend"/>
                            <dgm:param type="dim" val="1D"/>
                            <dgm:param type="endSty" val="noArr"/>
                            <dgm:param type="begPts" val="midR"/>
                            <dgm:param type="endPts" val="bCtr tCtr"/>
                          </dgm:alg>
                        </dgm:if>
                        <dgm:else name="Name50">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1" func="var" arg="hierBranch" op="equ" val="l">
                    <dgm:layoutNode name="Name52">
                      <dgm:choose name="Name53">
                        <dgm:if name="Name54" func="var" arg="dir" op="equ" val="norm">
                          <dgm:alg type="conn">
                            <dgm:param type="connRout" val="bend"/>
                            <dgm:param type="dim" val="1D"/>
                            <dgm:param type="endSty" val="noArr"/>
                            <dgm:param type="begPts" val="midR"/>
                            <dgm:param type="endPts" val="tCtr"/>
                          </dgm:alg>
                        </dgm:if>
                        <dgm:else name="Name55">
                          <dgm:alg type="conn">
                            <dgm:param type="connRout" val="bend"/>
                            <dgm:param type="dim" val="1D"/>
                            <dgm:param type="endSty" val="noArr"/>
                            <dgm:param type="begPts" val="midL"/>
                            <dgm:param type="endPts" val="tCtr"/>
                          </dgm:alg>
                        </dgm:else>
                      </dgm:choose>
                      <dgm:shape xmlns:r="http://schemas.openxmlformats.org/officeDocument/2006/relationships" type="conn" r:blip="" zOrderOff="-99999">
                        <dgm:adjLst/>
                      </dgm:shape>
                      <dgm:presOf axis="self"/>
                      <dgm:constrLst>
                        <dgm:constr type="begPad"/>
                        <dgm:constr type="endPad"/>
                      </dgm:constrLst>
                      <dgm:ruleLst/>
                    </dgm:layoutNode>
                  </dgm:if>
                  <dgm:if name="Name56" func="var" arg="hierBranch" op="equ" val="r">
                    <dgm:layoutNode name="Name57">
                      <dgm:choose name="Name58">
                        <dgm:if name="Name59" func="var" arg="dir" op="equ" val="norm">
                          <dgm:alg type="conn">
                            <dgm:param type="connRout" val="bend"/>
                            <dgm:param type="dim" val="1D"/>
                            <dgm:param type="endSty" val="noArr"/>
                            <dgm:param type="begPts" val="midR"/>
                            <dgm:param type="endPts" val="bCtr"/>
                          </dgm:alg>
                        </dgm:if>
                        <dgm:else name="Name60">
                          <dgm:alg type="conn">
                            <dgm:param type="connRout" val="bend"/>
                            <dgm:param type="dim" val="1D"/>
                            <dgm:param type="endSty" val="noArr"/>
                            <dgm:param type="begPts" val="midL"/>
                            <dgm:param type="endPts" val="bCtr"/>
                          </dgm:alg>
                        </dgm:else>
                      </dgm:choose>
                      <dgm:shape xmlns:r="http://schemas.openxmlformats.org/officeDocument/2006/relationships" type="conn" r:blip="" zOrderOff="-99999">
                        <dgm:adjLst/>
                      </dgm:shape>
                      <dgm:presOf axis="self"/>
                      <dgm:constrLst>
                        <dgm:constr type="begPad"/>
                        <dgm:constr type="endPad"/>
                      </dgm:constrLst>
                      <dgm:ruleLst/>
                    </dgm:layoutNode>
                  </dgm:if>
                  <dgm:else name="Name61">
                    <dgm:choose name="Name62">
                      <dgm:if name="Name63" func="var" arg="dir" op="equ" val="norm">
                        <dgm:layoutNode name="Name64">
                          <dgm:alg type="conn">
                            <dgm:param type="connRout" val="bend"/>
                            <dgm:param type="dim" val="1D"/>
                            <dgm:param type="endSty" val="noArr"/>
                            <dgm:param type="begPts" val="midR"/>
                            <dgm:param type="endPts" val="midL"/>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else name="Name65">
                        <dgm:layoutNode name="Name66">
                          <dgm:alg type="conn">
                            <dgm:param type="connRout" val="bend"/>
                            <dgm:param type="dim" val="1D"/>
                            <dgm:param type="endSty" val="noArr"/>
                            <dgm:param type="begPts" val="midL"/>
                            <dgm:param type="endPts" val="midR"/>
                            <dgm:param type="bendPt" val="end"/>
                          </dgm:alg>
                          <dgm:shape xmlns:r="http://schemas.openxmlformats.org/officeDocument/2006/relationships" type="conn" r:blip="" zOrderOff="-99999">
                            <dgm:adjLst/>
                          </dgm:shape>
                          <dgm:presOf axis="self"/>
                          <dgm:constrLst>
                            <dgm:constr type="begPad"/>
                            <dgm:constr type="endPad"/>
                          </dgm:constrLst>
                          <dgm:ruleLst/>
                        </dgm:layoutNode>
                      </dgm:else>
                    </dgm:choose>
                  </dgm:else>
                </dgm:choose>
              </dgm:forEach>
              <dgm:layoutNode name="hierRoot2">
                <dgm:varLst>
                  <dgm:hierBranch val="init"/>
                </dgm:varLst>
                <dgm:choose name="Name67">
                  <dgm:if name="Name68" func="var" arg="hierBranch" op="equ" val="l">
                    <dgm:choose name="Name69">
                      <dgm:if name="Name70" func="var" arg="dir" op="equ" val="norm">
                        <dgm:alg type="hierRoot">
                          <dgm:param type="hierAlign" val="lT"/>
                        </dgm:alg>
                        <dgm:constrLst>
                          <dgm:constr type="alignOff" val="0.75"/>
                        </dgm:constrLst>
                      </dgm:if>
                      <dgm:else name="Name71">
                        <dgm:alg type="hierRoot">
                          <dgm:param type="hierAlign" val="rT"/>
                        </dgm:alg>
                        <dgm:constrLst>
                          <dgm:constr type="alignOff" val="0.75"/>
                        </dgm:constrLst>
                      </dgm:else>
                    </dgm:choose>
                  </dgm:if>
                  <dgm:if name="Name72" func="var" arg="hierBranch" op="equ" val="r">
                    <dgm:choose name="Name73">
                      <dgm:if name="Name74" func="var" arg="dir" op="equ" val="norm">
                        <dgm:alg type="hierRoot">
                          <dgm:param type="hierAlign" val="lB"/>
                        </dgm:alg>
                        <dgm:constrLst>
                          <dgm:constr type="alignOff" val="0.75"/>
                        </dgm:constrLst>
                      </dgm:if>
                      <dgm:else name="Name75">
                        <dgm:alg type="hierRoot">
                          <dgm:param type="hierAlign" val="rB"/>
                        </dgm:alg>
                        <dgm:constrLst>
                          <dgm:constr type="alignOff" val="0.75"/>
                        </dgm:constrLst>
                      </dgm:else>
                    </dgm:choose>
                  </dgm:if>
                  <dgm:if name="Name76" func="var" arg="hierBranch" op="equ" val="hang">
                    <dgm:choose name="Name77">
                      <dgm:if name="Name78" func="var" arg="dir" op="equ" val="norm">
                        <dgm:alg type="hierRoot">
                          <dgm:param type="hierAlign" val="lCtrCh"/>
                        </dgm:alg>
                        <dgm:constrLst>
                          <dgm:constr type="alignOff" val="0.65"/>
                        </dgm:constrLst>
                      </dgm:if>
                      <dgm:else name="Name79">
                        <dgm:alg type="hierRoot">
                          <dgm:param type="hierAlign" val="rCtrCh"/>
                        </dgm:alg>
                        <dgm:constrLst>
                          <dgm:constr type="alignOff" val="0.65"/>
                        </dgm:constrLst>
                      </dgm:else>
                    </dgm:choose>
                  </dgm:if>
                  <dgm:else name="Name80">
                    <dgm:choose name="Name81">
                      <dgm:if name="Name82" func="var" arg="dir" op="equ" val="norm">
                        <dgm:alg type="hierRoot">
                          <dgm:param type="hierAlign" val="lCtrCh"/>
                        </dgm:alg>
                        <dgm:constrLst>
                          <dgm:constr type="alignOff"/>
                          <dgm:constr type="bendDist" for="des" ptType="parTrans" refType="sp" fact="0.5"/>
                        </dgm:constrLst>
                      </dgm:if>
                      <dgm:else name="Name83">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
                  <dgm:alg type="composite"/>
                  <dgm:shape xmlns:r="http://schemas.openxmlformats.org/officeDocument/2006/relationships" r:blip="">
                    <dgm:adjLst/>
                  </dgm:shape>
                  <dgm:presOf axis="self" ptType="node" cnt="1"/>
                  <dgm:choose name="Name84">
                    <dgm:if name="Name85"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6"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7"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8">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9">
                    <dgm:if name="Name90" func="var" arg="hierBranch" op="equ" val="l">
                      <dgm:choose name="Name91">
                        <dgm:if name="Name92" func="var" arg="dir" op="equ" val="norm">
                          <dgm:alg type="hierChild">
                            <dgm:param type="chAlign" val="t"/>
                            <dgm:param type="linDir" val="fromL"/>
                          </dgm:alg>
                        </dgm:if>
                        <dgm:else name="Name93">
                          <dgm:alg type="hierChild">
                            <dgm:param type="chAlign" val="t"/>
                            <dgm:param type="linDir" val="fromR"/>
                          </dgm:alg>
                        </dgm:else>
                      </dgm:choose>
                    </dgm:if>
                    <dgm:if name="Name94" func="var" arg="hierBranch" op="equ" val="r">
                      <dgm:choose name="Name95">
                        <dgm:if name="Name96" func="var" arg="dir" op="equ" val="norm">
                          <dgm:alg type="hierChild">
                            <dgm:param type="chAlign" val="b"/>
                            <dgm:param type="linDir" val="fromL"/>
                          </dgm:alg>
                        </dgm:if>
                        <dgm:else name="Name97">
                          <dgm:alg type="hierChild">
                            <dgm:param type="chAlign" val="b"/>
                            <dgm:param type="linDir" val="fromR"/>
                          </dgm:alg>
                        </dgm:else>
                      </dgm:choose>
                    </dgm:if>
                    <dgm:if name="Name98" func="var" arg="hierBranch" op="equ" val="hang">
                      <dgm:choose name="Name99">
                        <dgm:if name="Name100" func="var" arg="dir" op="equ" val="norm">
                          <dgm:alg type="hierChild">
                            <dgm:param type="chAlign" val="l"/>
                            <dgm:param type="linDir" val="fromT"/>
                            <dgm:param type="secChAlign" val="t"/>
                            <dgm:param type="secLinDir" val="fromL"/>
                          </dgm:alg>
                        </dgm:if>
                        <dgm:else name="Name101">
                          <dgm:alg type="hierChild">
                            <dgm:param type="chAlign" val="r"/>
                            <dgm:param type="linDir" val="fromT"/>
                            <dgm:param type="secChAlign" val="t"/>
                            <dgm:param type="secLinDir" val="fromR"/>
                          </dgm:alg>
                        </dgm:else>
                      </dgm:choose>
                    </dgm:if>
                    <dgm:else name="Name102">
                      <dgm:choose name="Name103">
                        <dgm:if name="Name104" func="var" arg="dir" op="equ" val="norm">
                          <dgm:alg type="hierChild">
                            <dgm:param type="linDir" val="fromT"/>
                            <dgm:param type="chAlign" val="l"/>
                          </dgm:alg>
                        </dgm:if>
                        <dgm:else name="Name105">
                          <dgm:alg type="hierChild">
                            <dgm:param type="linDir" val="fromT"/>
                            <dgm:param type="chAlign" val="r"/>
                          </dgm:alg>
                        </dgm:else>
                      </dgm:choose>
                    </dgm:else>
                  </dgm:choose>
                  <dgm:shape xmlns:r="http://schemas.openxmlformats.org/officeDocument/2006/relationships" r:blip="">
                    <dgm:adjLst/>
                  </dgm:shape>
                  <dgm:presOf/>
                  <dgm:constrLst/>
                  <dgm:ruleLst/>
                  <dgm:forEach name="Name106" ref="rep2a"/>
                </dgm:layoutNode>
                <dgm:layoutNode name="hierChild5">
                  <dgm:choose name="Name107">
                    <dgm:if name="Name108" func="var" arg="dir" op="equ" val="norm">
                      <dgm:alg type="hierChild">
                        <dgm:param type="chAlign" val="l"/>
                        <dgm:param type="linDir" val="fromT"/>
                        <dgm:param type="secChAlign" val="t"/>
                        <dgm:param type="secLinDir" val="fromL"/>
                      </dgm:alg>
                    </dgm:if>
                    <dgm:else name="Name109">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10" ref="rep2b"/>
                </dgm:layoutNode>
              </dgm:layoutNode>
            </dgm:forEach>
          </dgm:layoutNode>
          <dgm:layoutNode name="hierChild3">
            <dgm:choose name="Name111">
              <dgm:if name="Name112" func="var" arg="dir" op="equ" val="norm">
                <dgm:alg type="hierChild">
                  <dgm:param type="chAlign" val="l"/>
                  <dgm:param type="linDir" val="fromT"/>
                  <dgm:param type="secChAlign" val="t"/>
                  <dgm:param type="secLinDir" val="fromL"/>
                </dgm:alg>
              </dgm:if>
              <dgm:else name="Name113">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rep2b" axis="ch" ptType="asst">
              <dgm:forEach name="Name114" axis="precedSib" ptType="parTrans" st="-1" cnt="1">
                <dgm:layoutNode name="Name115">
                  <dgm:choose name="Name116">
                    <dgm:if name="Name117" func="var" arg="dir" op="equ" val="norm">
                      <dgm:alg type="conn">
                        <dgm:param type="connRout" val="bend"/>
                        <dgm:param type="dim" val="1D"/>
                        <dgm:param type="endSty" val="noArr"/>
                        <dgm:param type="begPts" val="midR"/>
                        <dgm:param type="endPts" val="bCtr tCtr"/>
                      </dgm:alg>
                    </dgm:if>
                    <dgm:else name="Name118">
                      <dgm:alg type="conn">
                        <dgm:param type="connRout" val="bend"/>
                        <dgm:param type="dim" val="1D"/>
                        <dgm:param type="endSty" val="noArr"/>
                        <dgm:param type="begPts" val="midL"/>
                        <dgm:param type="endPts" val="bCtr tCtr"/>
                      </dgm:alg>
                    </dgm:else>
                  </dgm:choose>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9">
                  <dgm:if name="Name120" func="var" arg="hierBranch" op="equ" val="l">
                    <dgm:choose name="Name121">
                      <dgm:if name="Name122" func="var" arg="dir" op="equ" val="norm">
                        <dgm:alg type="hierRoot">
                          <dgm:param type="hierAlign" val="lT"/>
                        </dgm:alg>
                        <dgm:constrLst>
                          <dgm:constr type="alignOff" val="0.75"/>
                        </dgm:constrLst>
                      </dgm:if>
                      <dgm:else name="Name123">
                        <dgm:alg type="hierRoot">
                          <dgm:param type="hierAlign" val="rT"/>
                        </dgm:alg>
                        <dgm:constrLst>
                          <dgm:constr type="alignOff" val="0.75"/>
                        </dgm:constrLst>
                      </dgm:else>
                    </dgm:choose>
                  </dgm:if>
                  <dgm:if name="Name124" func="var" arg="hierBranch" op="equ" val="r">
                    <dgm:choose name="Name125">
                      <dgm:if name="Name126" func="var" arg="dir" op="equ" val="norm">
                        <dgm:alg type="hierRoot">
                          <dgm:param type="hierAlign" val="lB"/>
                        </dgm:alg>
                        <dgm:constrLst>
                          <dgm:constr type="alignOff" val="0.75"/>
                        </dgm:constrLst>
                      </dgm:if>
                      <dgm:else name="Name127">
                        <dgm:alg type="hierRoot">
                          <dgm:param type="hierAlign" val="rB"/>
                        </dgm:alg>
                        <dgm:constrLst>
                          <dgm:constr type="alignOff" val="0.75"/>
                        </dgm:constrLst>
                      </dgm:else>
                    </dgm:choose>
                  </dgm:if>
                  <dgm:if name="Name128" func="var" arg="hierBranch" op="equ" val="hang">
                    <dgm:choose name="Name129">
                      <dgm:if name="Name130" func="var" arg="dir" op="equ" val="norm">
                        <dgm:alg type="hierRoot">
                          <dgm:param type="hierAlign" val="lCtrCh"/>
                        </dgm:alg>
                        <dgm:constrLst>
                          <dgm:constr type="alignOff" val="0.65"/>
                        </dgm:constrLst>
                      </dgm:if>
                      <dgm:else name="Name131">
                        <dgm:alg type="hierRoot">
                          <dgm:param type="hierAlign" val="rCtrCh"/>
                        </dgm:alg>
                        <dgm:constrLst>
                          <dgm:constr type="alignOff" val="0.65"/>
                        </dgm:constrLst>
                      </dgm:else>
                    </dgm:choose>
                  </dgm:if>
                  <dgm:else name="Name132">
                    <dgm:choose name="Name133">
                      <dgm:if name="Name134" func="var" arg="dir" op="equ" val="norm">
                        <dgm:alg type="hierRoot">
                          <dgm:param type="hierAlign" val="lCtrCh"/>
                        </dgm:alg>
                        <dgm:constrLst>
                          <dgm:constr type="alignOff"/>
                          <dgm:constr type="bendDist" for="des" ptType="parTrans" refType="sp" fact="0.5"/>
                        </dgm:constrLst>
                      </dgm:if>
                      <dgm:else name="Name135">
                        <dgm:alg type="hierRoot">
                          <dgm:param type="hierAlign" val="rCtrCh"/>
                        </dgm:alg>
                        <dgm:constrLst>
                          <dgm:constr type="alignOff"/>
                          <dgm:constr type="bendDist" for="des" ptType="parTrans" refType="sp" fact="0.5"/>
                        </dgm:constrLst>
                      </dgm:else>
                    </dgm:choose>
                  </dgm:else>
                </dgm:choose>
                <dgm:shape xmlns:r="http://schemas.openxmlformats.org/officeDocument/2006/relationships" r:blip="">
                  <dgm:adjLst/>
                </dgm:shape>
                <dgm:presOf/>
                <dgm:ruleLst/>
                <dgm:layoutNode name="rootComposite3">
                  <dgm:alg type="composite"/>
                  <dgm:shape xmlns:r="http://schemas.openxmlformats.org/officeDocument/2006/relationships" r:blip="">
                    <dgm:adjLst/>
                  </dgm:shape>
                  <dgm:presOf axis="self" ptType="node" cnt="1"/>
                  <dgm:choose name="Name136">
                    <dgm:if name="Name137"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38"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39"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40">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41">
                    <dgm:if name="Name142" func="var" arg="hierBranch" op="equ" val="l">
                      <dgm:choose name="Name143">
                        <dgm:if name="Name144" func="var" arg="dir" op="equ" val="norm">
                          <dgm:alg type="hierChild">
                            <dgm:param type="chAlign" val="t"/>
                            <dgm:param type="linDir" val="fromL"/>
                          </dgm:alg>
                        </dgm:if>
                        <dgm:else name="Name145">
                          <dgm:alg type="hierChild">
                            <dgm:param type="chAlign" val="t"/>
                            <dgm:param type="linDir" val="fromR"/>
                          </dgm:alg>
                        </dgm:else>
                      </dgm:choose>
                    </dgm:if>
                    <dgm:if name="Name146" func="var" arg="hierBranch" op="equ" val="r">
                      <dgm:choose name="Name147">
                        <dgm:if name="Name148" func="var" arg="dir" op="equ" val="norm">
                          <dgm:alg type="hierChild">
                            <dgm:param type="chAlign" val="b"/>
                            <dgm:param type="linDir" val="fromL"/>
                          </dgm:alg>
                        </dgm:if>
                        <dgm:else name="Name149">
                          <dgm:alg type="hierChild">
                            <dgm:param type="chAlign" val="b"/>
                            <dgm:param type="linDir" val="fromR"/>
                          </dgm:alg>
                        </dgm:else>
                      </dgm:choose>
                    </dgm:if>
                    <dgm:if name="Name150" func="var" arg="hierBranch" op="equ" val="hang">
                      <dgm:choose name="Name151">
                        <dgm:if name="Name152" func="var" arg="dir" op="equ" val="norm">
                          <dgm:alg type="hierChild">
                            <dgm:param type="chAlign" val="l"/>
                            <dgm:param type="linDir" val="fromT"/>
                            <dgm:param type="secChAlign" val="t"/>
                            <dgm:param type="secLinDir" val="fromL"/>
                          </dgm:alg>
                        </dgm:if>
                        <dgm:else name="Name153">
                          <dgm:alg type="hierChild">
                            <dgm:param type="chAlign" val="r"/>
                            <dgm:param type="linDir" val="fromT"/>
                            <dgm:param type="secChAlign" val="t"/>
                            <dgm:param type="secLinDir" val="fromR"/>
                          </dgm:alg>
                        </dgm:else>
                      </dgm:choose>
                    </dgm:if>
                    <dgm:else name="Name154">
                      <dgm:choose name="Name155">
                        <dgm:if name="Name156" func="var" arg="dir" op="equ" val="norm">
                          <dgm:alg type="hierChild">
                            <dgm:param type="linDir" val="fromT"/>
                            <dgm:param type="chAlign" val="l"/>
                          </dgm:alg>
                        </dgm:if>
                        <dgm:else name="Name157">
                          <dgm:alg type="hierChild">
                            <dgm:param type="linDir" val="fromT"/>
                            <dgm:param type="chAlign" val="r"/>
                          </dgm:alg>
                        </dgm:else>
                      </dgm:choose>
                    </dgm:else>
                  </dgm:choose>
                  <dgm:shape xmlns:r="http://schemas.openxmlformats.org/officeDocument/2006/relationships" r:blip="">
                    <dgm:adjLst/>
                  </dgm:shape>
                  <dgm:presOf/>
                  <dgm:constrLst/>
                  <dgm:ruleLst/>
                  <dgm:forEach name="Name158" ref="rep2a"/>
                </dgm:layoutNode>
                <dgm:layoutNode name="hierChild7">
                  <dgm:choose name="Name159">
                    <dgm:if name="Name160" func="var" arg="dir" op="equ" val="norm">
                      <dgm:alg type="hierChild">
                        <dgm:param type="chAlign" val="l"/>
                        <dgm:param type="linDir" val="fromT"/>
                        <dgm:param type="secChAlign" val="t"/>
                        <dgm:param type="secLinDir" val="fromL"/>
                      </dgm:alg>
                    </dgm:if>
                    <dgm:else name="Name161">
                      <dgm:alg type="hierChild">
                        <dgm:param type="chAlign" val="r"/>
                        <dgm:param type="linDir" val="fromT"/>
                        <dgm:param type="secChAlign" val="t"/>
                        <dgm:param type="secLinDir" val="fromR"/>
                      </dgm:alg>
                    </dgm:else>
                  </dgm:choose>
                  <dgm:shape xmlns:r="http://schemas.openxmlformats.org/officeDocument/2006/relationships" r:blip="">
                    <dgm:adjLst/>
                  </dgm:shape>
                  <dgm:presOf/>
                  <dgm:constrLst/>
                  <dgm:ruleLst/>
                  <dgm:forEach name="Name162" ref="rep2b"/>
                </dgm:layoutNode>
              </dgm:layoutNode>
            </dgm:forEach>
          </dgm:layoutNode>
        </dgm:layoutNode>
      </dgm:forEach>
    </dgm:forEach>
  </dgm:layoutNode>
</dgm:layoutDef>
</file>

<file path=ppt/diagrams/layout14.xml><?xml version="1.0" encoding="utf-8"?>
<dgm:layoutDef xmlns:dgm="http://schemas.openxmlformats.org/drawingml/2006/diagram" xmlns:a="http://schemas.openxmlformats.org/drawingml/2006/main" uniqueId="urn:microsoft.com/office/officeart/2011/layout/CircleProcess">
  <dgm:title val="Circle Process"/>
  <dgm:desc val="Use to show sequential steps in a process. Limited to eleven Level 1 shapes with an unlimited number of Level 2 shapes. Works best with small amounts of text. Unused text does not appear, but remains available if you switch layouts."/>
  <dgm:catLst>
    <dgm:cat type="process" pri="8500"/>
    <dgm:cat type="officeonline" pri="8500"/>
  </dgm:catLst>
  <dgm:sampData>
    <dgm:dataModel>
      <dgm:ptLst>
        <dgm:pt modelId="0" type="doc"/>
        <dgm:pt modelId="10">
          <dgm:prSet phldr="1"/>
        </dgm:pt>
        <dgm:pt modelId="20">
          <dgm:prSet phldr="1"/>
        </dgm:pt>
        <dgm:pt modelId="30">
          <dgm:prSet phldr="1"/>
        </dgm:pt>
      </dgm:ptLst>
      <dgm:cxnLst>
        <dgm:cxn modelId="40" srcId="0" destId="10" srcOrd="0" destOrd="0"/>
        <dgm:cxn modelId="50" srcId="0" destId="20" srcOrd="1" destOrd="0"/>
        <dgm:cxn modelId="60" srcId="0" destId="30"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val="11"/>
      <dgm:chPref val="11"/>
      <dgm:dir/>
      <dgm:resizeHandles/>
    </dgm:varLst>
    <dgm:shape xmlns:r="http://schemas.openxmlformats.org/officeDocument/2006/relationships" r:blip="">
      <dgm:adjLst/>
    </dgm:shape>
    <dgm:choose name="Name1">
      <dgm:if name="Name2" func="var" arg="dir" op="equ" val="norm">
        <dgm:choose name="Name3">
          <dgm:if name="Name4"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5"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l" for="ch" forName="Parent2" refType="w" fact="0.6249"/>
              <dgm:constr type="t" for="ch" forName="Parent2" refType="h" fact="0.2022"/>
              <dgm:constr type="w" for="ch" forName="Parent2" refType="w" fact="0.3001"/>
              <dgm:constr type="h" for="ch" forName="Parent2" refType="h" fact="0.3799"/>
              <dgm:constr type="l" for="ch" forName="Parent1" refType="w" fact="0.1597"/>
              <dgm:constr type="t" for="ch" forName="Parent1" refType="h" fact="0.2022"/>
              <dgm:constr type="w" for="ch" forName="Parent1" refType="w" fact="0.3001"/>
              <dgm:constr type="h" for="ch" forName="Parent1" refType="h" fact="0.3799"/>
              <dgm:constr type="l" for="ch" forName="Accent2" refType="w" fact="0.5498"/>
              <dgm:constr type="t" for="ch" forName="Accent2" refType="h" fact="0.1072"/>
              <dgm:constr type="w" for="ch" forName="Accent2" refType="w" fact="0.4502"/>
              <dgm:constr type="h" for="ch" forName="Accent2" refType="h" fact="0.5699"/>
              <dgm:constr type="l" for="ch" forName="ParentBackground2" refType="w" fact="0.5648"/>
              <dgm:constr type="t" for="ch" forName="ParentBackground2" refType="h" fact="0.1262"/>
              <dgm:constr type="w" for="ch" forName="ParentBackground2" refType="w" fact="0.4201"/>
              <dgm:constr type="h" for="ch" forName="ParentBackground2" refType="h" fact="0.5319"/>
              <dgm:constr type="l" for="ch" forName="Child2" refType="w" fact="0.5648"/>
              <dgm:constr type="t" for="ch" forName="Child2" refType="h" fact="0.6876"/>
              <dgm:constr type="w" for="ch" forName="Child2" refType="w" fact="0.4201"/>
              <dgm:constr type="h" for="ch" forName="Child2" refType="h" fact="0.3124"/>
              <dgm:constr type="l" for="ch" forName="Accent1" refType="w" fact="-0.0086"/>
              <dgm:constr type="t" for="ch" forName="Accent1" refType="h" fact="-0.0109"/>
              <dgm:constr type="w" for="ch" forName="Accent1" refType="w" fact="0.6367"/>
              <dgm:constr type="h" for="ch" forName="Accent1" refType="h" fact="0.806"/>
              <dgm:constr type="l" for="ch" forName="ParentBackground1" refType="w" fact="0.0997"/>
              <dgm:constr type="t" for="ch" forName="ParentBackground1" refType="h" fact="0.1262"/>
              <dgm:constr type="w" for="ch" forName="ParentBackground1" refType="w" fact="0.4201"/>
              <dgm:constr type="h" for="ch" forName="ParentBackground1" refType="h" fact="0.5319"/>
              <dgm:constr type="l" for="ch" forName="Child1" refType="w" fact="0.0997"/>
              <dgm:constr type="t" for="ch" forName="Child1" refType="h" fact="0.6876"/>
              <dgm:constr type="w" for="ch" forName="Child1" refType="w" fact="0.4201"/>
              <dgm:constr type="h" for="ch" forName="Child1" refType="h" fact="0.3124"/>
            </dgm:constrLst>
          </dgm:if>
          <dgm:if name="Name6"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l" for="ch" forName="Parent3" refType="w" fact="0.744"/>
              <dgm:constr type="t" for="ch" forName="Parent3" refType="h" fact="0.2022"/>
              <dgm:constr type="w" for="ch" forName="Parent3" refType="w" fact="0.2048"/>
              <dgm:constr type="h" for="ch" forName="Parent3" refType="h" fact="0.3799"/>
              <dgm:constr type="l" for="ch" forName="Parent2" refType="w" fact="0.4265"/>
              <dgm:constr type="t" for="ch" forName="Parent2" refType="h" fact="0.2022"/>
              <dgm:constr type="w" for="ch" forName="Parent2" refType="w" fact="0.2048"/>
              <dgm:constr type="h" for="ch" forName="Parent2" refType="h" fact="0.3799"/>
              <dgm:constr type="l" for="ch" forName="Parent1" refType="w" fact="0.109"/>
              <dgm:constr type="t" for="ch" forName="Parent1" refType="h" fact="0.2022"/>
              <dgm:constr type="w" for="ch" forName="Parent1" refType="w" fact="0.2048"/>
              <dgm:constr type="h" for="ch" forName="Parent1" refType="h" fact="0.3799"/>
              <dgm:constr type="l" for="ch" forName="Accent3" refType="w" fact="0.6928"/>
              <dgm:constr type="t" for="ch" forName="Accent3" refType="h" fact="0.1072"/>
              <dgm:constr type="w" for="ch" forName="Accent3" refType="w" fact="0.3072"/>
              <dgm:constr type="h" for="ch" forName="Accent3" refType="h" fact="0.5699"/>
              <dgm:constr type="l" for="ch" forName="ParentBackground3" refType="w" fact="0.703"/>
              <dgm:constr type="t" for="ch" forName="ParentBackground3" refType="h" fact="0.1262"/>
              <dgm:constr type="w" for="ch" forName="ParentBackground3" refType="w" fact="0.2868"/>
              <dgm:constr type="h" for="ch" forName="ParentBackground3" refType="h" fact="0.5319"/>
              <dgm:constr type="l" for="ch" forName="Child3" refType="w" fact="0.703"/>
              <dgm:constr type="t" for="ch" forName="Child3" refType="h" fact="0.6876"/>
              <dgm:constr type="w" for="ch" forName="Child3" refType="w" fact="0.2868"/>
              <dgm:constr type="h" for="ch" forName="Child3" refType="h" fact="0.3124"/>
              <dgm:constr type="l" for="ch" forName="Accent2" refType="w" fact="0.3122"/>
              <dgm:constr type="t" for="ch" forName="Accent2" refType="h" fact="-0.0109"/>
              <dgm:constr type="w" for="ch" forName="Accent2" refType="w" fact="0.4334"/>
              <dgm:constr type="h" for="ch" forName="Accent2" refType="h" fact="0.806"/>
              <dgm:constr type="l" for="ch" forName="ParentBackground2" refType="w" fact="0.3855"/>
              <dgm:constr type="t" for="ch" forName="ParentBackground2" refType="h" fact="0.1262"/>
              <dgm:constr type="w" for="ch" forName="ParentBackground2" refType="w" fact="0.2868"/>
              <dgm:constr type="h" for="ch" forName="ParentBackground2" refType="h" fact="0.5319"/>
              <dgm:constr type="l" for="ch" forName="Child2" refType="w" fact="0.3855"/>
              <dgm:constr type="t" for="ch" forName="Child2" refType="h" fact="0.6876"/>
              <dgm:constr type="w" for="ch" forName="Child2" refType="w" fact="0.2868"/>
              <dgm:constr type="h" for="ch" forName="Child2" refType="h" fact="0.3124"/>
              <dgm:constr type="l" for="ch" forName="Accent1" refType="w" fact="-0.0053"/>
              <dgm:constr type="t" for="ch" forName="Accent1" refType="h" fact="-0.0109"/>
              <dgm:constr type="w" for="ch" forName="Accent1" refType="w" fact="0.4334"/>
              <dgm:constr type="h" for="ch" forName="Accent1" refType="h" fact="0.806"/>
              <dgm:constr type="l" for="ch" forName="ParentBackground1" refType="w" fact="0.068"/>
              <dgm:constr type="t" for="ch" forName="ParentBackground1" refType="h" fact="0.1262"/>
              <dgm:constr type="w" for="ch" forName="ParentBackground1" refType="w" fact="0.2868"/>
              <dgm:constr type="h" for="ch" forName="ParentBackground1" refType="h" fact="0.5319"/>
              <dgm:constr type="l" for="ch" forName="Child1" refType="w" fact="0.068"/>
              <dgm:constr type="t" for="ch" forName="Child1" refType="h" fact="0.6876"/>
              <dgm:constr type="w" for="ch" forName="Child1" refType="w" fact="0.2868"/>
              <dgm:constr type="h" for="ch" forName="Child1" refType="h" fact="0.3124"/>
            </dgm:constrLst>
          </dgm:if>
          <dgm:if name="Name7"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l" for="ch" forName="Parent4" refType="w" fact="0.8057"/>
              <dgm:constr type="t" for="ch" forName="Parent4" refType="h" fact="0.2022"/>
              <dgm:constr type="w" for="ch" forName="Parent4" refType="w" fact="0.1555"/>
              <dgm:constr type="h" for="ch" forName="Parent4" refType="h" fact="0.3799"/>
              <dgm:constr type="l" for="ch" forName="Parent3" refType="w" fact="0.5647"/>
              <dgm:constr type="t" for="ch" forName="Parent3" refType="h" fact="0.2022"/>
              <dgm:constr type="w" for="ch" forName="Parent3" refType="w" fact="0.1555"/>
              <dgm:constr type="h" for="ch" forName="Parent3" refType="h" fact="0.3799"/>
              <dgm:constr type="l" for="ch" forName="Parent2" refType="w" fact="0.3237"/>
              <dgm:constr type="t" for="ch" forName="Parent2" refType="h" fact="0.2022"/>
              <dgm:constr type="w" for="ch" forName="Parent2" refType="w" fact="0.1555"/>
              <dgm:constr type="h" for="ch" forName="Parent2" refType="h" fact="0.3799"/>
              <dgm:constr type="l" for="ch" forName="Parent1" refType="w" fact="0.0827"/>
              <dgm:constr type="t" for="ch" forName="Parent1" refType="h" fact="0.2022"/>
              <dgm:constr type="w" for="ch" forName="Parent1" refType="w" fact="0.1555"/>
              <dgm:constr type="h" for="ch" forName="Parent1" refType="h" fact="0.3799"/>
              <dgm:constr type="l" for="ch" forName="Accent4" refType="w" fact="0.7668"/>
              <dgm:constr type="t" for="ch" forName="Accent4" refType="h" fact="0.1072"/>
              <dgm:constr type="w" for="ch" forName="Accent4" refType="w" fact="0.2332"/>
              <dgm:constr type="h" for="ch" forName="Accent4" refType="h" fact="0.5699"/>
              <dgm:constr type="l" for="ch" forName="ParentBackground4" refType="w" fact="0.7746"/>
              <dgm:constr type="t" for="ch" forName="ParentBackground4" refType="h" fact="0.1262"/>
              <dgm:constr type="w" for="ch" forName="ParentBackground4" refType="w" fact="0.2177"/>
              <dgm:constr type="h" for="ch" forName="ParentBackground4" refType="h" fact="0.5319"/>
              <dgm:constr type="l" for="ch" forName="Child4" refType="w" fact="0.7746"/>
              <dgm:constr type="t" for="ch" forName="Child4" refType="h" fact="0.6876"/>
              <dgm:constr type="w" for="ch" forName="Child4" refType="w" fact="0.2177"/>
              <dgm:constr type="h" for="ch" forName="Child4" refType="h" fact="0.3124"/>
              <dgm:constr type="l" for="ch" forName="Accent3" refType="w" fact="0.4765"/>
              <dgm:constr type="t" for="ch" forName="Accent3" refType="h" fact="-0.0109"/>
              <dgm:constr type="w" for="ch" forName="Accent3" refType="w" fact="0.3298"/>
              <dgm:constr type="h" for="ch" forName="Accent3" refType="h" fact="0.806"/>
              <dgm:constr type="l" for="ch" forName="ParentBackground3" refType="w" fact="0.5336"/>
              <dgm:constr type="t" for="ch" forName="ParentBackground3" refType="h" fact="0.1262"/>
              <dgm:constr type="w" for="ch" forName="ParentBackground3" refType="w" fact="0.2177"/>
              <dgm:constr type="h" for="ch" forName="ParentBackground3" refType="h" fact="0.5319"/>
              <dgm:constr type="l" for="ch" forName="Child3" refType="w" fact="0.5336"/>
              <dgm:constr type="t" for="ch" forName="Child3" refType="h" fact="0.6876"/>
              <dgm:constr type="w" for="ch" forName="Child3" refType="w" fact="0.2177"/>
              <dgm:constr type="h" for="ch" forName="Child3" refType="h" fact="0.3124"/>
              <dgm:constr type="l" for="ch" forName="Accent2" refType="w" fact="0.2365"/>
              <dgm:constr type="t" for="ch" forName="Accent2" refType="h" fact="-0.0109"/>
              <dgm:constr type="w" for="ch" forName="Accent2" refType="w" fact="0.3298"/>
              <dgm:constr type="h" for="ch" forName="Accent2" refType="h" fact="0.806"/>
              <dgm:constr type="l" for="ch" forName="ParentBackground2" refType="w" fact="0.2926"/>
              <dgm:constr type="t" for="ch" forName="ParentBackground2" refType="h" fact="0.1262"/>
              <dgm:constr type="w" for="ch" forName="ParentBackground2" refType="w" fact="0.2177"/>
              <dgm:constr type="h" for="ch" forName="ParentBackground2" refType="h" fact="0.5319"/>
              <dgm:constr type="l" for="ch" forName="Child2" refType="w" fact="0.2926"/>
              <dgm:constr type="t" for="ch" forName="Child2" refType="h" fact="0.6876"/>
              <dgm:constr type="w" for="ch" forName="Child2" refType="w" fact="0.2177"/>
              <dgm:constr type="h" for="ch" forName="Child2" refType="h" fact="0.3124"/>
              <dgm:constr type="l" for="ch" forName="Accent1" refType="w" fact="-0.0045"/>
              <dgm:constr type="t" for="ch" forName="Accent1" refType="h" fact="-0.0109"/>
              <dgm:constr type="w" for="ch" forName="Accent1" refType="w" fact="0.3298"/>
              <dgm:constr type="h" for="ch" forName="Accent1" refType="h" fact="0.806"/>
              <dgm:constr type="l" for="ch" forName="ParentBackground1" refType="w" fact="0.0516"/>
              <dgm:constr type="t" for="ch" forName="ParentBackground1" refType="h" fact="0.1262"/>
              <dgm:constr type="w" for="ch" forName="ParentBackground1" refType="w" fact="0.2177"/>
              <dgm:constr type="h" for="ch" forName="ParentBackground1" refType="h" fact="0.5319"/>
              <dgm:constr type="l" for="ch" forName="Child1" refType="w" fact="0.0516"/>
              <dgm:constr type="t" for="ch" forName="Child1" refType="h" fact="0.6876"/>
              <dgm:constr type="w" for="ch" forName="Child1" refType="w" fact="0.2177"/>
              <dgm:constr type="h" for="ch" forName="Child1" refType="h" fact="0.3124"/>
            </dgm:constrLst>
          </dgm:if>
          <dgm:if name="Name8"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l" for="ch" forName="Parent5" refType="w" fact="0.8434"/>
              <dgm:constr type="t" for="ch" forName="Parent5" refType="h" fact="0.2022"/>
              <dgm:constr type="w" for="ch" forName="Parent5" refType="w" fact="0.1253"/>
              <dgm:constr type="h" for="ch" forName="Parent5" refType="h" fact="0.3799"/>
              <dgm:constr type="l" for="ch" forName="Parent4" refType="w" fact="0.6492"/>
              <dgm:constr type="t" for="ch" forName="Parent4" refType="h" fact="0.2022"/>
              <dgm:constr type="w" for="ch" forName="Parent4" refType="w" fact="0.1253"/>
              <dgm:constr type="h" for="ch" forName="Parent4" refType="h" fact="0.3799"/>
              <dgm:constr type="l" for="ch" forName="Parent3" refType="w" fact="0.455"/>
              <dgm:constr type="t" for="ch" forName="Parent3" refType="h" fact="0.2022"/>
              <dgm:constr type="w" for="ch" forName="Parent3" refType="w" fact="0.1253"/>
              <dgm:constr type="h" for="ch" forName="Parent3" refType="h" fact="0.3799"/>
              <dgm:constr type="l" for="ch" forName="Parent2" refType="w" fact="0.2609"/>
              <dgm:constr type="t" for="ch" forName="Parent2" refType="h" fact="0.2022"/>
              <dgm:constr type="w" for="ch" forName="Parent2" refType="w" fact="0.1253"/>
              <dgm:constr type="h" for="ch" forName="Parent2" refType="h" fact="0.3799"/>
              <dgm:constr type="l" for="ch" forName="Parent1" refType="w" fact="0.0667"/>
              <dgm:constr type="t" for="ch" forName="Parent1" refType="h" fact="0.2022"/>
              <dgm:constr type="w" for="ch" forName="Parent1" refType="w" fact="0.1253"/>
              <dgm:constr type="h" for="ch" forName="Parent1" refType="h" fact="0.3799"/>
              <dgm:constr type="l" for="ch" forName="Accent5" refType="w" fact="0.8121"/>
              <dgm:constr type="t" for="ch" forName="Accent5" refType="h" fact="0.1072"/>
              <dgm:constr type="w" for="ch" forName="Accent5" refType="w" fact="0.1879"/>
              <dgm:constr type="h" for="ch" forName="Accent5" refType="h" fact="0.5699"/>
              <dgm:constr type="l" for="ch" forName="ParentBackground5" refType="w" fact="0.8183"/>
              <dgm:constr type="t" for="ch" forName="ParentBackground5" refType="h" fact="0.1262"/>
              <dgm:constr type="w" for="ch" forName="ParentBackground5" refType="w" fact="0.1754"/>
              <dgm:constr type="h" for="ch" forName="ParentBackground5" refType="h" fact="0.5319"/>
              <dgm:constr type="l" for="ch" forName="Child5" refType="w" fact="0.8183"/>
              <dgm:constr type="t" for="ch" forName="Child5" refType="h" fact="0.6876"/>
              <dgm:constr type="w" for="ch" forName="Child5" refType="w" fact="0.1754"/>
              <dgm:constr type="h" for="ch" forName="Child5" refType="h" fact="0.3124"/>
              <dgm:constr type="l" for="ch" forName="Accent4" refType="w" fact="0.5789"/>
              <dgm:constr type="t" for="ch" forName="Accent4" refType="h" fact="-0.0109"/>
              <dgm:constr type="w" for="ch" forName="Accent4" refType="w" fact="0.2657"/>
              <dgm:constr type="h" for="ch" forName="Accent4" refType="h" fact="0.806"/>
              <dgm:constr type="l" for="ch" forName="ParentBackground4" refType="w" fact="0.6242"/>
              <dgm:constr type="t" for="ch" forName="ParentBackground4" refType="h" fact="0.1262"/>
              <dgm:constr type="w" for="ch" forName="ParentBackground4" refType="w" fact="0.1754"/>
              <dgm:constr type="h" for="ch" forName="ParentBackground4" refType="h" fact="0.5319"/>
              <dgm:constr type="l" for="ch" forName="Child4" refType="w" fact="0.6242"/>
              <dgm:constr type="t" for="ch" forName="Child4" refType="h" fact="0.6876"/>
              <dgm:constr type="w" for="ch" forName="Child4" refType="w" fact="0.1754"/>
              <dgm:constr type="h" for="ch" forName="Child4" refType="h" fact="0.3124"/>
              <dgm:constr type="l" for="ch" forName="Accent3" refType="w" fact="0.3848"/>
              <dgm:constr type="t" for="ch" forName="Accent3" refType="h" fact="-0.0109"/>
              <dgm:constr type="w" for="ch" forName="Accent3" refType="w" fact="0.2657"/>
              <dgm:constr type="h" for="ch" forName="Accent3" refType="h" fact="0.806"/>
              <dgm:constr type="l" for="ch" forName="ParentBackground3" refType="w" fact="0.43"/>
              <dgm:constr type="t" for="ch" forName="ParentBackground3" refType="h" fact="0.1262"/>
              <dgm:constr type="w" for="ch" forName="ParentBackground3" refType="w" fact="0.1754"/>
              <dgm:constr type="h" for="ch" forName="ParentBackground3" refType="h" fact="0.5319"/>
              <dgm:constr type="l" for="ch" forName="Child3" refType="w" fact="0.43"/>
              <dgm:constr type="t" for="ch" forName="Child3" refType="h" fact="0.6876"/>
              <dgm:constr type="w" for="ch" forName="Child3" refType="w" fact="0.1754"/>
              <dgm:constr type="h" for="ch" forName="Child3" refType="h" fact="0.3124"/>
              <dgm:constr type="l" for="ch" forName="Accent2" refType="w" fact="0.1906"/>
              <dgm:constr type="t" for="ch" forName="Accent2" refType="h" fact="-0.0109"/>
              <dgm:constr type="w" for="ch" forName="Accent2" refType="w" fact="0.2657"/>
              <dgm:constr type="h" for="ch" forName="Accent2" refType="h" fact="0.806"/>
              <dgm:constr type="l" for="ch" forName="ParentBackground2" refType="w" fact="0.2358"/>
              <dgm:constr type="t" for="ch" forName="ParentBackground2" refType="h" fact="0.1262"/>
              <dgm:constr type="w" for="ch" forName="ParentBackground2" refType="w" fact="0.1754"/>
              <dgm:constr type="h" for="ch" forName="ParentBackground2" refType="h" fact="0.5319"/>
              <dgm:constr type="l" for="ch" forName="Child2" refType="w" fact="0.2358"/>
              <dgm:constr type="t" for="ch" forName="Child2" refType="h" fact="0.6876"/>
              <dgm:constr type="w" for="ch" forName="Child2" refType="w" fact="0.1754"/>
              <dgm:constr type="h" for="ch" forName="Child2" refType="h" fact="0.3124"/>
              <dgm:constr type="l" for="ch" forName="Accent1" refType="w" fact="-0.0036"/>
              <dgm:constr type="t" for="ch" forName="Accent1" refType="h" fact="-0.0109"/>
              <dgm:constr type="w" for="ch" forName="Accent1" refType="w" fact="0.2657"/>
              <dgm:constr type="h" for="ch" forName="Accent1" refType="h" fact="0.806"/>
              <dgm:constr type="l" for="ch" forName="ParentBackground1" refType="w" fact="0.0416"/>
              <dgm:constr type="t" for="ch" forName="ParentBackground1" refType="h" fact="0.1262"/>
              <dgm:constr type="w" for="ch" forName="ParentBackground1" refType="w" fact="0.1754"/>
              <dgm:constr type="h" for="ch" forName="ParentBackground1" refType="h" fact="0.5319"/>
              <dgm:constr type="l" for="ch" forName="Child1" refType="w" fact="0.0416"/>
              <dgm:constr type="t" for="ch" forName="Child1" refType="h" fact="0.6876"/>
              <dgm:constr type="w" for="ch" forName="Child1" refType="w" fact="0.1754"/>
              <dgm:constr type="h" for="ch" forName="Child1" refType="h" fact="0.3124"/>
            </dgm:constrLst>
          </dgm:if>
          <dgm:if name="Name9"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l" for="ch" forName="Parent6" refType="w" fact="0.8689"/>
              <dgm:constr type="t" for="ch" forName="Parent6" refType="h" fact="0.2022"/>
              <dgm:constr type="w" for="ch" forName="Parent6" refType="w" fact="0.1049"/>
              <dgm:constr type="h" for="ch" forName="Parent6" refType="h" fact="0.3799"/>
              <dgm:constr type="l" for="ch" forName="Parent5" refType="w" fact="0.7063"/>
              <dgm:constr type="t" for="ch" forName="Parent5" refType="h" fact="0.2022"/>
              <dgm:constr type="w" for="ch" forName="Parent5" refType="w" fact="0.1049"/>
              <dgm:constr type="h" for="ch" forName="Parent5" refType="h" fact="0.3799"/>
              <dgm:constr type="l" for="ch" forName="Parent4" refType="w" fact="0.5437"/>
              <dgm:constr type="t" for="ch" forName="Parent4" refType="h" fact="0.2022"/>
              <dgm:constr type="w" for="ch" forName="Parent4" refType="w" fact="0.1049"/>
              <dgm:constr type="h" for="ch" forName="Parent4" refType="h" fact="0.3799"/>
              <dgm:constr type="l" for="ch" forName="Parent3" refType="w" fact="0.381"/>
              <dgm:constr type="t" for="ch" forName="Parent3" refType="h" fact="0.2022"/>
              <dgm:constr type="w" for="ch" forName="Parent3" refType="w" fact="0.1049"/>
              <dgm:constr type="h" for="ch" forName="Parent3" refType="h" fact="0.3799"/>
              <dgm:constr type="l" for="ch" forName="Parent2" refType="w" fact="0.2184"/>
              <dgm:constr type="t" for="ch" forName="Parent2" refType="h" fact="0.2022"/>
              <dgm:constr type="w" for="ch" forName="Parent2" refType="w" fact="0.1049"/>
              <dgm:constr type="h" for="ch" forName="Parent2" refType="h" fact="0.3799"/>
              <dgm:constr type="l" for="ch" forName="Parent1" refType="w" fact="0.0558"/>
              <dgm:constr type="t" for="ch" forName="Parent1" refType="h" fact="0.2022"/>
              <dgm:constr type="w" for="ch" forName="Parent1" refType="w" fact="0.1049"/>
              <dgm:constr type="h" for="ch" forName="Parent1" refType="h" fact="0.3799"/>
              <dgm:constr type="l" for="ch" forName="Accent6" refType="w" fact="0.8426"/>
              <dgm:constr type="t" for="ch" forName="Accent6" refType="h" fact="0.1072"/>
              <dgm:constr type="w" for="ch" forName="Accent6" refType="w" fact="0.1574"/>
              <dgm:constr type="h" for="ch" forName="Accent6" refType="h" fact="0.5699"/>
              <dgm:constr type="l" for="ch" forName="ParentBackground6" refType="w" fact="0.8479"/>
              <dgm:constr type="t" for="ch" forName="ParentBackground6" refType="h" fact="0.1262"/>
              <dgm:constr type="w" for="ch" forName="ParentBackground6" refType="w" fact="0.1469"/>
              <dgm:constr type="h" for="ch" forName="ParentBackground6" refType="h" fact="0.5319"/>
              <dgm:constr type="l" for="ch" forName="Child6" refType="w" fact="0.8479"/>
              <dgm:constr type="t" for="ch" forName="Child6" refType="h" fact="0.6876"/>
              <dgm:constr type="w" for="ch" forName="Child6" refType="w" fact="0.1469"/>
              <dgm:constr type="h" for="ch" forName="Child6" refType="h" fact="0.3124"/>
              <dgm:constr type="l" for="ch" forName="Accent5" refType="w" fact="0.6474"/>
              <dgm:constr type="t" for="ch" forName="Accent5" refType="h" fact="-0.0109"/>
              <dgm:constr type="w" for="ch" forName="Accent5" refType="w" fact="0.2226"/>
              <dgm:constr type="h" for="ch" forName="Accent5" refType="h" fact="0.806"/>
              <dgm:constr type="l" for="ch" forName="ParentBackground5" refType="w" fact="0.6853"/>
              <dgm:constr type="t" for="ch" forName="ParentBackground5" refType="h" fact="0.1262"/>
              <dgm:constr type="w" for="ch" forName="ParentBackground5" refType="w" fact="0.1469"/>
              <dgm:constr type="h" for="ch" forName="ParentBackground5" refType="h" fact="0.5319"/>
              <dgm:constr type="l" for="ch" forName="Child5" refType="w" fact="0.6853"/>
              <dgm:constr type="t" for="ch" forName="Child5" refType="h" fact="0.6876"/>
              <dgm:constr type="w" for="ch" forName="Child5" refType="w" fact="0.1469"/>
              <dgm:constr type="h" for="ch" forName="Child5" refType="h" fact="0.3124"/>
              <dgm:constr type="l" for="ch" forName="Accent4" refType="w" fact="0.4848"/>
              <dgm:constr type="t" for="ch" forName="Accent4" refType="h" fact="-0.0109"/>
              <dgm:constr type="w" for="ch" forName="Accent4" refType="w" fact="0.2226"/>
              <dgm:constr type="h" for="ch" forName="Accent4" refType="h" fact="0.806"/>
              <dgm:constr type="l" for="ch" forName="ParentBackground4" refType="w" fact="0.5227"/>
              <dgm:constr type="t" for="ch" forName="ParentBackground4" refType="h" fact="0.1262"/>
              <dgm:constr type="w" for="ch" forName="ParentBackground4" refType="w" fact="0.1469"/>
              <dgm:constr type="h" for="ch" forName="ParentBackground4" refType="h" fact="0.5319"/>
              <dgm:constr type="l" for="ch" forName="Child4" refType="w" fact="0.5227"/>
              <dgm:constr type="t" for="ch" forName="Child4" refType="h" fact="0.6876"/>
              <dgm:constr type="w" for="ch" forName="Child4" refType="w" fact="0.1469"/>
              <dgm:constr type="h" for="ch" forName="Child4" refType="h" fact="0.3124"/>
              <dgm:constr type="l" for="ch" forName="Accent3" refType="w" fact="0.3222"/>
              <dgm:constr type="t" for="ch" forName="Accent3" refType="h" fact="-0.0109"/>
              <dgm:constr type="w" for="ch" forName="Accent3" refType="w" fact="0.2226"/>
              <dgm:constr type="h" for="ch" forName="Accent3" refType="h" fact="0.806"/>
              <dgm:constr type="l" for="ch" forName="ParentBackground3" refType="w" fact="0.3601"/>
              <dgm:constr type="t" for="ch" forName="ParentBackground3" refType="h" fact="0.1262"/>
              <dgm:constr type="w" for="ch" forName="ParentBackground3" refType="w" fact="0.1469"/>
              <dgm:constr type="h" for="ch" forName="ParentBackground3" refType="h" fact="0.5319"/>
              <dgm:constr type="l" for="ch" forName="Child3" refType="w" fact="0.3601"/>
              <dgm:constr type="t" for="ch" forName="Child3" refType="h" fact="0.6876"/>
              <dgm:constr type="w" for="ch" forName="Child3" refType="w" fact="0.1469"/>
              <dgm:constr type="h" for="ch" forName="Child3" refType="h" fact="0.3124"/>
              <dgm:constr type="l" for="ch" forName="Accent2" refType="w" fact="0.1596"/>
              <dgm:constr type="t" for="ch" forName="Accent2" refType="h" fact="-0.0109"/>
              <dgm:constr type="w" for="ch" forName="Accent2" refType="w" fact="0.2226"/>
              <dgm:constr type="h" for="ch" forName="Accent2" refType="h" fact="0.806"/>
              <dgm:constr type="l" for="ch" forName="ParentBackground2" refType="w" fact="0.1975"/>
              <dgm:constr type="t" for="ch" forName="ParentBackground2" refType="h" fact="0.1262"/>
              <dgm:constr type="w" for="ch" forName="ParentBackground2" refType="w" fact="0.1469"/>
              <dgm:constr type="h" for="ch" forName="ParentBackground2" refType="h" fact="0.5319"/>
              <dgm:constr type="l" for="ch" forName="Child2" refType="w" fact="0.1975"/>
              <dgm:constr type="t" for="ch" forName="Child2" refType="h" fact="0.6876"/>
              <dgm:constr type="w" for="ch" forName="Child2" refType="w" fact="0.1469"/>
              <dgm:constr type="h" for="ch" forName="Child2" refType="h" fact="0.3124"/>
              <dgm:constr type="l" for="ch" forName="Accent1" refType="w" fact="-0.003"/>
              <dgm:constr type="t" for="ch" forName="Accent1" refType="h" fact="-0.0109"/>
              <dgm:constr type="w" for="ch" forName="Accent1" refType="w" fact="0.2226"/>
              <dgm:constr type="h" for="ch" forName="Accent1" refType="h" fact="0.806"/>
              <dgm:constr type="l" for="ch" forName="ParentBackground1" refType="w" fact="0.0348"/>
              <dgm:constr type="t" for="ch" forName="ParentBackground1" refType="h" fact="0.1262"/>
              <dgm:constr type="w" for="ch" forName="ParentBackground1" refType="w" fact="0.1469"/>
              <dgm:constr type="h" for="ch" forName="ParentBackground1" refType="h" fact="0.5319"/>
              <dgm:constr type="l" for="ch" forName="Child1" refType="w" fact="0.0348"/>
              <dgm:constr type="t" for="ch" forName="Child1" refType="h" fact="0.6876"/>
              <dgm:constr type="w" for="ch" forName="Child1" refType="w" fact="0.1469"/>
              <dgm:constr type="h" for="ch" forName="Child1" refType="h" fact="0.3124"/>
            </dgm:constrLst>
          </dgm:if>
          <dgm:if name="Name10"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l" for="ch" forName="Parent7" refType="w" fact="0.8872"/>
              <dgm:constr type="t" for="ch" forName="Parent7" refType="h" fact="0.2022"/>
              <dgm:constr type="w" for="ch" forName="Parent7" refType="w" fact="0.0902"/>
              <dgm:constr type="h" for="ch" forName="Parent7" refType="h" fact="0.3799"/>
              <dgm:constr type="l" for="ch" forName="Parent6" refType="w" fact="0.7473"/>
              <dgm:constr type="t" for="ch" forName="Parent6" refType="h" fact="0.2022"/>
              <dgm:constr type="w" for="ch" forName="Parent6" refType="w" fact="0.0902"/>
              <dgm:constr type="h" for="ch" forName="Parent6" refType="h" fact="0.3799"/>
              <dgm:constr type="l" for="ch" forName="Parent5" refType="w" fact="0.6075"/>
              <dgm:constr type="t" for="ch" forName="Parent5" refType="h" fact="0.2022"/>
              <dgm:constr type="w" for="ch" forName="Parent5" refType="w" fact="0.0902"/>
              <dgm:constr type="h" for="ch" forName="Parent5" refType="h" fact="0.3799"/>
              <dgm:constr type="l" for="ch" forName="Parent4" refType="w" fact="0.4676"/>
              <dgm:constr type="t" for="ch" forName="Parent4" refType="h" fact="0.2022"/>
              <dgm:constr type="w" for="ch" forName="Parent4" refType="w" fact="0.0902"/>
              <dgm:constr type="h" for="ch" forName="Parent4" refType="h" fact="0.3799"/>
              <dgm:constr type="l" for="ch" forName="Parent3" refType="w" fact="0.3277"/>
              <dgm:constr type="t" for="ch" forName="Parent3" refType="h" fact="0.2022"/>
              <dgm:constr type="w" for="ch" forName="Parent3" refType="w" fact="0.0902"/>
              <dgm:constr type="h" for="ch" forName="Parent3" refType="h" fact="0.3799"/>
              <dgm:constr type="l" for="ch" forName="Parent2" refType="w" fact="0.1879"/>
              <dgm:constr type="t" for="ch" forName="Parent2" refType="h" fact="0.2022"/>
              <dgm:constr type="w" for="ch" forName="Parent2" refType="w" fact="0.0902"/>
              <dgm:constr type="h" for="ch" forName="Parent2" refType="h" fact="0.3799"/>
              <dgm:constr type="l" for="ch" forName="Parent1" refType="w" fact="0.048"/>
              <dgm:constr type="t" for="ch" forName="Parent1" refType="h" fact="0.2022"/>
              <dgm:constr type="w" for="ch" forName="Parent1" refType="w" fact="0.0902"/>
              <dgm:constr type="h" for="ch" forName="Parent1" refType="h" fact="0.3799"/>
              <dgm:constr type="l" for="ch" forName="Accent7" refType="w" fact="0.8646"/>
              <dgm:constr type="t" for="ch" forName="Accent7" refType="h" fact="0.1072"/>
              <dgm:constr type="w" for="ch" forName="Accent7" refType="w" fact="0.1354"/>
              <dgm:constr type="h" for="ch" forName="Accent7" refType="h" fact="0.5699"/>
              <dgm:constr type="l" for="ch" forName="ParentBackground7" refType="w" fact="0.8692"/>
              <dgm:constr type="t" for="ch" forName="ParentBackground7" refType="h" fact="0.1262"/>
              <dgm:constr type="w" for="ch" forName="ParentBackground7" refType="w" fact="0.1263"/>
              <dgm:constr type="h" for="ch" forName="ParentBackground7" refType="h" fact="0.5319"/>
              <dgm:constr type="l" for="ch" forName="Child7" refType="w" fact="0.8692"/>
              <dgm:constr type="t" for="ch" forName="Child7" refType="h" fact="0.6876"/>
              <dgm:constr type="w" for="ch" forName="Child7" refType="w" fact="0.1263"/>
              <dgm:constr type="h" for="ch" forName="Child7" refType="h" fact="0.3124"/>
              <dgm:constr type="l" for="ch" forName="Accent6" refType="w" fact="0.6967"/>
              <dgm:constr type="t" for="ch" forName="Accent6" refType="h" fact="-0.0109"/>
              <dgm:constr type="w" for="ch" forName="Accent6" refType="w" fact="0.1915"/>
              <dgm:constr type="h" for="ch" forName="Accent6" refType="h" fact="0.806"/>
              <dgm:constr type="l" for="ch" forName="ParentBackground6" refType="w" fact="0.7293"/>
              <dgm:constr type="t" for="ch" forName="ParentBackground6" refType="h" fact="0.1262"/>
              <dgm:constr type="w" for="ch" forName="ParentBackground6" refType="w" fact="0.1263"/>
              <dgm:constr type="h" for="ch" forName="ParentBackground6" refType="h" fact="0.5319"/>
              <dgm:constr type="l" for="ch" forName="Child6" refType="w" fact="0.7293"/>
              <dgm:constr type="t" for="ch" forName="Child6" refType="h" fact="0.6876"/>
              <dgm:constr type="w" for="ch" forName="Child6" refType="w" fact="0.1263"/>
              <dgm:constr type="h" for="ch" forName="Child6" refType="h" fact="0.3124"/>
              <dgm:constr type="l" for="ch" forName="Accent5" refType="w" fact="0.5569"/>
              <dgm:constr type="t" for="ch" forName="Accent5" refType="h" fact="-0.0109"/>
              <dgm:constr type="w" for="ch" forName="Accent5" refType="w" fact="0.1915"/>
              <dgm:constr type="h" for="ch" forName="Accent5" refType="h" fact="0.806"/>
              <dgm:constr type="l" for="ch" forName="ParentBackground5" refType="w" fact="0.5894"/>
              <dgm:constr type="t" for="ch" forName="ParentBackground5" refType="h" fact="0.1262"/>
              <dgm:constr type="w" for="ch" forName="ParentBackground5" refType="w" fact="0.1263"/>
              <dgm:constr type="h" for="ch" forName="ParentBackground5" refType="h" fact="0.5319"/>
              <dgm:constr type="l" for="ch" forName="Child5" refType="w" fact="0.5894"/>
              <dgm:constr type="t" for="ch" forName="Child5" refType="h" fact="0.6876"/>
              <dgm:constr type="w" for="ch" forName="Child5" refType="w" fact="0.1263"/>
              <dgm:constr type="h" for="ch" forName="Child5" refType="h" fact="0.3124"/>
              <dgm:constr type="l" for="ch" forName="Accent4" refType="w" fact="0.417"/>
              <dgm:constr type="t" for="ch" forName="Accent4" refType="h" fact="-0.0109"/>
              <dgm:constr type="w" for="ch" forName="Accent4" refType="w" fact="0.1915"/>
              <dgm:constr type="h" for="ch" forName="Accent4" refType="h" fact="0.806"/>
              <dgm:constr type="l" for="ch" forName="ParentBackground4" refType="w" fact="0.4496"/>
              <dgm:constr type="t" for="ch" forName="ParentBackground4" refType="h" fact="0.1262"/>
              <dgm:constr type="w" for="ch" forName="ParentBackground4" refType="w" fact="0.1263"/>
              <dgm:constr type="h" for="ch" forName="ParentBackground4" refType="h" fact="0.5319"/>
              <dgm:constr type="l" for="ch" forName="Child4" refType="w" fact="0.4496"/>
              <dgm:constr type="t" for="ch" forName="Child4" refType="h" fact="0.6876"/>
              <dgm:constr type="w" for="ch" forName="Child4" refType="w" fact="0.1263"/>
              <dgm:constr type="h" for="ch" forName="Child4" refType="h" fact="0.3124"/>
              <dgm:constr type="l" for="ch" forName="Accent3" refType="w" fact="0.2771"/>
              <dgm:constr type="t" for="ch" forName="Accent3" refType="h" fact="-0.0109"/>
              <dgm:constr type="w" for="ch" forName="Accent3" refType="w" fact="0.1915"/>
              <dgm:constr type="h" for="ch" forName="Accent3" refType="h" fact="0.806"/>
              <dgm:constr type="l" for="ch" forName="ParentBackground3" refType="w" fact="0.3097"/>
              <dgm:constr type="t" for="ch" forName="ParentBackground3" refType="h" fact="0.1262"/>
              <dgm:constr type="w" for="ch" forName="ParentBackground3" refType="w" fact="0.1263"/>
              <dgm:constr type="h" for="ch" forName="ParentBackground3" refType="h" fact="0.5319"/>
              <dgm:constr type="l" for="ch" forName="Child3" refType="w" fact="0.3097"/>
              <dgm:constr type="t" for="ch" forName="Child3" refType="h" fact="0.6876"/>
              <dgm:constr type="w" for="ch" forName="Child3" refType="w" fact="0.1263"/>
              <dgm:constr type="h" for="ch" forName="Child3" refType="h" fact="0.3124"/>
              <dgm:constr type="l" for="ch" forName="Accent2" refType="w" fact="0.1373"/>
              <dgm:constr type="t" for="ch" forName="Accent2" refType="h" fact="-0.0109"/>
              <dgm:constr type="w" for="ch" forName="Accent2" refType="w" fact="0.1915"/>
              <dgm:constr type="h" for="ch" forName="Accent2" refType="h" fact="0.806"/>
              <dgm:constr type="l" for="ch" forName="ParentBackground2" refType="w" fact="0.1698"/>
              <dgm:constr type="t" for="ch" forName="ParentBackground2" refType="h" fact="0.1262"/>
              <dgm:constr type="w" for="ch" forName="ParentBackground2" refType="w" fact="0.1263"/>
              <dgm:constr type="h" for="ch" forName="ParentBackground2" refType="h" fact="0.5319"/>
              <dgm:constr type="l" for="ch" forName="Child2" refType="w" fact="0.1698"/>
              <dgm:constr type="t" for="ch" forName="Child2" refType="h" fact="0.6876"/>
              <dgm:constr type="w" for="ch" forName="Child2" refType="w" fact="0.1263"/>
              <dgm:constr type="h" for="ch" forName="Child2" refType="h" fact="0.3124"/>
              <dgm:constr type="l" for="ch" forName="Accent1" refType="w" fact="-0.0026"/>
              <dgm:constr type="t" for="ch" forName="Accent1" refType="h" fact="-0.0109"/>
              <dgm:constr type="w" for="ch" forName="Accent1" refType="w" fact="0.1915"/>
              <dgm:constr type="h" for="ch" forName="Accent1" refType="h" fact="0.806"/>
              <dgm:constr type="l" for="ch" forName="ParentBackground1" refType="w" fact="0.03"/>
              <dgm:constr type="t" for="ch" forName="ParentBackground1" refType="h" fact="0.1262"/>
              <dgm:constr type="w" for="ch" forName="ParentBackground1" refType="w" fact="0.1263"/>
              <dgm:constr type="h" for="ch" forName="ParentBackground1" refType="h" fact="0.5319"/>
              <dgm:constr type="l" for="ch" forName="Child1" refType="w" fact="0.03"/>
              <dgm:constr type="t" for="ch" forName="Child1" refType="h" fact="0.6876"/>
              <dgm:constr type="w" for="ch" forName="Child1" refType="w" fact="0.1263"/>
              <dgm:constr type="h" for="ch" forName="Child1" refType="h" fact="0.3124"/>
            </dgm:constrLst>
          </dgm:if>
          <dgm:if name="Name11"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l" for="ch" forName="Parent8" refType="w" fact="0.901"/>
              <dgm:constr type="t" for="ch" forName="Parent8" refType="h" fact="0.2022"/>
              <dgm:constr type="w" for="ch" forName="Parent8" refType="w" fact="0.0792"/>
              <dgm:constr type="h" for="ch" forName="Parent8" refType="h" fact="0.3799"/>
              <dgm:constr type="l" for="ch" forName="Parent7" refType="w" fact="0.7783"/>
              <dgm:constr type="t" for="ch" forName="Parent7" refType="h" fact="0.2022"/>
              <dgm:constr type="w" for="ch" forName="Parent7" refType="w" fact="0.0792"/>
              <dgm:constr type="h" for="ch" forName="Parent7" refType="h" fact="0.3799"/>
              <dgm:constr type="l" for="ch" forName="Parent6" refType="w" fact="0.6556"/>
              <dgm:constr type="t" for="ch" forName="Parent6" refType="h" fact="0.2022"/>
              <dgm:constr type="w" for="ch" forName="Parent6" refType="w" fact="0.0792"/>
              <dgm:constr type="h" for="ch" forName="Parent6" refType="h" fact="0.3799"/>
              <dgm:constr type="l" for="ch" forName="Parent5" refType="w" fact="0.5329"/>
              <dgm:constr type="t" for="ch" forName="Parent5" refType="h" fact="0.2022"/>
              <dgm:constr type="w" for="ch" forName="Parent5" refType="w" fact="0.0792"/>
              <dgm:constr type="h" for="ch" forName="Parent5" refType="h" fact="0.3799"/>
              <dgm:constr type="l" for="ch" forName="Parent4" refType="w" fact="0.4102"/>
              <dgm:constr type="t" for="ch" forName="Parent4" refType="h" fact="0.2022"/>
              <dgm:constr type="w" for="ch" forName="Parent4" refType="w" fact="0.0792"/>
              <dgm:constr type="h" for="ch" forName="Parent4" refType="h" fact="0.3799"/>
              <dgm:constr type="l" for="ch" forName="Parent3" refType="w" fact="0.2875"/>
              <dgm:constr type="t" for="ch" forName="Parent3" refType="h" fact="0.2022"/>
              <dgm:constr type="w" for="ch" forName="Parent3" refType="w" fact="0.0792"/>
              <dgm:constr type="h" for="ch" forName="Parent3" refType="h" fact="0.3799"/>
              <dgm:constr type="l" for="ch" forName="Parent2" refType="w" fact="0.1648"/>
              <dgm:constr type="t" for="ch" forName="Parent2" refType="h" fact="0.2022"/>
              <dgm:constr type="w" for="ch" forName="Parent2" refType="w" fact="0.0792"/>
              <dgm:constr type="h" for="ch" forName="Parent2" refType="h" fact="0.3799"/>
              <dgm:constr type="l" for="ch" forName="Parent1" refType="w" fact="0.0421"/>
              <dgm:constr type="t" for="ch" forName="Parent1" refType="h" fact="0.2022"/>
              <dgm:constr type="w" for="ch" forName="Parent1" refType="w" fact="0.0792"/>
              <dgm:constr type="h" for="ch" forName="Parent1" refType="h" fact="0.3799"/>
              <dgm:constr type="l" for="ch" forName="Accent8" refType="w" fact="0.8813"/>
              <dgm:constr type="t" for="ch" forName="Accent8" refType="h" fact="0.1072"/>
              <dgm:constr type="w" for="ch" forName="Accent8" refType="w" fact="0.1187"/>
              <dgm:constr type="h" for="ch" forName="Accent8" refType="h" fact="0.5699"/>
              <dgm:constr type="l" for="ch" forName="ParentBackground8" refType="w" fact="0.8852"/>
              <dgm:constr type="t" for="ch" forName="ParentBackground8" refType="h" fact="0.1262"/>
              <dgm:constr type="w" for="ch" forName="ParentBackground8" refType="w" fact="0.1108"/>
              <dgm:constr type="h" for="ch" forName="ParentBackground8" refType="h" fact="0.5319"/>
              <dgm:constr type="l" for="ch" forName="Child8" refType="w" fact="0.8852"/>
              <dgm:constr type="t" for="ch" forName="Child8" refType="h" fact="0.6876"/>
              <dgm:constr type="w" for="ch" forName="Child8" refType="w" fact="0.1108"/>
              <dgm:constr type="h" for="ch" forName="Child8" refType="h" fact="0.3124"/>
              <dgm:constr type="l" for="ch" forName="Accent7" refType="w" fact="0.7339"/>
              <dgm:constr type="t" for="ch" forName="Accent7" refType="h" fact="-0.0109"/>
              <dgm:constr type="w" for="ch" forName="Accent7" refType="w" fact="0.1679"/>
              <dgm:constr type="h" for="ch" forName="Accent7" refType="h" fact="0.806"/>
              <dgm:constr type="l" for="ch" forName="ParentBackground7" refType="w" fact="0.7625"/>
              <dgm:constr type="t" for="ch" forName="ParentBackground7" refType="h" fact="0.1262"/>
              <dgm:constr type="w" for="ch" forName="ParentBackground7" refType="w" fact="0.1108"/>
              <dgm:constr type="h" for="ch" forName="ParentBackground7" refType="h" fact="0.5319"/>
              <dgm:constr type="l" for="ch" forName="Child7" refType="w" fact="0.7625"/>
              <dgm:constr type="t" for="ch" forName="Child7" refType="h" fact="0.6876"/>
              <dgm:constr type="w" for="ch" forName="Child7" refType="w" fact="0.1108"/>
              <dgm:constr type="h" for="ch" forName="Child7" refType="h" fact="0.3124"/>
              <dgm:constr type="l" for="ch" forName="Accent6" refType="w" fact="0.6112"/>
              <dgm:constr type="t" for="ch" forName="Accent6" refType="h" fact="-0.0109"/>
              <dgm:constr type="w" for="ch" forName="Accent6" refType="w" fact="0.1679"/>
              <dgm:constr type="h" for="ch" forName="Accent6" refType="h" fact="0.806"/>
              <dgm:constr type="l" for="ch" forName="ParentBackground6" refType="w" fact="0.6398"/>
              <dgm:constr type="t" for="ch" forName="ParentBackground6" refType="h" fact="0.1262"/>
              <dgm:constr type="w" for="ch" forName="ParentBackground6" refType="w" fact="0.1108"/>
              <dgm:constr type="h" for="ch" forName="ParentBackground6" refType="h" fact="0.5319"/>
              <dgm:constr type="l" for="ch" forName="Child6" refType="w" fact="0.6398"/>
              <dgm:constr type="t" for="ch" forName="Child6" refType="h" fact="0.6876"/>
              <dgm:constr type="w" for="ch" forName="Child6" refType="w" fact="0.1108"/>
              <dgm:constr type="h" for="ch" forName="Child6" refType="h" fact="0.3124"/>
              <dgm:constr type="l" for="ch" forName="Accent5" refType="w" fact="0.4885"/>
              <dgm:constr type="t" for="ch" forName="Accent5" refType="h" fact="-0.0109"/>
              <dgm:constr type="w" for="ch" forName="Accent5" refType="w" fact="0.1679"/>
              <dgm:constr type="h" for="ch" forName="Accent5" refType="h" fact="0.806"/>
              <dgm:constr type="l" for="ch" forName="ParentBackground5" refType="w" fact="0.5171"/>
              <dgm:constr type="t" for="ch" forName="ParentBackground5" refType="h" fact="0.1262"/>
              <dgm:constr type="w" for="ch" forName="ParentBackground5" refType="w" fact="0.1108"/>
              <dgm:constr type="h" for="ch" forName="ParentBackground5" refType="h" fact="0.5319"/>
              <dgm:constr type="l" for="ch" forName="Child5" refType="w" fact="0.5171"/>
              <dgm:constr type="t" for="ch" forName="Child5" refType="h" fact="0.6876"/>
              <dgm:constr type="w" for="ch" forName="Child5" refType="w" fact="0.1108"/>
              <dgm:constr type="h" for="ch" forName="Child5" refType="h" fact="0.3124"/>
              <dgm:constr type="l" for="ch" forName="Accent4" refType="w" fact="0.3658"/>
              <dgm:constr type="t" for="ch" forName="Accent4" refType="h" fact="-0.0109"/>
              <dgm:constr type="w" for="ch" forName="Accent4" refType="w" fact="0.1679"/>
              <dgm:constr type="h" for="ch" forName="Accent4" refType="h" fact="0.806"/>
              <dgm:constr type="l" for="ch" forName="ParentBackground4" refType="w" fact="0.3944"/>
              <dgm:constr type="t" for="ch" forName="ParentBackground4" refType="h" fact="0.1262"/>
              <dgm:constr type="w" for="ch" forName="ParentBackground4" refType="w" fact="0.1108"/>
              <dgm:constr type="h" for="ch" forName="ParentBackground4" refType="h" fact="0.5319"/>
              <dgm:constr type="l" for="ch" forName="Child4" refType="w" fact="0.3944"/>
              <dgm:constr type="t" for="ch" forName="Child4" refType="h" fact="0.6876"/>
              <dgm:constr type="w" for="ch" forName="Child4" refType="w" fact="0.1108"/>
              <dgm:constr type="h" for="ch" forName="Child4" refType="h" fact="0.3124"/>
              <dgm:constr type="l" for="ch" forName="Accent3" refType="w" fact="0.2431"/>
              <dgm:constr type="t" for="ch" forName="Accent3" refType="h" fact="-0.0109"/>
              <dgm:constr type="w" for="ch" forName="Accent3" refType="w" fact="0.1679"/>
              <dgm:constr type="h" for="ch" forName="Accent3" refType="h" fact="0.806"/>
              <dgm:constr type="l" for="ch" forName="ParentBackground3" refType="w" fact="0.2717"/>
              <dgm:constr type="t" for="ch" forName="ParentBackground3" refType="h" fact="0.1262"/>
              <dgm:constr type="w" for="ch" forName="ParentBackground3" refType="w" fact="0.1108"/>
              <dgm:constr type="h" for="ch" forName="ParentBackground3" refType="h" fact="0.5319"/>
              <dgm:constr type="l" for="ch" forName="Child3" refType="w" fact="0.2717"/>
              <dgm:constr type="t" for="ch" forName="Child3" refType="h" fact="0.6876"/>
              <dgm:constr type="w" for="ch" forName="Child3" refType="w" fact="0.1108"/>
              <dgm:constr type="h" for="ch" forName="Child3" refType="h" fact="0.3124"/>
              <dgm:constr type="l" for="ch" forName="Accent2" refType="w" fact="0.1204"/>
              <dgm:constr type="t" for="ch" forName="Accent2" refType="h" fact="-0.0109"/>
              <dgm:constr type="w" for="ch" forName="Accent2" refType="w" fact="0.1679"/>
              <dgm:constr type="h" for="ch" forName="Accent2" refType="h" fact="0.806"/>
              <dgm:constr type="l" for="ch" forName="ParentBackground2" refType="w" fact="0.149"/>
              <dgm:constr type="t" for="ch" forName="ParentBackground2" refType="h" fact="0.1262"/>
              <dgm:constr type="w" for="ch" forName="ParentBackground2" refType="w" fact="0.1108"/>
              <dgm:constr type="h" for="ch" forName="ParentBackground2" refType="h" fact="0.5319"/>
              <dgm:constr type="l" for="ch" forName="Child2" refType="w" fact="0.149"/>
              <dgm:constr type="t" for="ch" forName="Child2" refType="h" fact="0.6876"/>
              <dgm:constr type="w" for="ch" forName="Child2" refType="w" fact="0.1108"/>
              <dgm:constr type="h" for="ch" forName="Child2" refType="h" fact="0.3124"/>
              <dgm:constr type="l" for="ch" forName="Accent1" refType="w" fact="-0.0023"/>
              <dgm:constr type="t" for="ch" forName="Accent1" refType="h" fact="-0.0109"/>
              <dgm:constr type="w" for="ch" forName="Accent1" refType="w" fact="0.1679"/>
              <dgm:constr type="h" for="ch" forName="Accent1" refType="h" fact="0.806"/>
              <dgm:constr type="l" for="ch" forName="ParentBackground1" refType="w" fact="0.0263"/>
              <dgm:constr type="t" for="ch" forName="ParentBackground1" refType="h" fact="0.1262"/>
              <dgm:constr type="w" for="ch" forName="ParentBackground1" refType="w" fact="0.1108"/>
              <dgm:constr type="h" for="ch" forName="ParentBackground1" refType="h" fact="0.5319"/>
              <dgm:constr type="l" for="ch" forName="Child1" refType="w" fact="0.0263"/>
              <dgm:constr type="t" for="ch" forName="Child1" refType="h" fact="0.6876"/>
              <dgm:constr type="w" for="ch" forName="Child1" refType="w" fact="0.1108"/>
              <dgm:constr type="h" for="ch" forName="Child1" refType="h" fact="0.3124"/>
            </dgm:constrLst>
          </dgm:if>
          <dgm:if name="Name12"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l" for="ch" forName="Parent9" refType="w" fact="0.9119"/>
              <dgm:constr type="t" for="ch" forName="Parent9" refType="h" fact="0.2022"/>
              <dgm:constr type="w" for="ch" forName="Parent9" refType="w" fact="0.0705"/>
              <dgm:constr type="h" for="ch" forName="Parent9" refType="h" fact="0.3799"/>
              <dgm:constr type="l" for="ch" forName="Parent8" refType="w" fact="0.8026"/>
              <dgm:constr type="t" for="ch" forName="Parent8" refType="h" fact="0.2022"/>
              <dgm:constr type="w" for="ch" forName="Parent8" refType="w" fact="0.0705"/>
              <dgm:constr type="h" for="ch" forName="Parent8" refType="h" fact="0.3799"/>
              <dgm:constr type="l" for="ch" forName="Parent7" refType="w" fact="0.6933"/>
              <dgm:constr type="t" for="ch" forName="Parent7" refType="h" fact="0.2022"/>
              <dgm:constr type="w" for="ch" forName="Parent7" refType="w" fact="0.0705"/>
              <dgm:constr type="h" for="ch" forName="Parent7" refType="h" fact="0.3799"/>
              <dgm:constr type="l" for="ch" forName="Parent6" refType="w" fact="0.584"/>
              <dgm:constr type="t" for="ch" forName="Parent6" refType="h" fact="0.2022"/>
              <dgm:constr type="w" for="ch" forName="Parent6" refType="w" fact="0.0705"/>
              <dgm:constr type="h" for="ch" forName="Parent6" refType="h" fact="0.3799"/>
              <dgm:constr type="l" for="ch" forName="Parent5" refType="w" fact="0.4747"/>
              <dgm:constr type="t" for="ch" forName="Parent5" refType="h" fact="0.2022"/>
              <dgm:constr type="w" for="ch" forName="Parent5" refType="w" fact="0.0705"/>
              <dgm:constr type="h" for="ch" forName="Parent5" refType="h" fact="0.3799"/>
              <dgm:constr type="l" for="ch" forName="Parent4" refType="w" fact="0.3654"/>
              <dgm:constr type="t" for="ch" forName="Parent4" refType="h" fact="0.2022"/>
              <dgm:constr type="w" for="ch" forName="Parent4" refType="w" fact="0.0705"/>
              <dgm:constr type="h" for="ch" forName="Parent4" refType="h" fact="0.3799"/>
              <dgm:constr type="l" for="ch" forName="Parent3" refType="w" fact="0.2561"/>
              <dgm:constr type="t" for="ch" forName="Parent3" refType="h" fact="0.2022"/>
              <dgm:constr type="w" for="ch" forName="Parent3" refType="w" fact="0.0705"/>
              <dgm:constr type="h" for="ch" forName="Parent3" refType="h" fact="0.3799"/>
              <dgm:constr type="l" for="ch" forName="Parent2" refType="w" fact="0.1468"/>
              <dgm:constr type="t" for="ch" forName="Parent2" refType="h" fact="0.2022"/>
              <dgm:constr type="w" for="ch" forName="Parent2" refType="w" fact="0.0705"/>
              <dgm:constr type="h" for="ch" forName="Parent2" refType="h" fact="0.3799"/>
              <dgm:constr type="l" for="ch" forName="Parent1" refType="w" fact="0.0375"/>
              <dgm:constr type="t" for="ch" forName="Parent1" refType="h" fact="0.2022"/>
              <dgm:constr type="w" for="ch" forName="Parent1" refType="w" fact="0.0705"/>
              <dgm:constr type="h" for="ch" forName="Parent1" refType="h" fact="0.3799"/>
              <dgm:constr type="l" for="ch" forName="Accent9" refType="w" fact="0.8942"/>
              <dgm:constr type="t" for="ch" forName="Accent9" refType="h" fact="0.1072"/>
              <dgm:constr type="w" for="ch" forName="Accent9" refType="w" fact="0.1058"/>
              <dgm:constr type="h" for="ch" forName="Accent9" refType="h" fact="0.5699"/>
              <dgm:constr type="l" for="ch" forName="ParentBackground9" refType="w" fact="0.8978"/>
              <dgm:constr type="t" for="ch" forName="ParentBackground9" refType="h" fact="0.1262"/>
              <dgm:constr type="w" for="ch" forName="ParentBackground9" refType="w" fact="0.0987"/>
              <dgm:constr type="h" for="ch" forName="ParentBackground9" refType="h" fact="0.5319"/>
              <dgm:constr type="l" for="ch" forName="Child9" refType="w" fact="0.8978"/>
              <dgm:constr type="t" for="ch" forName="Child9" refType="h" fact="0.6876"/>
              <dgm:constr type="w" for="ch" forName="Child9" refType="w" fact="0.0987"/>
              <dgm:constr type="h" for="ch" forName="Child9" refType="h" fact="0.3124"/>
              <dgm:constr type="l" for="ch" forName="Accent8" refType="w" fact="0.763"/>
              <dgm:constr type="t" for="ch" forName="Accent8" refType="h" fact="-0.0109"/>
              <dgm:constr type="w" for="ch" forName="Accent8" refType="w" fact="0.1496"/>
              <dgm:constr type="h" for="ch" forName="Accent8" refType="h" fact="0.806"/>
              <dgm:constr type="l" for="ch" forName="ParentBackground8" refType="w" fact="0.7885"/>
              <dgm:constr type="t" for="ch" forName="ParentBackground8" refType="h" fact="0.1262"/>
              <dgm:constr type="w" for="ch" forName="ParentBackground8" refType="w" fact="0.0987"/>
              <dgm:constr type="h" for="ch" forName="ParentBackground8" refType="h" fact="0.5319"/>
              <dgm:constr type="l" for="ch" forName="Child8" refType="w" fact="0.7885"/>
              <dgm:constr type="t" for="ch" forName="Child8" refType="h" fact="0.6876"/>
              <dgm:constr type="w" for="ch" forName="Child8" refType="w" fact="0.0987"/>
              <dgm:constr type="h" for="ch" forName="Child8" refType="h" fact="0.3124"/>
              <dgm:constr type="l" for="ch" forName="Accent7" refType="w" fact="0.6538"/>
              <dgm:constr type="t" for="ch" forName="Accent7" refType="h" fact="-0.0109"/>
              <dgm:constr type="w" for="ch" forName="Accent7" refType="w" fact="0.1496"/>
              <dgm:constr type="h" for="ch" forName="Accent7" refType="h" fact="0.806"/>
              <dgm:constr type="l" for="ch" forName="ParentBackground7" refType="w" fact="0.6792"/>
              <dgm:constr type="t" for="ch" forName="ParentBackground7" refType="h" fact="0.1262"/>
              <dgm:constr type="w" for="ch" forName="ParentBackground7" refType="w" fact="0.0987"/>
              <dgm:constr type="h" for="ch" forName="ParentBackground7" refType="h" fact="0.5319"/>
              <dgm:constr type="l" for="ch" forName="Child7" refType="w" fact="0.6792"/>
              <dgm:constr type="t" for="ch" forName="Child7" refType="h" fact="0.6876"/>
              <dgm:constr type="w" for="ch" forName="Child7" refType="w" fact="0.0987"/>
              <dgm:constr type="h" for="ch" forName="Child7" refType="h" fact="0.3124"/>
              <dgm:constr type="l" for="ch" forName="Accent6" refType="w" fact="0.5445"/>
              <dgm:constr type="t" for="ch" forName="Accent6" refType="h" fact="-0.0109"/>
              <dgm:constr type="w" for="ch" forName="Accent6" refType="w" fact="0.1496"/>
              <dgm:constr type="h" for="ch" forName="Accent6" refType="h" fact="0.806"/>
              <dgm:constr type="l" for="ch" forName="ParentBackground6" refType="w" fact="0.5699"/>
              <dgm:constr type="t" for="ch" forName="ParentBackground6" refType="h" fact="0.1262"/>
              <dgm:constr type="w" for="ch" forName="ParentBackground6" refType="w" fact="0.0987"/>
              <dgm:constr type="h" for="ch" forName="ParentBackground6" refType="h" fact="0.5319"/>
              <dgm:constr type="l" for="ch" forName="Child6" refType="w" fact="0.5699"/>
              <dgm:constr type="t" for="ch" forName="Child6" refType="h" fact="0.6876"/>
              <dgm:constr type="w" for="ch" forName="Child6" refType="w" fact="0.0987"/>
              <dgm:constr type="h" for="ch" forName="Child6" refType="h" fact="0.3124"/>
              <dgm:constr type="l" for="ch" forName="Accent5" refType="w" fact="0.4352"/>
              <dgm:constr type="t" for="ch" forName="Accent5" refType="h" fact="-0.0109"/>
              <dgm:constr type="w" for="ch" forName="Accent5" refType="w" fact="0.1496"/>
              <dgm:constr type="h" for="ch" forName="Accent5" refType="h" fact="0.806"/>
              <dgm:constr type="l" for="ch" forName="ParentBackground5" refType="w" fact="0.4606"/>
              <dgm:constr type="t" for="ch" forName="ParentBackground5" refType="h" fact="0.1262"/>
              <dgm:constr type="w" for="ch" forName="ParentBackground5" refType="w" fact="0.0987"/>
              <dgm:constr type="h" for="ch" forName="ParentBackground5" refType="h" fact="0.5319"/>
              <dgm:constr type="l" for="ch" forName="Child5" refType="w" fact="0.4606"/>
              <dgm:constr type="t" for="ch" forName="Child5" refType="h" fact="0.6876"/>
              <dgm:constr type="w" for="ch" forName="Child5" refType="w" fact="0.0987"/>
              <dgm:constr type="h" for="ch" forName="Child5" refType="h" fact="0.3124"/>
              <dgm:constr type="l" for="ch" forName="Accent4" refType="w" fact="0.3259"/>
              <dgm:constr type="t" for="ch" forName="Accent4" refType="h" fact="-0.0109"/>
              <dgm:constr type="w" for="ch" forName="Accent4" refType="w" fact="0.1496"/>
              <dgm:constr type="h" for="ch" forName="Accent4" refType="h" fact="0.806"/>
              <dgm:constr type="l" for="ch" forName="ParentBackground4" refType="w" fact="0.3513"/>
              <dgm:constr type="t" for="ch" forName="ParentBackground4" refType="h" fact="0.1262"/>
              <dgm:constr type="w" for="ch" forName="ParentBackground4" refType="w" fact="0.0987"/>
              <dgm:constr type="h" for="ch" forName="ParentBackground4" refType="h" fact="0.5319"/>
              <dgm:constr type="l" for="ch" forName="Child4" refType="w" fact="0.3513"/>
              <dgm:constr type="t" for="ch" forName="Child4" refType="h" fact="0.6876"/>
              <dgm:constr type="w" for="ch" forName="Child4" refType="w" fact="0.0987"/>
              <dgm:constr type="h" for="ch" forName="Child4" refType="h" fact="0.3124"/>
              <dgm:constr type="l" for="ch" forName="Accent3" refType="w" fact="0.2166"/>
              <dgm:constr type="t" for="ch" forName="Accent3" refType="h" fact="-0.0109"/>
              <dgm:constr type="w" for="ch" forName="Accent3" refType="w" fact="0.1496"/>
              <dgm:constr type="h" for="ch" forName="Accent3" refType="h" fact="0.806"/>
              <dgm:constr type="l" for="ch" forName="ParentBackground3" refType="w" fact="0.242"/>
              <dgm:constr type="t" for="ch" forName="ParentBackground3" refType="h" fact="0.1262"/>
              <dgm:constr type="w" for="ch" forName="ParentBackground3" refType="w" fact="0.0987"/>
              <dgm:constr type="h" for="ch" forName="ParentBackground3" refType="h" fact="0.5319"/>
              <dgm:constr type="l" for="ch" forName="Child3" refType="w" fact="0.242"/>
              <dgm:constr type="t" for="ch" forName="Child3" refType="h" fact="0.6876"/>
              <dgm:constr type="w" for="ch" forName="Child3" refType="w" fact="0.0987"/>
              <dgm:constr type="h" for="ch" forName="Child3" refType="h" fact="0.3124"/>
              <dgm:constr type="l" for="ch" forName="Accent2" refType="w" fact="0.1073"/>
              <dgm:constr type="t" for="ch" forName="Accent2" refType="h" fact="-0.0109"/>
              <dgm:constr type="w" for="ch" forName="Accent2" refType="w" fact="0.1496"/>
              <dgm:constr type="h" for="ch" forName="Accent2" refType="h" fact="0.806"/>
              <dgm:constr type="l" for="ch" forName="ParentBackground2" refType="w" fact="0.1327"/>
              <dgm:constr type="t" for="ch" forName="ParentBackground2" refType="h" fact="0.1262"/>
              <dgm:constr type="w" for="ch" forName="ParentBackground2" refType="w" fact="0.0987"/>
              <dgm:constr type="h" for="ch" forName="ParentBackground2" refType="h" fact="0.5319"/>
              <dgm:constr type="l" for="ch" forName="Child2" refType="w" fact="0.1327"/>
              <dgm:constr type="t" for="ch" forName="Child2" refType="h" fact="0.6876"/>
              <dgm:constr type="w" for="ch" forName="Child2" refType="w" fact="0.0987"/>
              <dgm:constr type="h" for="ch" forName="Child2" refType="h" fact="0.3124"/>
              <dgm:constr type="l" for="ch" forName="Accent1" refType="w" fact="-0.002"/>
              <dgm:constr type="t" for="ch" forName="Accent1" refType="h" fact="-0.0109"/>
              <dgm:constr type="w" for="ch" forName="Accent1" refType="w" fact="0.1496"/>
              <dgm:constr type="h" for="ch" forName="Accent1" refType="h" fact="0.806"/>
              <dgm:constr type="l" for="ch" forName="ParentBackground1" refType="w" fact="0.0234"/>
              <dgm:constr type="t" for="ch" forName="ParentBackground1" refType="h" fact="0.1262"/>
              <dgm:constr type="w" for="ch" forName="ParentBackground1" refType="w" fact="0.0987"/>
              <dgm:constr type="h" for="ch" forName="ParentBackground1" refType="h" fact="0.5319"/>
              <dgm:constr type="l" for="ch" forName="Child1" refType="w" fact="0.0234"/>
              <dgm:constr type="t" for="ch" forName="Child1" refType="h" fact="0.6876"/>
              <dgm:constr type="w" for="ch" forName="Child1" refType="w" fact="0.0987"/>
              <dgm:constr type="h" for="ch" forName="Child1" refType="h" fact="0.3124"/>
            </dgm:constrLst>
          </dgm:if>
          <dgm:if name="Name13"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l" for="ch" forName="Parent10" refType="w" fact="0.9205"/>
              <dgm:constr type="t" for="ch" forName="Parent10" refType="h" fact="0.2022"/>
              <dgm:constr type="w" for="ch" forName="Parent10" refType="w" fact="0.0636"/>
              <dgm:constr type="h" for="ch" forName="Parent10" refType="h" fact="0.3799"/>
              <dgm:constr type="l" for="ch" forName="Parent9" refType="w" fact="0.822"/>
              <dgm:constr type="t" for="ch" forName="Parent9" refType="h" fact="0.2022"/>
              <dgm:constr type="w" for="ch" forName="Parent9" refType="w" fact="0.0636"/>
              <dgm:constr type="h" for="ch" forName="Parent9" refType="h" fact="0.3799"/>
              <dgm:constr type="l" for="ch" forName="Parent8" refType="w" fact="0.7235"/>
              <dgm:constr type="t" for="ch" forName="Parent8" refType="h" fact="0.2022"/>
              <dgm:constr type="w" for="ch" forName="Parent8" refType="w" fact="0.0636"/>
              <dgm:constr type="h" for="ch" forName="Parent8" refType="h" fact="0.3799"/>
              <dgm:constr type="l" for="ch" forName="Parent7" refType="w" fact="0.625"/>
              <dgm:constr type="t" for="ch" forName="Parent7" refType="h" fact="0.2022"/>
              <dgm:constr type="w" for="ch" forName="Parent7" refType="w" fact="0.0636"/>
              <dgm:constr type="h" for="ch" forName="Parent7" refType="h" fact="0.3799"/>
              <dgm:constr type="l" for="ch" forName="Parent6" refType="w" fact="0.5264"/>
              <dgm:constr type="t" for="ch" forName="Parent6" refType="h" fact="0.2022"/>
              <dgm:constr type="w" for="ch" forName="Parent6" refType="w" fact="0.0636"/>
              <dgm:constr type="h" for="ch" forName="Parent6" refType="h" fact="0.3799"/>
              <dgm:constr type="l" for="ch" forName="Parent5" refType="w" fact="0.4279"/>
              <dgm:constr type="t" for="ch" forName="Parent5" refType="h" fact="0.2022"/>
              <dgm:constr type="w" for="ch" forName="Parent5" refType="w" fact="0.0636"/>
              <dgm:constr type="h" for="ch" forName="Parent5" refType="h" fact="0.3799"/>
              <dgm:constr type="l" for="ch" forName="Parent4" refType="w" fact="0.3294"/>
              <dgm:constr type="t" for="ch" forName="Parent4" refType="h" fact="0.2022"/>
              <dgm:constr type="w" for="ch" forName="Parent4" refType="w" fact="0.0636"/>
              <dgm:constr type="h" for="ch" forName="Parent4" refType="h" fact="0.3799"/>
              <dgm:constr type="l" for="ch" forName="Parent3" refType="w" fact="0.2309"/>
              <dgm:constr type="t" for="ch" forName="Parent3" refType="h" fact="0.2022"/>
              <dgm:constr type="w" for="ch" forName="Parent3" refType="w" fact="0.0636"/>
              <dgm:constr type="h" for="ch" forName="Parent3" refType="h" fact="0.3799"/>
              <dgm:constr type="l" for="ch" forName="Parent2" refType="w" fact="0.1324"/>
              <dgm:constr type="t" for="ch" forName="Parent2" refType="h" fact="0.2022"/>
              <dgm:constr type="w" for="ch" forName="Parent2" refType="w" fact="0.0636"/>
              <dgm:constr type="h" for="ch" forName="Parent2" refType="h" fact="0.3799"/>
              <dgm:constr type="l" for="ch" forName="Parent1" refType="w" fact="0.0338"/>
              <dgm:constr type="t" for="ch" forName="Parent1" refType="h" fact="0.2022"/>
              <dgm:constr type="w" for="ch" forName="Parent1" refType="w" fact="0.0636"/>
              <dgm:constr type="h" for="ch" forName="Parent1" refType="h" fact="0.3799"/>
              <dgm:constr type="l" for="ch" forName="Accent10" refType="w" fact="0.9047"/>
              <dgm:constr type="t" for="ch" forName="Accent10" refType="h" fact="0.1072"/>
              <dgm:constr type="w" for="ch" forName="Accent10" refType="w" fact="0.0953"/>
              <dgm:constr type="h" for="ch" forName="Accent10" refType="h" fact="0.5699"/>
              <dgm:constr type="l" for="ch" forName="ParentBackground10" refType="w" fact="0.9078"/>
              <dgm:constr type="t" for="ch" forName="ParentBackground10" refType="h" fact="0.1262"/>
              <dgm:constr type="w" for="ch" forName="ParentBackground10" refType="w" fact="0.089"/>
              <dgm:constr type="h" for="ch" forName="ParentBackground10" refType="h" fact="0.5319"/>
              <dgm:constr type="l" for="ch" forName="Child10" refType="w" fact="0.9078"/>
              <dgm:constr type="t" for="ch" forName="Child10" refType="h" fact="0.6876"/>
              <dgm:constr type="w" for="ch" forName="Child10" refType="w" fact="0.089"/>
              <dgm:constr type="h" for="ch" forName="Child10" refType="h" fact="0.3124"/>
              <dgm:constr type="l" for="ch" forName="Accent9" refType="w" fact="0.7864"/>
              <dgm:constr type="t" for="ch" forName="Accent9" refType="h" fact="-0.0109"/>
              <dgm:constr type="w" for="ch" forName="Accent9" refType="w" fact="0.1348"/>
              <dgm:constr type="h" for="ch" forName="Accent9" refType="h" fact="0.806"/>
              <dgm:constr type="l" for="ch" forName="ParentBackground9" refType="w" fact="0.8093"/>
              <dgm:constr type="t" for="ch" forName="ParentBackground9" refType="h" fact="0.1262"/>
              <dgm:constr type="w" for="ch" forName="ParentBackground9" refType="w" fact="0.089"/>
              <dgm:constr type="h" for="ch" forName="ParentBackground9" refType="h" fact="0.5319"/>
              <dgm:constr type="l" for="ch" forName="Child9" refType="w" fact="0.8093"/>
              <dgm:constr type="t" for="ch" forName="Child9" refType="h" fact="0.6876"/>
              <dgm:constr type="w" for="ch" forName="Child9" refType="w" fact="0.089"/>
              <dgm:constr type="h" for="ch" forName="Child9" refType="h" fact="0.3124"/>
              <dgm:constr type="l" for="ch" forName="Accent8" refType="w" fact="0.6879"/>
              <dgm:constr type="t" for="ch" forName="Accent8" refType="h" fact="-0.0109"/>
              <dgm:constr type="w" for="ch" forName="Accent8" refType="w" fact="0.1348"/>
              <dgm:constr type="h" for="ch" forName="Accent8" refType="h" fact="0.806"/>
              <dgm:constr type="l" for="ch" forName="ParentBackground8" refType="w" fact="0.7108"/>
              <dgm:constr type="t" for="ch" forName="ParentBackground8" refType="h" fact="0.1262"/>
              <dgm:constr type="w" for="ch" forName="ParentBackground8" refType="w" fact="0.089"/>
              <dgm:constr type="h" for="ch" forName="ParentBackground8" refType="h" fact="0.5319"/>
              <dgm:constr type="l" for="ch" forName="Child8" refType="w" fact="0.7108"/>
              <dgm:constr type="t" for="ch" forName="Child8" refType="h" fact="0.6876"/>
              <dgm:constr type="w" for="ch" forName="Child8" refType="w" fact="0.089"/>
              <dgm:constr type="h" for="ch" forName="Child8" refType="h" fact="0.3124"/>
              <dgm:constr type="l" for="ch" forName="Accent7" refType="w" fact="0.5893"/>
              <dgm:constr type="t" for="ch" forName="Accent7" refType="h" fact="-0.0109"/>
              <dgm:constr type="w" for="ch" forName="Accent7" refType="w" fact="0.1348"/>
              <dgm:constr type="h" for="ch" forName="Accent7" refType="h" fact="0.806"/>
              <dgm:constr type="l" for="ch" forName="ParentBackground7" refType="w" fact="0.6123"/>
              <dgm:constr type="t" for="ch" forName="ParentBackground7" refType="h" fact="0.1262"/>
              <dgm:constr type="w" for="ch" forName="ParentBackground7" refType="w" fact="0.089"/>
              <dgm:constr type="h" for="ch" forName="ParentBackground7" refType="h" fact="0.5319"/>
              <dgm:constr type="l" for="ch" forName="Child7" refType="w" fact="0.6123"/>
              <dgm:constr type="t" for="ch" forName="Child7" refType="h" fact="0.6876"/>
              <dgm:constr type="w" for="ch" forName="Child7" refType="w" fact="0.089"/>
              <dgm:constr type="h" for="ch" forName="Child7" refType="h" fact="0.3124"/>
              <dgm:constr type="l" for="ch" forName="Accent6" refType="w" fact="0.4908"/>
              <dgm:constr type="t" for="ch" forName="Accent6" refType="h" fact="-0.0109"/>
              <dgm:constr type="w" for="ch" forName="Accent6" refType="w" fact="0.1348"/>
              <dgm:constr type="h" for="ch" forName="Accent6" refType="h" fact="0.806"/>
              <dgm:constr type="l" for="ch" forName="ParentBackground6" refType="w" fact="0.5137"/>
              <dgm:constr type="t" for="ch" forName="ParentBackground6" refType="h" fact="0.1262"/>
              <dgm:constr type="w" for="ch" forName="ParentBackground6" refType="w" fact="0.089"/>
              <dgm:constr type="h" for="ch" forName="ParentBackground6" refType="h" fact="0.5319"/>
              <dgm:constr type="l" for="ch" forName="Child6" refType="w" fact="0.5137"/>
              <dgm:constr type="t" for="ch" forName="Child6" refType="h" fact="0.6876"/>
              <dgm:constr type="w" for="ch" forName="Child6" refType="w" fact="0.089"/>
              <dgm:constr type="h" for="ch" forName="Child6" refType="h" fact="0.3124"/>
              <dgm:constr type="l" for="ch" forName="Accent5" refType="w" fact="0.3923"/>
              <dgm:constr type="t" for="ch" forName="Accent5" refType="h" fact="-0.0109"/>
              <dgm:constr type="w" for="ch" forName="Accent5" refType="w" fact="0.1348"/>
              <dgm:constr type="h" for="ch" forName="Accent5" refType="h" fact="0.806"/>
              <dgm:constr type="l" for="ch" forName="ParentBackground5" refType="w" fact="0.4152"/>
              <dgm:constr type="t" for="ch" forName="ParentBackground5" refType="h" fact="0.1262"/>
              <dgm:constr type="w" for="ch" forName="ParentBackground5" refType="w" fact="0.089"/>
              <dgm:constr type="h" for="ch" forName="ParentBackground5" refType="h" fact="0.5319"/>
              <dgm:constr type="l" for="ch" forName="Child5" refType="w" fact="0.4152"/>
              <dgm:constr type="t" for="ch" forName="Child5" refType="h" fact="0.6876"/>
              <dgm:constr type="w" for="ch" forName="Child5" refType="w" fact="0.089"/>
              <dgm:constr type="h" for="ch" forName="Child5" refType="h" fact="0.3124"/>
              <dgm:constr type="l" for="ch" forName="Accent4" refType="w" fact="0.2938"/>
              <dgm:constr type="t" for="ch" forName="Accent4" refType="h" fact="-0.0109"/>
              <dgm:constr type="w" for="ch" forName="Accent4" refType="w" fact="0.1348"/>
              <dgm:constr type="h" for="ch" forName="Accent4" refType="h" fact="0.806"/>
              <dgm:constr type="l" for="ch" forName="ParentBackground4" refType="w" fact="0.3167"/>
              <dgm:constr type="t" for="ch" forName="ParentBackground4" refType="h" fact="0.1262"/>
              <dgm:constr type="w" for="ch" forName="ParentBackground4" refType="w" fact="0.089"/>
              <dgm:constr type="h" for="ch" forName="ParentBackground4" refType="h" fact="0.5319"/>
              <dgm:constr type="l" for="ch" forName="Child4" refType="w" fact="0.3167"/>
              <dgm:constr type="t" for="ch" forName="Child4" refType="h" fact="0.6876"/>
              <dgm:constr type="w" for="ch" forName="Child4" refType="w" fact="0.089"/>
              <dgm:constr type="h" for="ch" forName="Child4" refType="h" fact="0.3124"/>
              <dgm:constr type="l" for="ch" forName="Accent3" refType="w" fact="0.1952"/>
              <dgm:constr type="t" for="ch" forName="Accent3" refType="h" fact="-0.0109"/>
              <dgm:constr type="w" for="ch" forName="Accent3" refType="w" fact="0.1348"/>
              <dgm:constr type="h" for="ch" forName="Accent3" refType="h" fact="0.806"/>
              <dgm:constr type="l" for="ch" forName="ParentBackground3" refType="w" fact="0.2182"/>
              <dgm:constr type="t" for="ch" forName="ParentBackground3" refType="h" fact="0.1262"/>
              <dgm:constr type="w" for="ch" forName="ParentBackground3" refType="w" fact="0.089"/>
              <dgm:constr type="h" for="ch" forName="ParentBackground3" refType="h" fact="0.5319"/>
              <dgm:constr type="l" for="ch" forName="Child3" refType="w" fact="0.2182"/>
              <dgm:constr type="t" for="ch" forName="Child3" refType="h" fact="0.6876"/>
              <dgm:constr type="w" for="ch" forName="Child3" refType="w" fact="0.089"/>
              <dgm:constr type="h" for="ch" forName="Child3" refType="h" fact="0.3124"/>
              <dgm:constr type="l" for="ch" forName="Accent2" refType="w" fact="0.0967"/>
              <dgm:constr type="t" for="ch" forName="Accent2" refType="h" fact="-0.0109"/>
              <dgm:constr type="w" for="ch" forName="Accent2" refType="w" fact="0.1348"/>
              <dgm:constr type="h" for="ch" forName="Accent2" refType="h" fact="0.806"/>
              <dgm:constr type="l" for="ch" forName="ParentBackground2" refType="w" fact="0.1196"/>
              <dgm:constr type="t" for="ch" forName="ParentBackground2" refType="h" fact="0.1262"/>
              <dgm:constr type="w" for="ch" forName="ParentBackground2" refType="w" fact="0.089"/>
              <dgm:constr type="h" for="ch" forName="ParentBackground2" refType="h" fact="0.5319"/>
              <dgm:constr type="l" for="ch" forName="Child2" refType="w" fact="0.1196"/>
              <dgm:constr type="t" for="ch" forName="Child2" refType="h" fact="0.6876"/>
              <dgm:constr type="w" for="ch" forName="Child2" refType="w" fact="0.089"/>
              <dgm:constr type="h" for="ch" forName="Child2" refType="h" fact="0.3124"/>
              <dgm:constr type="l" for="ch" forName="Accent1" refType="w" fact="-0.0018"/>
              <dgm:constr type="t" for="ch" forName="Accent1" refType="h" fact="-0.0109"/>
              <dgm:constr type="w" for="ch" forName="Accent1" refType="w" fact="0.1348"/>
              <dgm:constr type="h" for="ch" forName="Accent1" refType="h" fact="0.806"/>
              <dgm:constr type="l" for="ch" forName="ParentBackground1" refType="w" fact="0.0211"/>
              <dgm:constr type="t" for="ch" forName="ParentBackground1" refType="h" fact="0.1262"/>
              <dgm:constr type="w" for="ch" forName="ParentBackground1" refType="w" fact="0.089"/>
              <dgm:constr type="h" for="ch" forName="ParentBackground1" refType="h" fact="0.5319"/>
              <dgm:constr type="l" for="ch" forName="Child1" refType="w" fact="0.0211"/>
              <dgm:constr type="t" for="ch" forName="Child1" refType="h" fact="0.6876"/>
              <dgm:constr type="w" for="ch" forName="Child1" refType="w" fact="0.089"/>
              <dgm:constr type="h" for="ch" forName="Child1" refType="h" fact="0.3124"/>
            </dgm:constrLst>
          </dgm:if>
          <dgm:else name="Name14">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l" for="ch" forName="Parent11" refType="w" fact="0.9277"/>
              <dgm:constr type="t" for="ch" forName="Parent11" refType="h" fact="0.2022"/>
              <dgm:constr type="w" for="ch" forName="Parent11" refType="w" fact="0.0579"/>
              <dgm:constr type="h" for="ch" forName="Parent11" refType="h" fact="0.3799"/>
              <dgm:constr type="l" for="ch" forName="Parent10" refType="w" fact="0.838"/>
              <dgm:constr type="t" for="ch" forName="Parent10" refType="h" fact="0.2022"/>
              <dgm:constr type="w" for="ch" forName="Parent10" refType="w" fact="0.0579"/>
              <dgm:constr type="h" for="ch" forName="Parent10" refType="h" fact="0.3799"/>
              <dgm:constr type="l" for="ch" forName="Parent9" refType="w" fact="0.7483"/>
              <dgm:constr type="t" for="ch" forName="Parent9" refType="h" fact="0.2022"/>
              <dgm:constr type="w" for="ch" forName="Parent9" refType="w" fact="0.0579"/>
              <dgm:constr type="h" for="ch" forName="Parent9" refType="h" fact="0.3799"/>
              <dgm:constr type="l" for="ch" forName="Parent8" refType="w" fact="0.6586"/>
              <dgm:constr type="t" for="ch" forName="Parent8" refType="h" fact="0.2022"/>
              <dgm:constr type="w" for="ch" forName="Parent8" refType="w" fact="0.0579"/>
              <dgm:constr type="h" for="ch" forName="Parent8" refType="h" fact="0.3799"/>
              <dgm:constr type="l" for="ch" forName="Parent7" refType="w" fact="0.5689"/>
              <dgm:constr type="t" for="ch" forName="Parent7" refType="h" fact="0.2022"/>
              <dgm:constr type="w" for="ch" forName="Parent7" refType="w" fact="0.0579"/>
              <dgm:constr type="h" for="ch" forName="Parent7" refType="h" fact="0.3799"/>
              <dgm:constr type="l" for="ch" forName="Parent6" refType="w" fact="0.4792"/>
              <dgm:constr type="t" for="ch" forName="Parent6" refType="h" fact="0.2022"/>
              <dgm:constr type="w" for="ch" forName="Parent6" refType="w" fact="0.0579"/>
              <dgm:constr type="h" for="ch" forName="Parent6" refType="h" fact="0.3799"/>
              <dgm:constr type="l" for="ch" forName="Parent5" refType="w" fact="0.3895"/>
              <dgm:constr type="t" for="ch" forName="Parent5" refType="h" fact="0.2022"/>
              <dgm:constr type="w" for="ch" forName="Parent5" refType="w" fact="0.0579"/>
              <dgm:constr type="h" for="ch" forName="Parent5" refType="h" fact="0.3799"/>
              <dgm:constr type="l" for="ch" forName="Parent4" refType="w" fact="0.2999"/>
              <dgm:constr type="t" for="ch" forName="Parent4" refType="h" fact="0.2022"/>
              <dgm:constr type="w" for="ch" forName="Parent4" refType="w" fact="0.0579"/>
              <dgm:constr type="h" for="ch" forName="Parent4" refType="h" fact="0.3799"/>
              <dgm:constr type="l" for="ch" forName="Parent3" refType="w" fact="0.2102"/>
              <dgm:constr type="t" for="ch" forName="Parent3" refType="h" fact="0.2022"/>
              <dgm:constr type="w" for="ch" forName="Parent3" refType="w" fact="0.0579"/>
              <dgm:constr type="h" for="ch" forName="Parent3" refType="h" fact="0.3799"/>
              <dgm:constr type="l" for="ch" forName="Parent2" refType="w" fact="0.1205"/>
              <dgm:constr type="t" for="ch" forName="Parent2" refType="h" fact="0.2022"/>
              <dgm:constr type="w" for="ch" forName="Parent2" refType="w" fact="0.0579"/>
              <dgm:constr type="h" for="ch" forName="Parent2" refType="h" fact="0.3799"/>
              <dgm:constr type="l" for="ch" forName="Parent1" refType="w" fact="0.0308"/>
              <dgm:constr type="t" for="ch" forName="Parent1" refType="h" fact="0.2022"/>
              <dgm:constr type="w" for="ch" forName="Parent1" refType="w" fact="0.0579"/>
              <dgm:constr type="h" for="ch" forName="Parent1" refType="h" fact="0.3799"/>
              <dgm:constr type="l" for="ch" forName="Accent11" refType="w" fact="0.9132"/>
              <dgm:constr type="t" for="ch" forName="Accent11" refType="h" fact="0.1072"/>
              <dgm:constr type="w" for="ch" forName="Accent11" refType="w" fact="0.0868"/>
              <dgm:constr type="h" for="ch" forName="Accent11" refType="h" fact="0.5699"/>
              <dgm:constr type="l" for="ch" forName="ParentBackground11" refType="w" fact="0.9161"/>
              <dgm:constr type="t" for="ch" forName="ParentBackground11" refType="h" fact="0.1262"/>
              <dgm:constr type="w" for="ch" forName="ParentBackground11" refType="w" fact="0.081"/>
              <dgm:constr type="h" for="ch" forName="ParentBackground11" refType="h" fact="0.5319"/>
              <dgm:constr type="l" for="ch" forName="Child11" refType="w" fact="0.9161"/>
              <dgm:constr type="t" for="ch" forName="Child11" refType="h" fact="0.6876"/>
              <dgm:constr type="w" for="ch" forName="Child11" refType="w" fact="0.081"/>
              <dgm:constr type="h" for="ch" forName="Child11" refType="h" fact="0.3124"/>
              <dgm:constr type="l" for="ch" forName="Accent10" refType="w" fact="0.8055"/>
              <dgm:constr type="t" for="ch" forName="Accent10" refType="h" fact="-0.0109"/>
              <dgm:constr type="w" for="ch" forName="Accent10" refType="w" fact="0.1228"/>
              <dgm:constr type="h" for="ch" forName="Accent10" refType="h" fact="0.806"/>
              <dgm:constr type="l" for="ch" forName="ParentBackground10" refType="w" fact="0.8264"/>
              <dgm:constr type="t" for="ch" forName="ParentBackground10" refType="h" fact="0.1262"/>
              <dgm:constr type="w" for="ch" forName="ParentBackground10" refType="w" fact="0.081"/>
              <dgm:constr type="h" for="ch" forName="ParentBackground10" refType="h" fact="0.5319"/>
              <dgm:constr type="l" for="ch" forName="Child10" refType="w" fact="0.8264"/>
              <dgm:constr type="t" for="ch" forName="Child10" refType="h" fact="0.6876"/>
              <dgm:constr type="w" for="ch" forName="Child10" refType="w" fact="0.081"/>
              <dgm:constr type="h" for="ch" forName="Child10" refType="h" fact="0.3124"/>
              <dgm:constr type="l" for="ch" forName="Accent9" refType="w" fact="0.7158"/>
              <dgm:constr type="t" for="ch" forName="Accent9" refType="h" fact="-0.0109"/>
              <dgm:constr type="w" for="ch" forName="Accent9" refType="w" fact="0.1228"/>
              <dgm:constr type="h" for="ch" forName="Accent9" refType="h" fact="0.806"/>
              <dgm:constr type="l" for="ch" forName="ParentBackground9" refType="w" fact="0.7367"/>
              <dgm:constr type="t" for="ch" forName="ParentBackground9" refType="h" fact="0.1262"/>
              <dgm:constr type="w" for="ch" forName="ParentBackground9" refType="w" fact="0.081"/>
              <dgm:constr type="h" for="ch" forName="ParentBackground9" refType="h" fact="0.5319"/>
              <dgm:constr type="l" for="ch" forName="Child9" refType="w" fact="0.7367"/>
              <dgm:constr type="t" for="ch" forName="Child9" refType="h" fact="0.6876"/>
              <dgm:constr type="w" for="ch" forName="Child9" refType="w" fact="0.081"/>
              <dgm:constr type="h" for="ch" forName="Child9" refType="h" fact="0.3124"/>
              <dgm:constr type="l" for="ch" forName="Accent8" refType="w" fact="0.6261"/>
              <dgm:constr type="t" for="ch" forName="Accent8" refType="h" fact="-0.0109"/>
              <dgm:constr type="w" for="ch" forName="Accent8" refType="w" fact="0.1228"/>
              <dgm:constr type="h" for="ch" forName="Accent8" refType="h" fact="0.806"/>
              <dgm:constr type="l" for="ch" forName="ParentBackground8" refType="w" fact="0.647"/>
              <dgm:constr type="t" for="ch" forName="ParentBackground8" refType="h" fact="0.1262"/>
              <dgm:constr type="w" for="ch" forName="ParentBackground8" refType="w" fact="0.081"/>
              <dgm:constr type="h" for="ch" forName="ParentBackground8" refType="h" fact="0.5319"/>
              <dgm:constr type="l" for="ch" forName="Child8" refType="w" fact="0.647"/>
              <dgm:constr type="t" for="ch" forName="Child8" refType="h" fact="0.6876"/>
              <dgm:constr type="w" for="ch" forName="Child8" refType="w" fact="0.081"/>
              <dgm:constr type="h" for="ch" forName="Child8" refType="h" fact="0.3124"/>
              <dgm:constr type="l" for="ch" forName="Accent7" refType="w" fact="0.5364"/>
              <dgm:constr type="t" for="ch" forName="Accent7" refType="h" fact="-0.0109"/>
              <dgm:constr type="w" for="ch" forName="Accent7" refType="w" fact="0.1228"/>
              <dgm:constr type="h" for="ch" forName="Accent7" refType="h" fact="0.806"/>
              <dgm:constr type="l" for="ch" forName="ParentBackground7" refType="w" fact="0.5573"/>
              <dgm:constr type="t" for="ch" forName="ParentBackground7" refType="h" fact="0.1262"/>
              <dgm:constr type="w" for="ch" forName="ParentBackground7" refType="w" fact="0.081"/>
              <dgm:constr type="h" for="ch" forName="ParentBackground7" refType="h" fact="0.5319"/>
              <dgm:constr type="l" for="ch" forName="Child7" refType="w" fact="0.5573"/>
              <dgm:constr type="t" for="ch" forName="Child7" refType="h" fact="0.6876"/>
              <dgm:constr type="w" for="ch" forName="Child7" refType="w" fact="0.081"/>
              <dgm:constr type="h" for="ch" forName="Child7" refType="h" fact="0.3124"/>
              <dgm:constr type="l" for="ch" forName="Accent6" refType="w" fact="0.4467"/>
              <dgm:constr type="t" for="ch" forName="Accent6" refType="h" fact="-0.0109"/>
              <dgm:constr type="w" for="ch" forName="Accent6" refType="w" fact="0.1228"/>
              <dgm:constr type="h" for="ch" forName="Accent6" refType="h" fact="0.806"/>
              <dgm:constr type="l" for="ch" forName="ParentBackground6" refType="w" fact="0.4677"/>
              <dgm:constr type="t" for="ch" forName="ParentBackground6" refType="h" fact="0.1262"/>
              <dgm:constr type="w" for="ch" forName="ParentBackground6" refType="w" fact="0.081"/>
              <dgm:constr type="h" for="ch" forName="ParentBackground6" refType="h" fact="0.5319"/>
              <dgm:constr type="l" for="ch" forName="Child6" refType="w" fact="0.4677"/>
              <dgm:constr type="t" for="ch" forName="Child6" refType="h" fact="0.6876"/>
              <dgm:constr type="w" for="ch" forName="Child6" refType="w" fact="0.081"/>
              <dgm:constr type="h" for="ch" forName="Child6" refType="h" fact="0.3124"/>
              <dgm:constr type="l" for="ch" forName="Accent5" refType="w" fact="0.3571"/>
              <dgm:constr type="t" for="ch" forName="Accent5" refType="h" fact="-0.0109"/>
              <dgm:constr type="w" for="ch" forName="Accent5" refType="w" fact="0.1228"/>
              <dgm:constr type="h" for="ch" forName="Accent5" refType="h" fact="0.806"/>
              <dgm:constr type="l" for="ch" forName="ParentBackground5" refType="w" fact="0.378"/>
              <dgm:constr type="t" for="ch" forName="ParentBackground5" refType="h" fact="0.1262"/>
              <dgm:constr type="w" for="ch" forName="ParentBackground5" refType="w" fact="0.081"/>
              <dgm:constr type="h" for="ch" forName="ParentBackground5" refType="h" fact="0.5319"/>
              <dgm:constr type="l" for="ch" forName="Child5" refType="w" fact="0.378"/>
              <dgm:constr type="t" for="ch" forName="Child5" refType="h" fact="0.6876"/>
              <dgm:constr type="w" for="ch" forName="Child5" refType="w" fact="0.081"/>
              <dgm:constr type="h" for="ch" forName="Child5" refType="h" fact="0.3124"/>
              <dgm:constr type="l" for="ch" forName="Accent4" refType="w" fact="0.2674"/>
              <dgm:constr type="t" for="ch" forName="Accent4" refType="h" fact="-0.0109"/>
              <dgm:constr type="w" for="ch" forName="Accent4" refType="w" fact="0.1228"/>
              <dgm:constr type="h" for="ch" forName="Accent4" refType="h" fact="0.806"/>
              <dgm:constr type="l" for="ch" forName="ParentBackground4" refType="w" fact="0.2883"/>
              <dgm:constr type="t" for="ch" forName="ParentBackground4" refType="h" fact="0.1262"/>
              <dgm:constr type="w" for="ch" forName="ParentBackground4" refType="w" fact="0.081"/>
              <dgm:constr type="h" for="ch" forName="ParentBackground4" refType="h" fact="0.5319"/>
              <dgm:constr type="l" for="ch" forName="Child4" refType="w" fact="0.2883"/>
              <dgm:constr type="t" for="ch" forName="Child4" refType="h" fact="0.6876"/>
              <dgm:constr type="w" for="ch" forName="Child4" refType="w" fact="0.081"/>
              <dgm:constr type="h" for="ch" forName="Child4" refType="h" fact="0.3124"/>
              <dgm:constr type="l" for="ch" forName="Accent3" refType="w" fact="0.1777"/>
              <dgm:constr type="t" for="ch" forName="Accent3" refType="h" fact="-0.0109"/>
              <dgm:constr type="w" for="ch" forName="Accent3" refType="w" fact="0.1228"/>
              <dgm:constr type="h" for="ch" forName="Accent3" refType="h" fact="0.806"/>
              <dgm:constr type="l" for="ch" forName="ParentBackground3" refType="w" fact="0.1986"/>
              <dgm:constr type="t" for="ch" forName="ParentBackground3" refType="h" fact="0.1262"/>
              <dgm:constr type="w" for="ch" forName="ParentBackground3" refType="w" fact="0.081"/>
              <dgm:constr type="h" for="ch" forName="ParentBackground3" refType="h" fact="0.5319"/>
              <dgm:constr type="l" for="ch" forName="Child3" refType="w" fact="0.1986"/>
              <dgm:constr type="t" for="ch" forName="Child3" refType="h" fact="0.6876"/>
              <dgm:constr type="w" for="ch" forName="Child3" refType="w" fact="0.081"/>
              <dgm:constr type="h" for="ch" forName="Child3" refType="h" fact="0.3124"/>
              <dgm:constr type="l" for="ch" forName="Accent2" refType="w" fact="0.088"/>
              <dgm:constr type="t" for="ch" forName="Accent2" refType="h" fact="-0.0109"/>
              <dgm:constr type="w" for="ch" forName="Accent2" refType="w" fact="0.1228"/>
              <dgm:constr type="h" for="ch" forName="Accent2" refType="h" fact="0.806"/>
              <dgm:constr type="l" for="ch" forName="ParentBackground2" refType="w" fact="0.1089"/>
              <dgm:constr type="t" for="ch" forName="ParentBackground2" refType="h" fact="0.1262"/>
              <dgm:constr type="w" for="ch" forName="ParentBackground2" refType="w" fact="0.081"/>
              <dgm:constr type="h" for="ch" forName="ParentBackground2" refType="h" fact="0.5319"/>
              <dgm:constr type="l" for="ch" forName="Child2" refType="w" fact="0.1089"/>
              <dgm:constr type="t" for="ch" forName="Child2" refType="h" fact="0.6876"/>
              <dgm:constr type="w" for="ch" forName="Child2" refType="w" fact="0.081"/>
              <dgm:constr type="h" for="ch" forName="Child2" refType="h" fact="0.3124"/>
              <dgm:constr type="l" for="ch" forName="Accent1" refType="w" fact="-0.0017"/>
              <dgm:constr type="t" for="ch" forName="Accent1" refType="h" fact="-0.0109"/>
              <dgm:constr type="w" for="ch" forName="Accent1" refType="w" fact="0.1228"/>
              <dgm:constr type="h" for="ch" forName="Accent1" refType="h" fact="0.806"/>
              <dgm:constr type="l" for="ch" forName="ParentBackground1" refType="w" fact="0.0192"/>
              <dgm:constr type="t" for="ch" forName="ParentBackground1" refType="h" fact="0.1262"/>
              <dgm:constr type="w" for="ch" forName="ParentBackground1" refType="w" fact="0.081"/>
              <dgm:constr type="h" for="ch" forName="ParentBackground1" refType="h" fact="0.5319"/>
              <dgm:constr type="l" for="ch" forName="Child1" refType="w" fact="0.0192"/>
              <dgm:constr type="t" for="ch" forName="Child1" refType="h" fact="0.6876"/>
              <dgm:constr type="w" for="ch" forName="Child1" refType="w" fact="0.081"/>
              <dgm:constr type="h" for="ch" forName="Child1" refType="h" fact="0.3124"/>
            </dgm:constrLst>
          </dgm:else>
        </dgm:choose>
      </dgm:if>
      <dgm:else name="Name15">
        <dgm:choose name="Name16">
          <dgm:if name="Name17" axis="ch" ptType="node" func="cnt" op="equ" val="1">
            <dgm:alg type="composite">
              <dgm:param type="ar" val="0.6383"/>
            </dgm:alg>
            <dgm:constrLst>
              <dgm:constr type="primFontSz" for="des" forName="Child1" val="65"/>
              <dgm:constr type="primFontSz" for="des" forName="Parent1" val="65"/>
              <dgm:constr type="primFontSz" for="des" forName="Child1" refType="primFontSz" refFor="des" refForName="Parent1" op="lte"/>
              <dgm:constr type="l" for="ch" forName="Parent1" refType="w" fact="0.1667"/>
              <dgm:constr type="t" for="ch" forName="Parent1" refType="h" fact="0.1064"/>
              <dgm:constr type="w" for="ch" forName="Parent1" refType="w" fact="0.6667"/>
              <dgm:constr type="h" for="ch" forName="Parent1" refType="h" fact="0.4255"/>
              <dgm:constr type="l" for="ch" forName="Accent1" refType="w" fact="0"/>
              <dgm:constr type="t" for="ch" forName="Accent1" refType="h" fact="0"/>
              <dgm:constr type="w" for="ch" forName="Accent1" refType="w"/>
              <dgm:constr type="h" for="ch" forName="Accent1" refType="h" fact="0.6383"/>
              <dgm:constr type="l" for="ch" forName="ParentBackground1" refType="w" fact="0.0333"/>
              <dgm:constr type="t" for="ch" forName="ParentBackground1" refType="h" fact="0.0213"/>
              <dgm:constr type="w" for="ch" forName="ParentBackground1" refType="w" fact="0.9333"/>
              <dgm:constr type="h" for="ch" forName="ParentBackground1" refType="h" fact="0.5957"/>
              <dgm:constr type="l" for="ch" forName="Child1" refType="w" fact="0.0333"/>
              <dgm:constr type="t" for="ch" forName="Child1" refType="h" fact="0.6574"/>
              <dgm:constr type="w" for="ch" forName="Child1" refType="w" fact="0.9333"/>
              <dgm:constr type="h" for="ch" forName="Child1" refType="h" fact="0.3426"/>
            </dgm:constrLst>
          </dgm:if>
          <dgm:if name="Name18" axis="ch" ptType="node" func="cnt" op="equ" val="2">
            <dgm:alg type="composite">
              <dgm:param type="ar" val="1.265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Parent2" refType="primFontSz" refFor="des" refForName="Parent1" op="equ"/>
              <dgm:constr type="primFontSz" for="des" forName="Child2" refType="primFontSz" refFor="des" refForName="Child1" op="equ"/>
              <dgm:constr type="r" for="ch" forName="Parent2" refType="w" fact="0.3751"/>
              <dgm:constr type="t" for="ch" forName="Parent2" refType="h" fact="0.2022"/>
              <dgm:constr type="w" for="ch" forName="Parent2" refType="w" fact="0.3001"/>
              <dgm:constr type="h" for="ch" forName="Parent2" refType="h" fact="0.3799"/>
              <dgm:constr type="r" for="ch" forName="Parent1" refType="w" fact="0.8403"/>
              <dgm:constr type="t" for="ch" forName="Parent1" refType="h" fact="0.2022"/>
              <dgm:constr type="w" for="ch" forName="Parent1" refType="w" fact="0.3001"/>
              <dgm:constr type="h" for="ch" forName="Parent1" refType="h" fact="0.3799"/>
              <dgm:constr type="r" for="ch" forName="Accent2" refType="w" fact="0.4502"/>
              <dgm:constr type="t" for="ch" forName="Accent2" refType="h" fact="0.1072"/>
              <dgm:constr type="w" for="ch" forName="Accent2" refType="w" fact="0.4502"/>
              <dgm:constr type="h" for="ch" forName="Accent2" refType="h" fact="0.5699"/>
              <dgm:constr type="r" for="ch" forName="ParentBackground2" refType="w" fact="0.4352"/>
              <dgm:constr type="t" for="ch" forName="ParentBackground2" refType="h" fact="0.1262"/>
              <dgm:constr type="w" for="ch" forName="ParentBackground2" refType="w" fact="0.4201"/>
              <dgm:constr type="h" for="ch" forName="ParentBackground2" refType="h" fact="0.5319"/>
              <dgm:constr type="r" for="ch" forName="Child2" refType="w" fact="0.4352"/>
              <dgm:constr type="t" for="ch" forName="Child2" refType="h" fact="0.6876"/>
              <dgm:constr type="w" for="ch" forName="Child2" refType="w" fact="0.4201"/>
              <dgm:constr type="h" for="ch" forName="Child2" refType="h" fact="0.3124"/>
              <dgm:constr type="r" for="ch" forName="Accent1" refType="w" fact="1.0086"/>
              <dgm:constr type="t" for="ch" forName="Accent1" refType="h" fact="-0.0109"/>
              <dgm:constr type="w" for="ch" forName="Accent1" refType="w" fact="0.6367"/>
              <dgm:constr type="h" for="ch" forName="Accent1" refType="h" fact="0.806"/>
              <dgm:constr type="r" for="ch" forName="ParentBackground1" refType="w" fact="0.9003"/>
              <dgm:constr type="t" for="ch" forName="ParentBackground1" refType="h" fact="0.1262"/>
              <dgm:constr type="w" for="ch" forName="ParentBackground1" refType="w" fact="0.4201"/>
              <dgm:constr type="h" for="ch" forName="ParentBackground1" refType="h" fact="0.5319"/>
              <dgm:constr type="r" for="ch" forName="Child1" refType="w" fact="0.9003"/>
              <dgm:constr type="t" for="ch" forName="Child1" refType="h" fact="0.6876"/>
              <dgm:constr type="w" for="ch" forName="Child1" refType="w" fact="0.4201"/>
              <dgm:constr type="h" for="ch" forName="Child1" refType="h" fact="0.3124"/>
            </dgm:constrLst>
          </dgm:if>
          <dgm:if name="Name19" axis="ch" ptType="node" func="cnt" op="equ" val="3">
            <dgm:alg type="composite">
              <dgm:param type="ar" val="1.854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Parent2" refType="primFontSz" refFor="des" refForName="Parent1" op="equ"/>
              <dgm:constr type="primFontSz" for="des" forName="Parent3" refType="primFontSz" refFor="des" refForName="Parent1" op="equ"/>
              <dgm:constr type="primFontSz" for="des" forName="Child2" refType="primFontSz" refFor="des" refForName="Child1" op="equ"/>
              <dgm:constr type="primFontSz" for="des" forName="Child3" refType="primFontSz" refFor="des" refForName="Child1" op="equ"/>
              <dgm:constr type="r" for="ch" forName="Parent3" refType="w" fact="0.256"/>
              <dgm:constr type="t" for="ch" forName="Parent3" refType="h" fact="0.2022"/>
              <dgm:constr type="w" for="ch" forName="Parent3" refType="w" fact="0.2048"/>
              <dgm:constr type="h" for="ch" forName="Parent3" refType="h" fact="0.3799"/>
              <dgm:constr type="r" for="ch" forName="Parent2" refType="w" fact="0.5735"/>
              <dgm:constr type="t" for="ch" forName="Parent2" refType="h" fact="0.2022"/>
              <dgm:constr type="w" for="ch" forName="Parent2" refType="w" fact="0.2048"/>
              <dgm:constr type="h" for="ch" forName="Parent2" refType="h" fact="0.3799"/>
              <dgm:constr type="r" for="ch" forName="Parent1" refType="w" fact="0.891"/>
              <dgm:constr type="t" for="ch" forName="Parent1" refType="h" fact="0.2022"/>
              <dgm:constr type="w" for="ch" forName="Parent1" refType="w" fact="0.2048"/>
              <dgm:constr type="h" for="ch" forName="Parent1" refType="h" fact="0.3799"/>
              <dgm:constr type="r" for="ch" forName="Accent3" refType="w" fact="0.3072"/>
              <dgm:constr type="t" for="ch" forName="Accent3" refType="h" fact="0.1072"/>
              <dgm:constr type="w" for="ch" forName="Accent3" refType="w" fact="0.3072"/>
              <dgm:constr type="h" for="ch" forName="Accent3" refType="h" fact="0.5699"/>
              <dgm:constr type="r" for="ch" forName="ParentBackground3" refType="w" fact="0.297"/>
              <dgm:constr type="t" for="ch" forName="ParentBackground3" refType="h" fact="0.1262"/>
              <dgm:constr type="w" for="ch" forName="ParentBackground3" refType="w" fact="0.2868"/>
              <dgm:constr type="h" for="ch" forName="ParentBackground3" refType="h" fact="0.5319"/>
              <dgm:constr type="r" for="ch" forName="Child3" refType="w" fact="0.297"/>
              <dgm:constr type="t" for="ch" forName="Child3" refType="h" fact="0.6876"/>
              <dgm:constr type="w" for="ch" forName="Child3" refType="w" fact="0.2868"/>
              <dgm:constr type="h" for="ch" forName="Child3" refType="h" fact="0.3124"/>
              <dgm:constr type="r" for="ch" forName="Accent2" refType="w" fact="0.6878"/>
              <dgm:constr type="t" for="ch" forName="Accent2" refType="h" fact="-0.0109"/>
              <dgm:constr type="w" for="ch" forName="Accent2" refType="w" fact="0.4334"/>
              <dgm:constr type="h" for="ch" forName="Accent2" refType="h" fact="0.806"/>
              <dgm:constr type="r" for="ch" forName="ParentBackground2" refType="w" fact="0.6145"/>
              <dgm:constr type="t" for="ch" forName="ParentBackground2" refType="h" fact="0.1262"/>
              <dgm:constr type="w" for="ch" forName="ParentBackground2" refType="w" fact="0.2868"/>
              <dgm:constr type="h" for="ch" forName="ParentBackground2" refType="h" fact="0.5319"/>
              <dgm:constr type="r" for="ch" forName="Child2" refType="w" fact="0.6145"/>
              <dgm:constr type="t" for="ch" forName="Child2" refType="h" fact="0.6876"/>
              <dgm:constr type="w" for="ch" forName="Child2" refType="w" fact="0.2868"/>
              <dgm:constr type="h" for="ch" forName="Child2" refType="h" fact="0.3124"/>
              <dgm:constr type="r" for="ch" forName="Accent1" refType="w" fact="1.0053"/>
              <dgm:constr type="t" for="ch" forName="Accent1" refType="h" fact="-0.0109"/>
              <dgm:constr type="w" for="ch" forName="Accent1" refType="w" fact="0.4334"/>
              <dgm:constr type="h" for="ch" forName="Accent1" refType="h" fact="0.806"/>
              <dgm:constr type="r" for="ch" forName="ParentBackground1" refType="w" fact="0.932"/>
              <dgm:constr type="t" for="ch" forName="ParentBackground1" refType="h" fact="0.1262"/>
              <dgm:constr type="w" for="ch" forName="ParentBackground1" refType="w" fact="0.2868"/>
              <dgm:constr type="h" for="ch" forName="ParentBackground1" refType="h" fact="0.5319"/>
              <dgm:constr type="r" for="ch" forName="Child1" refType="w" fact="0.932"/>
              <dgm:constr type="t" for="ch" forName="Child1" refType="h" fact="0.6876"/>
              <dgm:constr type="w" for="ch" forName="Child1" refType="w" fact="0.2868"/>
              <dgm:constr type="h" for="ch" forName="Child1" refType="h" fact="0.3124"/>
            </dgm:constrLst>
          </dgm:if>
          <dgm:if name="Name20" axis="ch" ptType="node" func="cnt" op="equ" val="4">
            <dgm:alg type="composite">
              <dgm:param type="ar" val="2.4437"/>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r" for="ch" forName="Parent4" refType="w" fact="0.1943"/>
              <dgm:constr type="t" for="ch" forName="Parent4" refType="h" fact="0.2022"/>
              <dgm:constr type="w" for="ch" forName="Parent4" refType="w" fact="0.1555"/>
              <dgm:constr type="h" for="ch" forName="Parent4" refType="h" fact="0.3799"/>
              <dgm:constr type="r" for="ch" forName="Parent3" refType="w" fact="0.4353"/>
              <dgm:constr type="t" for="ch" forName="Parent3" refType="h" fact="0.2022"/>
              <dgm:constr type="w" for="ch" forName="Parent3" refType="w" fact="0.1555"/>
              <dgm:constr type="h" for="ch" forName="Parent3" refType="h" fact="0.3799"/>
              <dgm:constr type="r" for="ch" forName="Parent2" refType="w" fact="0.6763"/>
              <dgm:constr type="t" for="ch" forName="Parent2" refType="h" fact="0.2022"/>
              <dgm:constr type="w" for="ch" forName="Parent2" refType="w" fact="0.1555"/>
              <dgm:constr type="h" for="ch" forName="Parent2" refType="h" fact="0.3799"/>
              <dgm:constr type="r" for="ch" forName="Parent1" refType="w" fact="0.9173"/>
              <dgm:constr type="t" for="ch" forName="Parent1" refType="h" fact="0.2022"/>
              <dgm:constr type="w" for="ch" forName="Parent1" refType="w" fact="0.1555"/>
              <dgm:constr type="h" for="ch" forName="Parent1" refType="h" fact="0.3799"/>
              <dgm:constr type="r" for="ch" forName="Accent4" refType="w" fact="0.2332"/>
              <dgm:constr type="t" for="ch" forName="Accent4" refType="h" fact="0.1072"/>
              <dgm:constr type="w" for="ch" forName="Accent4" refType="w" fact="0.2332"/>
              <dgm:constr type="h" for="ch" forName="Accent4" refType="h" fact="0.5699"/>
              <dgm:constr type="r" for="ch" forName="ParentBackground4" refType="w" fact="0.2254"/>
              <dgm:constr type="t" for="ch" forName="ParentBackground4" refType="h" fact="0.1262"/>
              <dgm:constr type="w" for="ch" forName="ParentBackground4" refType="w" fact="0.2177"/>
              <dgm:constr type="h" for="ch" forName="ParentBackground4" refType="h" fact="0.5319"/>
              <dgm:constr type="r" for="ch" forName="Child4" refType="w" fact="0.2254"/>
              <dgm:constr type="t" for="ch" forName="Child4" refType="h" fact="0.6876"/>
              <dgm:constr type="w" for="ch" forName="Child4" refType="w" fact="0.2177"/>
              <dgm:constr type="h" for="ch" forName="Child4" refType="h" fact="0.3124"/>
              <dgm:constr type="r" for="ch" forName="Accent3" refType="w" fact="0.5235"/>
              <dgm:constr type="t" for="ch" forName="Accent3" refType="h" fact="-0.0109"/>
              <dgm:constr type="w" for="ch" forName="Accent3" refType="w" fact="0.3298"/>
              <dgm:constr type="h" for="ch" forName="Accent3" refType="h" fact="0.806"/>
              <dgm:constr type="r" for="ch" forName="ParentBackground3" refType="w" fact="0.4664"/>
              <dgm:constr type="t" for="ch" forName="ParentBackground3" refType="h" fact="0.1262"/>
              <dgm:constr type="w" for="ch" forName="ParentBackground3" refType="w" fact="0.2177"/>
              <dgm:constr type="h" for="ch" forName="ParentBackground3" refType="h" fact="0.5319"/>
              <dgm:constr type="r" for="ch" forName="Child3" refType="w" fact="0.4664"/>
              <dgm:constr type="t" for="ch" forName="Child3" refType="h" fact="0.6876"/>
              <dgm:constr type="w" for="ch" forName="Child3" refType="w" fact="0.2177"/>
              <dgm:constr type="h" for="ch" forName="Child3" refType="h" fact="0.3124"/>
              <dgm:constr type="r" for="ch" forName="Accent2" refType="w" fact="0.7635"/>
              <dgm:constr type="t" for="ch" forName="Accent2" refType="h" fact="-0.0109"/>
              <dgm:constr type="w" for="ch" forName="Accent2" refType="w" fact="0.3298"/>
              <dgm:constr type="h" for="ch" forName="Accent2" refType="h" fact="0.806"/>
              <dgm:constr type="r" for="ch" forName="ParentBackground2" refType="w" fact="0.7074"/>
              <dgm:constr type="t" for="ch" forName="ParentBackground2" refType="h" fact="0.1262"/>
              <dgm:constr type="w" for="ch" forName="ParentBackground2" refType="w" fact="0.2177"/>
              <dgm:constr type="h" for="ch" forName="ParentBackground2" refType="h" fact="0.5319"/>
              <dgm:constr type="r" for="ch" forName="Child2" refType="w" fact="0.7074"/>
              <dgm:constr type="t" for="ch" forName="Child2" refType="h" fact="0.6876"/>
              <dgm:constr type="w" for="ch" forName="Child2" refType="w" fact="0.2177"/>
              <dgm:constr type="h" for="ch" forName="Child2" refType="h" fact="0.3124"/>
              <dgm:constr type="r" for="ch" forName="Accent1" refType="w" fact="1.0045"/>
              <dgm:constr type="t" for="ch" forName="Accent1" refType="h" fact="-0.0109"/>
              <dgm:constr type="w" for="ch" forName="Accent1" refType="w" fact="0.3298"/>
              <dgm:constr type="h" for="ch" forName="Accent1" refType="h" fact="0.806"/>
              <dgm:constr type="r" for="ch" forName="ParentBackground1" refType="w" fact="0.9484"/>
              <dgm:constr type="t" for="ch" forName="ParentBackground1" refType="h" fact="0.1262"/>
              <dgm:constr type="w" for="ch" forName="ParentBackground1" refType="w" fact="0.2177"/>
              <dgm:constr type="h" for="ch" forName="ParentBackground1" refType="h" fact="0.5319"/>
              <dgm:constr type="r" for="ch" forName="Child1" refType="w" fact="0.9484"/>
              <dgm:constr type="t" for="ch" forName="Child1" refType="h" fact="0.6876"/>
              <dgm:constr type="w" for="ch" forName="Child1" refType="w" fact="0.2177"/>
              <dgm:constr type="h" for="ch" forName="Child1" refType="h" fact="0.3124"/>
            </dgm:constrLst>
          </dgm:if>
          <dgm:if name="Name21" axis="ch" ptType="node" func="cnt" op="equ" val="5">
            <dgm:alg type="composite">
              <dgm:param type="ar" val="3.0325"/>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r" for="ch" forName="Parent5" refType="w" fact="0.1566"/>
              <dgm:constr type="t" for="ch" forName="Parent5" refType="h" fact="0.2022"/>
              <dgm:constr type="w" for="ch" forName="Parent5" refType="w" fact="0.1253"/>
              <dgm:constr type="h" for="ch" forName="Parent5" refType="h" fact="0.3799"/>
              <dgm:constr type="r" for="ch" forName="Parent4" refType="w" fact="0.3508"/>
              <dgm:constr type="t" for="ch" forName="Parent4" refType="h" fact="0.2022"/>
              <dgm:constr type="w" for="ch" forName="Parent4" refType="w" fact="0.1253"/>
              <dgm:constr type="h" for="ch" forName="Parent4" refType="h" fact="0.3799"/>
              <dgm:constr type="r" for="ch" forName="Parent3" refType="w" fact="0.545"/>
              <dgm:constr type="t" for="ch" forName="Parent3" refType="h" fact="0.2022"/>
              <dgm:constr type="w" for="ch" forName="Parent3" refType="w" fact="0.1253"/>
              <dgm:constr type="h" for="ch" forName="Parent3" refType="h" fact="0.3799"/>
              <dgm:constr type="r" for="ch" forName="Parent2" refType="w" fact="0.7391"/>
              <dgm:constr type="t" for="ch" forName="Parent2" refType="h" fact="0.2022"/>
              <dgm:constr type="w" for="ch" forName="Parent2" refType="w" fact="0.1253"/>
              <dgm:constr type="h" for="ch" forName="Parent2" refType="h" fact="0.3799"/>
              <dgm:constr type="r" for="ch" forName="Parent1" refType="w" fact="0.9333"/>
              <dgm:constr type="t" for="ch" forName="Parent1" refType="h" fact="0.2022"/>
              <dgm:constr type="w" for="ch" forName="Parent1" refType="w" fact="0.1253"/>
              <dgm:constr type="h" for="ch" forName="Parent1" refType="h" fact="0.3799"/>
              <dgm:constr type="r" for="ch" forName="Accent5" refType="w" fact="0.1879"/>
              <dgm:constr type="t" for="ch" forName="Accent5" refType="h" fact="0.1072"/>
              <dgm:constr type="w" for="ch" forName="Accent5" refType="w" fact="0.1879"/>
              <dgm:constr type="h" for="ch" forName="Accent5" refType="h" fact="0.5699"/>
              <dgm:constr type="r" for="ch" forName="ParentBackground5" refType="w" fact="0.1817"/>
              <dgm:constr type="t" for="ch" forName="ParentBackground5" refType="h" fact="0.1262"/>
              <dgm:constr type="w" for="ch" forName="ParentBackground5" refType="w" fact="0.1754"/>
              <dgm:constr type="h" for="ch" forName="ParentBackground5" refType="h" fact="0.5319"/>
              <dgm:constr type="r" for="ch" forName="Child5" refType="w" fact="0.1817"/>
              <dgm:constr type="t" for="ch" forName="Child5" refType="h" fact="0.6876"/>
              <dgm:constr type="w" for="ch" forName="Child5" refType="w" fact="0.1754"/>
              <dgm:constr type="h" for="ch" forName="Child5" refType="h" fact="0.3124"/>
              <dgm:constr type="r" for="ch" forName="Accent4" refType="w" fact="0.4211"/>
              <dgm:constr type="t" for="ch" forName="Accent4" refType="h" fact="-0.0109"/>
              <dgm:constr type="w" for="ch" forName="Accent4" refType="w" fact="0.2657"/>
              <dgm:constr type="h" for="ch" forName="Accent4" refType="h" fact="0.806"/>
              <dgm:constr type="r" for="ch" forName="ParentBackground4" refType="w" fact="0.3758"/>
              <dgm:constr type="t" for="ch" forName="ParentBackground4" refType="h" fact="0.1262"/>
              <dgm:constr type="w" for="ch" forName="ParentBackground4" refType="w" fact="0.1754"/>
              <dgm:constr type="h" for="ch" forName="ParentBackground4" refType="h" fact="0.5319"/>
              <dgm:constr type="r" for="ch" forName="Child4" refType="w" fact="0.3758"/>
              <dgm:constr type="t" for="ch" forName="Child4" refType="h" fact="0.6876"/>
              <dgm:constr type="w" for="ch" forName="Child4" refType="w" fact="0.1754"/>
              <dgm:constr type="h" for="ch" forName="Child4" refType="h" fact="0.3124"/>
              <dgm:constr type="r" for="ch" forName="Accent3" refType="w" fact="0.6152"/>
              <dgm:constr type="t" for="ch" forName="Accent3" refType="h" fact="-0.0109"/>
              <dgm:constr type="w" for="ch" forName="Accent3" refType="w" fact="0.2657"/>
              <dgm:constr type="h" for="ch" forName="Accent3" refType="h" fact="0.806"/>
              <dgm:constr type="r" for="ch" forName="ParentBackground3" refType="w" fact="0.57"/>
              <dgm:constr type="t" for="ch" forName="ParentBackground3" refType="h" fact="0.1262"/>
              <dgm:constr type="w" for="ch" forName="ParentBackground3" refType="w" fact="0.1754"/>
              <dgm:constr type="h" for="ch" forName="ParentBackground3" refType="h" fact="0.5319"/>
              <dgm:constr type="r" for="ch" forName="Child3" refType="w" fact="0.57"/>
              <dgm:constr type="t" for="ch" forName="Child3" refType="h" fact="0.6876"/>
              <dgm:constr type="w" for="ch" forName="Child3" refType="w" fact="0.1754"/>
              <dgm:constr type="h" for="ch" forName="Child3" refType="h" fact="0.3124"/>
              <dgm:constr type="r" for="ch" forName="Accent2" refType="w" fact="0.8094"/>
              <dgm:constr type="t" for="ch" forName="Accent2" refType="h" fact="-0.0109"/>
              <dgm:constr type="w" for="ch" forName="Accent2" refType="w" fact="0.2657"/>
              <dgm:constr type="h" for="ch" forName="Accent2" refType="h" fact="0.806"/>
              <dgm:constr type="r" for="ch" forName="ParentBackground2" refType="w" fact="0.7642"/>
              <dgm:constr type="t" for="ch" forName="ParentBackground2" refType="h" fact="0.1262"/>
              <dgm:constr type="w" for="ch" forName="ParentBackground2" refType="w" fact="0.1754"/>
              <dgm:constr type="h" for="ch" forName="ParentBackground2" refType="h" fact="0.5319"/>
              <dgm:constr type="r" for="ch" forName="Child2" refType="w" fact="0.7642"/>
              <dgm:constr type="t" for="ch" forName="Child2" refType="h" fact="0.6876"/>
              <dgm:constr type="w" for="ch" forName="Child2" refType="w" fact="0.1754"/>
              <dgm:constr type="h" for="ch" forName="Child2" refType="h" fact="0.3124"/>
              <dgm:constr type="r" for="ch" forName="Accent1" refType="w" fact="1.0036"/>
              <dgm:constr type="t" for="ch" forName="Accent1" refType="h" fact="-0.0109"/>
              <dgm:constr type="w" for="ch" forName="Accent1" refType="w" fact="0.2657"/>
              <dgm:constr type="h" for="ch" forName="Accent1" refType="h" fact="0.806"/>
              <dgm:constr type="r" for="ch" forName="ParentBackground1" refType="w" fact="0.9584"/>
              <dgm:constr type="t" for="ch" forName="ParentBackground1" refType="h" fact="0.1262"/>
              <dgm:constr type="w" for="ch" forName="ParentBackground1" refType="w" fact="0.1754"/>
              <dgm:constr type="h" for="ch" forName="ParentBackground1" refType="h" fact="0.5319"/>
              <dgm:constr type="r" for="ch" forName="Child1" refType="w" fact="0.9584"/>
              <dgm:constr type="t" for="ch" forName="Child1" refType="h" fact="0.6876"/>
              <dgm:constr type="w" for="ch" forName="Child1" refType="w" fact="0.1754"/>
              <dgm:constr type="h" for="ch" forName="Child1" refType="h" fact="0.3124"/>
            </dgm:constrLst>
          </dgm:if>
          <dgm:if name="Name22" axis="ch" ptType="node" func="cnt" op="equ" val="6">
            <dgm:alg type="composite">
              <dgm:param type="ar" val="3.6214"/>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r" for="ch" forName="Parent6" refType="w" fact="0.1311"/>
              <dgm:constr type="t" for="ch" forName="Parent6" refType="h" fact="0.2022"/>
              <dgm:constr type="w" for="ch" forName="Parent6" refType="w" fact="0.1049"/>
              <dgm:constr type="h" for="ch" forName="Parent6" refType="h" fact="0.3799"/>
              <dgm:constr type="r" for="ch" forName="Parent5" refType="w" fact="0.2937"/>
              <dgm:constr type="t" for="ch" forName="Parent5" refType="h" fact="0.2022"/>
              <dgm:constr type="w" for="ch" forName="Parent5" refType="w" fact="0.1049"/>
              <dgm:constr type="h" for="ch" forName="Parent5" refType="h" fact="0.3799"/>
              <dgm:constr type="r" for="ch" forName="Parent4" refType="w" fact="0.4563"/>
              <dgm:constr type="t" for="ch" forName="Parent4" refType="h" fact="0.2022"/>
              <dgm:constr type="w" for="ch" forName="Parent4" refType="w" fact="0.1049"/>
              <dgm:constr type="h" for="ch" forName="Parent4" refType="h" fact="0.3799"/>
              <dgm:constr type="r" for="ch" forName="Parent3" refType="w" fact="0.619"/>
              <dgm:constr type="t" for="ch" forName="Parent3" refType="h" fact="0.2022"/>
              <dgm:constr type="w" for="ch" forName="Parent3" refType="w" fact="0.1049"/>
              <dgm:constr type="h" for="ch" forName="Parent3" refType="h" fact="0.3799"/>
              <dgm:constr type="r" for="ch" forName="Parent2" refType="w" fact="0.7816"/>
              <dgm:constr type="t" for="ch" forName="Parent2" refType="h" fact="0.2022"/>
              <dgm:constr type="w" for="ch" forName="Parent2" refType="w" fact="0.1049"/>
              <dgm:constr type="h" for="ch" forName="Parent2" refType="h" fact="0.3799"/>
              <dgm:constr type="r" for="ch" forName="Parent1" refType="w" fact="0.9442"/>
              <dgm:constr type="t" for="ch" forName="Parent1" refType="h" fact="0.2022"/>
              <dgm:constr type="w" for="ch" forName="Parent1" refType="w" fact="0.1049"/>
              <dgm:constr type="h" for="ch" forName="Parent1" refType="h" fact="0.3799"/>
              <dgm:constr type="r" for="ch" forName="Accent6" refType="w" fact="0.1574"/>
              <dgm:constr type="t" for="ch" forName="Accent6" refType="h" fact="0.1072"/>
              <dgm:constr type="w" for="ch" forName="Accent6" refType="w" fact="0.1574"/>
              <dgm:constr type="h" for="ch" forName="Accent6" refType="h" fact="0.5699"/>
              <dgm:constr type="r" for="ch" forName="ParentBackground6" refType="w" fact="0.1521"/>
              <dgm:constr type="t" for="ch" forName="ParentBackground6" refType="h" fact="0.1262"/>
              <dgm:constr type="w" for="ch" forName="ParentBackground6" refType="w" fact="0.1469"/>
              <dgm:constr type="h" for="ch" forName="ParentBackground6" refType="h" fact="0.5319"/>
              <dgm:constr type="r" for="ch" forName="Child6" refType="w" fact="0.1521"/>
              <dgm:constr type="t" for="ch" forName="Child6" refType="h" fact="0.6876"/>
              <dgm:constr type="w" for="ch" forName="Child6" refType="w" fact="0.1469"/>
              <dgm:constr type="h" for="ch" forName="Child6" refType="h" fact="0.3124"/>
              <dgm:constr type="r" for="ch" forName="Accent5" refType="w" fact="0.3526"/>
              <dgm:constr type="t" for="ch" forName="Accent5" refType="h" fact="-0.0109"/>
              <dgm:constr type="w" for="ch" forName="Accent5" refType="w" fact="0.2226"/>
              <dgm:constr type="h" for="ch" forName="Accent5" refType="h" fact="0.806"/>
              <dgm:constr type="r" for="ch" forName="ParentBackground5" refType="w" fact="0.3147"/>
              <dgm:constr type="t" for="ch" forName="ParentBackground5" refType="h" fact="0.1262"/>
              <dgm:constr type="w" for="ch" forName="ParentBackground5" refType="w" fact="0.1469"/>
              <dgm:constr type="h" for="ch" forName="ParentBackground5" refType="h" fact="0.5319"/>
              <dgm:constr type="r" for="ch" forName="Child5" refType="w" fact="0.3147"/>
              <dgm:constr type="t" for="ch" forName="Child5" refType="h" fact="0.6876"/>
              <dgm:constr type="w" for="ch" forName="Child5" refType="w" fact="0.1469"/>
              <dgm:constr type="h" for="ch" forName="Child5" refType="h" fact="0.3124"/>
              <dgm:constr type="r" for="ch" forName="Accent4" refType="w" fact="0.5152"/>
              <dgm:constr type="t" for="ch" forName="Accent4" refType="h" fact="-0.0109"/>
              <dgm:constr type="w" for="ch" forName="Accent4" refType="w" fact="0.2226"/>
              <dgm:constr type="h" for="ch" forName="Accent4" refType="h" fact="0.806"/>
              <dgm:constr type="r" for="ch" forName="ParentBackground4" refType="w" fact="0.4773"/>
              <dgm:constr type="t" for="ch" forName="ParentBackground4" refType="h" fact="0.1262"/>
              <dgm:constr type="w" for="ch" forName="ParentBackground4" refType="w" fact="0.1469"/>
              <dgm:constr type="h" for="ch" forName="ParentBackground4" refType="h" fact="0.5319"/>
              <dgm:constr type="r" for="ch" forName="Child4" refType="w" fact="0.4773"/>
              <dgm:constr type="t" for="ch" forName="Child4" refType="h" fact="0.6876"/>
              <dgm:constr type="w" for="ch" forName="Child4" refType="w" fact="0.1469"/>
              <dgm:constr type="h" for="ch" forName="Child4" refType="h" fact="0.3124"/>
              <dgm:constr type="r" for="ch" forName="Accent3" refType="w" fact="0.6778"/>
              <dgm:constr type="t" for="ch" forName="Accent3" refType="h" fact="-0.0109"/>
              <dgm:constr type="w" for="ch" forName="Accent3" refType="w" fact="0.2226"/>
              <dgm:constr type="h" for="ch" forName="Accent3" refType="h" fact="0.806"/>
              <dgm:constr type="r" for="ch" forName="ParentBackground3" refType="w" fact="0.6399"/>
              <dgm:constr type="t" for="ch" forName="ParentBackground3" refType="h" fact="0.1262"/>
              <dgm:constr type="w" for="ch" forName="ParentBackground3" refType="w" fact="0.1469"/>
              <dgm:constr type="h" for="ch" forName="ParentBackground3" refType="h" fact="0.5319"/>
              <dgm:constr type="r" for="ch" forName="Child3" refType="w" fact="0.6399"/>
              <dgm:constr type="t" for="ch" forName="Child3" refType="h" fact="0.6876"/>
              <dgm:constr type="w" for="ch" forName="Child3" refType="w" fact="0.1469"/>
              <dgm:constr type="h" for="ch" forName="Child3" refType="h" fact="0.3124"/>
              <dgm:constr type="r" for="ch" forName="Accent2" refType="w" fact="0.8404"/>
              <dgm:constr type="t" for="ch" forName="Accent2" refType="h" fact="-0.0109"/>
              <dgm:constr type="w" for="ch" forName="Accent2" refType="w" fact="0.2226"/>
              <dgm:constr type="h" for="ch" forName="Accent2" refType="h" fact="0.806"/>
              <dgm:constr type="r" for="ch" forName="ParentBackground2" refType="w" fact="0.8025"/>
              <dgm:constr type="t" for="ch" forName="ParentBackground2" refType="h" fact="0.1262"/>
              <dgm:constr type="w" for="ch" forName="ParentBackground2" refType="w" fact="0.1469"/>
              <dgm:constr type="h" for="ch" forName="ParentBackground2" refType="h" fact="0.5319"/>
              <dgm:constr type="r" for="ch" forName="Child2" refType="w" fact="0.8025"/>
              <dgm:constr type="t" for="ch" forName="Child2" refType="h" fact="0.6876"/>
              <dgm:constr type="w" for="ch" forName="Child2" refType="w" fact="0.1469"/>
              <dgm:constr type="h" for="ch" forName="Child2" refType="h" fact="0.3124"/>
              <dgm:constr type="r" for="ch" forName="Accent1" refType="w" fact="1.003"/>
              <dgm:constr type="t" for="ch" forName="Accent1" refType="h" fact="-0.0109"/>
              <dgm:constr type="w" for="ch" forName="Accent1" refType="w" fact="0.2226"/>
              <dgm:constr type="h" for="ch" forName="Accent1" refType="h" fact="0.806"/>
              <dgm:constr type="r" for="ch" forName="ParentBackground1" refType="w" fact="0.9652"/>
              <dgm:constr type="t" for="ch" forName="ParentBackground1" refType="h" fact="0.1262"/>
              <dgm:constr type="w" for="ch" forName="ParentBackground1" refType="w" fact="0.1469"/>
              <dgm:constr type="h" for="ch" forName="ParentBackground1" refType="h" fact="0.5319"/>
              <dgm:constr type="r" for="ch" forName="Child1" refType="w" fact="0.9652"/>
              <dgm:constr type="t" for="ch" forName="Child1" refType="h" fact="0.6876"/>
              <dgm:constr type="w" for="ch" forName="Child1" refType="w" fact="0.1469"/>
              <dgm:constr type="h" for="ch" forName="Child1" refType="h" fact="0.3124"/>
            </dgm:constrLst>
          </dgm:if>
          <dgm:if name="Name23" axis="ch" ptType="node" func="cnt" op="equ" val="7">
            <dgm:alg type="composite">
              <dgm:param type="ar" val="4.2103"/>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r" for="ch" forName="Parent7" refType="w" fact="0.1128"/>
              <dgm:constr type="t" for="ch" forName="Parent7" refType="h" fact="0.2022"/>
              <dgm:constr type="w" for="ch" forName="Parent7" refType="w" fact="0.0902"/>
              <dgm:constr type="h" for="ch" forName="Parent7" refType="h" fact="0.3799"/>
              <dgm:constr type="r" for="ch" forName="Parent6" refType="w" fact="0.2527"/>
              <dgm:constr type="t" for="ch" forName="Parent6" refType="h" fact="0.2022"/>
              <dgm:constr type="w" for="ch" forName="Parent6" refType="w" fact="0.0902"/>
              <dgm:constr type="h" for="ch" forName="Parent6" refType="h" fact="0.3799"/>
              <dgm:constr type="r" for="ch" forName="Parent5" refType="w" fact="0.3925"/>
              <dgm:constr type="t" for="ch" forName="Parent5" refType="h" fact="0.2022"/>
              <dgm:constr type="w" for="ch" forName="Parent5" refType="w" fact="0.0902"/>
              <dgm:constr type="h" for="ch" forName="Parent5" refType="h" fact="0.3799"/>
              <dgm:constr type="r" for="ch" forName="Parent4" refType="w" fact="0.5324"/>
              <dgm:constr type="t" for="ch" forName="Parent4" refType="h" fact="0.2022"/>
              <dgm:constr type="w" for="ch" forName="Parent4" refType="w" fact="0.0902"/>
              <dgm:constr type="h" for="ch" forName="Parent4" refType="h" fact="0.3799"/>
              <dgm:constr type="r" for="ch" forName="Parent3" refType="w" fact="0.6723"/>
              <dgm:constr type="t" for="ch" forName="Parent3" refType="h" fact="0.2022"/>
              <dgm:constr type="w" for="ch" forName="Parent3" refType="w" fact="0.0902"/>
              <dgm:constr type="h" for="ch" forName="Parent3" refType="h" fact="0.3799"/>
              <dgm:constr type="r" for="ch" forName="Parent2" refType="w" fact="0.8121"/>
              <dgm:constr type="t" for="ch" forName="Parent2" refType="h" fact="0.2022"/>
              <dgm:constr type="w" for="ch" forName="Parent2" refType="w" fact="0.0902"/>
              <dgm:constr type="h" for="ch" forName="Parent2" refType="h" fact="0.3799"/>
              <dgm:constr type="r" for="ch" forName="Parent1" refType="w" fact="0.952"/>
              <dgm:constr type="t" for="ch" forName="Parent1" refType="h" fact="0.2022"/>
              <dgm:constr type="w" for="ch" forName="Parent1" refType="w" fact="0.0902"/>
              <dgm:constr type="h" for="ch" forName="Parent1" refType="h" fact="0.3799"/>
              <dgm:constr type="r" for="ch" forName="Accent7" refType="w" fact="0.1354"/>
              <dgm:constr type="t" for="ch" forName="Accent7" refType="h" fact="0.1072"/>
              <dgm:constr type="w" for="ch" forName="Accent7" refType="w" fact="0.1354"/>
              <dgm:constr type="h" for="ch" forName="Accent7" refType="h" fact="0.5699"/>
              <dgm:constr type="r" for="ch" forName="ParentBackground7" refType="w" fact="0.1308"/>
              <dgm:constr type="t" for="ch" forName="ParentBackground7" refType="h" fact="0.1262"/>
              <dgm:constr type="w" for="ch" forName="ParentBackground7" refType="w" fact="0.1263"/>
              <dgm:constr type="h" for="ch" forName="ParentBackground7" refType="h" fact="0.5319"/>
              <dgm:constr type="r" for="ch" forName="Child7" refType="w" fact="0.1308"/>
              <dgm:constr type="t" for="ch" forName="Child7" refType="h" fact="0.6876"/>
              <dgm:constr type="w" for="ch" forName="Child7" refType="w" fact="0.1263"/>
              <dgm:constr type="h" for="ch" forName="Child7" refType="h" fact="0.3124"/>
              <dgm:constr type="r" for="ch" forName="Accent6" refType="w" fact="0.3033"/>
              <dgm:constr type="t" for="ch" forName="Accent6" refType="h" fact="-0.0109"/>
              <dgm:constr type="w" for="ch" forName="Accent6" refType="w" fact="0.1915"/>
              <dgm:constr type="h" for="ch" forName="Accent6" refType="h" fact="0.806"/>
              <dgm:constr type="r" for="ch" forName="ParentBackground6" refType="w" fact="0.2707"/>
              <dgm:constr type="t" for="ch" forName="ParentBackground6" refType="h" fact="0.1262"/>
              <dgm:constr type="w" for="ch" forName="ParentBackground6" refType="w" fact="0.1263"/>
              <dgm:constr type="h" for="ch" forName="ParentBackground6" refType="h" fact="0.5319"/>
              <dgm:constr type="r" for="ch" forName="Child6" refType="w" fact="0.2707"/>
              <dgm:constr type="t" for="ch" forName="Child6" refType="h" fact="0.6876"/>
              <dgm:constr type="w" for="ch" forName="Child6" refType="w" fact="0.1263"/>
              <dgm:constr type="h" for="ch" forName="Child6" refType="h" fact="0.3124"/>
              <dgm:constr type="r" for="ch" forName="Accent5" refType="w" fact="0.4431"/>
              <dgm:constr type="t" for="ch" forName="Accent5" refType="h" fact="-0.0109"/>
              <dgm:constr type="w" for="ch" forName="Accent5" refType="w" fact="0.1915"/>
              <dgm:constr type="h" for="ch" forName="Accent5" refType="h" fact="0.806"/>
              <dgm:constr type="r" for="ch" forName="ParentBackground5" refType="w" fact="0.4106"/>
              <dgm:constr type="t" for="ch" forName="ParentBackground5" refType="h" fact="0.1262"/>
              <dgm:constr type="w" for="ch" forName="ParentBackground5" refType="w" fact="0.1263"/>
              <dgm:constr type="h" for="ch" forName="ParentBackground5" refType="h" fact="0.5319"/>
              <dgm:constr type="r" for="ch" forName="Child5" refType="w" fact="0.4106"/>
              <dgm:constr type="t" for="ch" forName="Child5" refType="h" fact="0.6876"/>
              <dgm:constr type="w" for="ch" forName="Child5" refType="w" fact="0.1263"/>
              <dgm:constr type="h" for="ch" forName="Child5" refType="h" fact="0.3124"/>
              <dgm:constr type="r" for="ch" forName="Accent4" refType="w" fact="0.583"/>
              <dgm:constr type="t" for="ch" forName="Accent4" refType="h" fact="-0.0109"/>
              <dgm:constr type="w" for="ch" forName="Accent4" refType="w" fact="0.1915"/>
              <dgm:constr type="h" for="ch" forName="Accent4" refType="h" fact="0.806"/>
              <dgm:constr type="r" for="ch" forName="ParentBackground4" refType="w" fact="0.5504"/>
              <dgm:constr type="t" for="ch" forName="ParentBackground4" refType="h" fact="0.1262"/>
              <dgm:constr type="w" for="ch" forName="ParentBackground4" refType="w" fact="0.1263"/>
              <dgm:constr type="h" for="ch" forName="ParentBackground4" refType="h" fact="0.5319"/>
              <dgm:constr type="r" for="ch" forName="Child4" refType="w" fact="0.5504"/>
              <dgm:constr type="t" for="ch" forName="Child4" refType="h" fact="0.6876"/>
              <dgm:constr type="w" for="ch" forName="Child4" refType="w" fact="0.1263"/>
              <dgm:constr type="h" for="ch" forName="Child4" refType="h" fact="0.3124"/>
              <dgm:constr type="r" for="ch" forName="Accent3" refType="w" fact="0.7229"/>
              <dgm:constr type="t" for="ch" forName="Accent3" refType="h" fact="-0.0109"/>
              <dgm:constr type="w" for="ch" forName="Accent3" refType="w" fact="0.1915"/>
              <dgm:constr type="h" for="ch" forName="Accent3" refType="h" fact="0.806"/>
              <dgm:constr type="r" for="ch" forName="ParentBackground3" refType="w" fact="0.6903"/>
              <dgm:constr type="t" for="ch" forName="ParentBackground3" refType="h" fact="0.1262"/>
              <dgm:constr type="w" for="ch" forName="ParentBackground3" refType="w" fact="0.1263"/>
              <dgm:constr type="h" for="ch" forName="ParentBackground3" refType="h" fact="0.5319"/>
              <dgm:constr type="r" for="ch" forName="Child3" refType="w" fact="0.6903"/>
              <dgm:constr type="t" for="ch" forName="Child3" refType="h" fact="0.6876"/>
              <dgm:constr type="w" for="ch" forName="Child3" refType="w" fact="0.1263"/>
              <dgm:constr type="h" for="ch" forName="Child3" refType="h" fact="0.3124"/>
              <dgm:constr type="r" for="ch" forName="Accent2" refType="w" fact="0.8627"/>
              <dgm:constr type="t" for="ch" forName="Accent2" refType="h" fact="-0.0109"/>
              <dgm:constr type="w" for="ch" forName="Accent2" refType="w" fact="0.1915"/>
              <dgm:constr type="h" for="ch" forName="Accent2" refType="h" fact="0.806"/>
              <dgm:constr type="r" for="ch" forName="ParentBackground2" refType="w" fact="0.8302"/>
              <dgm:constr type="t" for="ch" forName="ParentBackground2" refType="h" fact="0.1262"/>
              <dgm:constr type="w" for="ch" forName="ParentBackground2" refType="w" fact="0.1263"/>
              <dgm:constr type="h" for="ch" forName="ParentBackground2" refType="h" fact="0.5319"/>
              <dgm:constr type="r" for="ch" forName="Child2" refType="w" fact="0.8302"/>
              <dgm:constr type="t" for="ch" forName="Child2" refType="h" fact="0.6876"/>
              <dgm:constr type="w" for="ch" forName="Child2" refType="w" fact="0.1263"/>
              <dgm:constr type="h" for="ch" forName="Child2" refType="h" fact="0.3124"/>
              <dgm:constr type="r" for="ch" forName="Accent1" refType="w" fact="1.0026"/>
              <dgm:constr type="t" for="ch" forName="Accent1" refType="h" fact="-0.0109"/>
              <dgm:constr type="w" for="ch" forName="Accent1" refType="w" fact="0.1915"/>
              <dgm:constr type="h" for="ch" forName="Accent1" refType="h" fact="0.806"/>
              <dgm:constr type="r" for="ch" forName="ParentBackground1" refType="w" fact="0.97"/>
              <dgm:constr type="t" for="ch" forName="ParentBackground1" refType="h" fact="0.1262"/>
              <dgm:constr type="w" for="ch" forName="ParentBackground1" refType="w" fact="0.1263"/>
              <dgm:constr type="h" for="ch" forName="ParentBackground1" refType="h" fact="0.5319"/>
              <dgm:constr type="r" for="ch" forName="Child1" refType="w" fact="0.97"/>
              <dgm:constr type="t" for="ch" forName="Child1" refType="h" fact="0.6876"/>
              <dgm:constr type="w" for="ch" forName="Child1" refType="w" fact="0.1263"/>
              <dgm:constr type="h" for="ch" forName="Child1" refType="h" fact="0.3124"/>
            </dgm:constrLst>
          </dgm:if>
          <dgm:if name="Name24" axis="ch" ptType="node" func="cnt" op="equ" val="8">
            <dgm:alg type="composite">
              <dgm:param type="ar" val="4.7991"/>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r" for="ch" forName="Parent8" refType="w" fact="0.099"/>
              <dgm:constr type="t" for="ch" forName="Parent8" refType="h" fact="0.2022"/>
              <dgm:constr type="w" for="ch" forName="Parent8" refType="w" fact="0.0792"/>
              <dgm:constr type="h" for="ch" forName="Parent8" refType="h" fact="0.3799"/>
              <dgm:constr type="r" for="ch" forName="Parent7" refType="w" fact="0.2217"/>
              <dgm:constr type="t" for="ch" forName="Parent7" refType="h" fact="0.2022"/>
              <dgm:constr type="w" for="ch" forName="Parent7" refType="w" fact="0.0792"/>
              <dgm:constr type="h" for="ch" forName="Parent7" refType="h" fact="0.3799"/>
              <dgm:constr type="r" for="ch" forName="Parent6" refType="w" fact="0.3444"/>
              <dgm:constr type="t" for="ch" forName="Parent6" refType="h" fact="0.2022"/>
              <dgm:constr type="w" for="ch" forName="Parent6" refType="w" fact="0.0792"/>
              <dgm:constr type="h" for="ch" forName="Parent6" refType="h" fact="0.3799"/>
              <dgm:constr type="r" for="ch" forName="Parent5" refType="w" fact="0.4671"/>
              <dgm:constr type="t" for="ch" forName="Parent5" refType="h" fact="0.2022"/>
              <dgm:constr type="w" for="ch" forName="Parent5" refType="w" fact="0.0792"/>
              <dgm:constr type="h" for="ch" forName="Parent5" refType="h" fact="0.3799"/>
              <dgm:constr type="r" for="ch" forName="Parent4" refType="w" fact="0.5898"/>
              <dgm:constr type="t" for="ch" forName="Parent4" refType="h" fact="0.2022"/>
              <dgm:constr type="w" for="ch" forName="Parent4" refType="w" fact="0.0792"/>
              <dgm:constr type="h" for="ch" forName="Parent4" refType="h" fact="0.3799"/>
              <dgm:constr type="r" for="ch" forName="Parent3" refType="w" fact="0.7125"/>
              <dgm:constr type="t" for="ch" forName="Parent3" refType="h" fact="0.2022"/>
              <dgm:constr type="w" for="ch" forName="Parent3" refType="w" fact="0.0792"/>
              <dgm:constr type="h" for="ch" forName="Parent3" refType="h" fact="0.3799"/>
              <dgm:constr type="r" for="ch" forName="Parent2" refType="w" fact="0.8352"/>
              <dgm:constr type="t" for="ch" forName="Parent2" refType="h" fact="0.2022"/>
              <dgm:constr type="w" for="ch" forName="Parent2" refType="w" fact="0.0792"/>
              <dgm:constr type="h" for="ch" forName="Parent2" refType="h" fact="0.3799"/>
              <dgm:constr type="r" for="ch" forName="Parent1" refType="w" fact="0.9579"/>
              <dgm:constr type="t" for="ch" forName="Parent1" refType="h" fact="0.2022"/>
              <dgm:constr type="w" for="ch" forName="Parent1" refType="w" fact="0.0792"/>
              <dgm:constr type="h" for="ch" forName="Parent1" refType="h" fact="0.3799"/>
              <dgm:constr type="r" for="ch" forName="Accent8" refType="w" fact="0.1187"/>
              <dgm:constr type="t" for="ch" forName="Accent8" refType="h" fact="0.1072"/>
              <dgm:constr type="w" for="ch" forName="Accent8" refType="w" fact="0.1187"/>
              <dgm:constr type="h" for="ch" forName="Accent8" refType="h" fact="0.5699"/>
              <dgm:constr type="r" for="ch" forName="ParentBackground8" refType="w" fact="0.1148"/>
              <dgm:constr type="t" for="ch" forName="ParentBackground8" refType="h" fact="0.1262"/>
              <dgm:constr type="w" for="ch" forName="ParentBackground8" refType="w" fact="0.1108"/>
              <dgm:constr type="h" for="ch" forName="ParentBackground8" refType="h" fact="0.5319"/>
              <dgm:constr type="r" for="ch" forName="Child8" refType="w" fact="0.1148"/>
              <dgm:constr type="t" for="ch" forName="Child8" refType="h" fact="0.6876"/>
              <dgm:constr type="w" for="ch" forName="Child8" refType="w" fact="0.1108"/>
              <dgm:constr type="h" for="ch" forName="Child8" refType="h" fact="0.3124"/>
              <dgm:constr type="r" for="ch" forName="Accent7" refType="w" fact="0.2661"/>
              <dgm:constr type="t" for="ch" forName="Accent7" refType="h" fact="-0.0109"/>
              <dgm:constr type="w" for="ch" forName="Accent7" refType="w" fact="0.1679"/>
              <dgm:constr type="h" for="ch" forName="Accent7" refType="h" fact="0.806"/>
              <dgm:constr type="r" for="ch" forName="ParentBackground7" refType="w" fact="0.2375"/>
              <dgm:constr type="t" for="ch" forName="ParentBackground7" refType="h" fact="0.1262"/>
              <dgm:constr type="w" for="ch" forName="ParentBackground7" refType="w" fact="0.1108"/>
              <dgm:constr type="h" for="ch" forName="ParentBackground7" refType="h" fact="0.5319"/>
              <dgm:constr type="r" for="ch" forName="Child7" refType="w" fact="0.2375"/>
              <dgm:constr type="t" for="ch" forName="Child7" refType="h" fact="0.6876"/>
              <dgm:constr type="w" for="ch" forName="Child7" refType="w" fact="0.1108"/>
              <dgm:constr type="h" for="ch" forName="Child7" refType="h" fact="0.3124"/>
              <dgm:constr type="r" for="ch" forName="Accent6" refType="w" fact="0.3888"/>
              <dgm:constr type="t" for="ch" forName="Accent6" refType="h" fact="-0.0109"/>
              <dgm:constr type="w" for="ch" forName="Accent6" refType="w" fact="0.1679"/>
              <dgm:constr type="h" for="ch" forName="Accent6" refType="h" fact="0.806"/>
              <dgm:constr type="r" for="ch" forName="ParentBackground6" refType="w" fact="0.3602"/>
              <dgm:constr type="t" for="ch" forName="ParentBackground6" refType="h" fact="0.1262"/>
              <dgm:constr type="w" for="ch" forName="ParentBackground6" refType="w" fact="0.1108"/>
              <dgm:constr type="h" for="ch" forName="ParentBackground6" refType="h" fact="0.5319"/>
              <dgm:constr type="r" for="ch" forName="Child6" refType="w" fact="0.3602"/>
              <dgm:constr type="t" for="ch" forName="Child6" refType="h" fact="0.6876"/>
              <dgm:constr type="w" for="ch" forName="Child6" refType="w" fact="0.1108"/>
              <dgm:constr type="h" for="ch" forName="Child6" refType="h" fact="0.3124"/>
              <dgm:constr type="r" for="ch" forName="Accent5" refType="w" fact="0.5115"/>
              <dgm:constr type="t" for="ch" forName="Accent5" refType="h" fact="-0.0109"/>
              <dgm:constr type="w" for="ch" forName="Accent5" refType="w" fact="0.1679"/>
              <dgm:constr type="h" for="ch" forName="Accent5" refType="h" fact="0.806"/>
              <dgm:constr type="r" for="ch" forName="ParentBackground5" refType="w" fact="0.4829"/>
              <dgm:constr type="t" for="ch" forName="ParentBackground5" refType="h" fact="0.1262"/>
              <dgm:constr type="w" for="ch" forName="ParentBackground5" refType="w" fact="0.1108"/>
              <dgm:constr type="h" for="ch" forName="ParentBackground5" refType="h" fact="0.5319"/>
              <dgm:constr type="r" for="ch" forName="Child5" refType="w" fact="0.4829"/>
              <dgm:constr type="t" for="ch" forName="Child5" refType="h" fact="0.6876"/>
              <dgm:constr type="w" for="ch" forName="Child5" refType="w" fact="0.1108"/>
              <dgm:constr type="h" for="ch" forName="Child5" refType="h" fact="0.3124"/>
              <dgm:constr type="r" for="ch" forName="Accent4" refType="w" fact="0.6342"/>
              <dgm:constr type="t" for="ch" forName="Accent4" refType="h" fact="-0.0109"/>
              <dgm:constr type="w" for="ch" forName="Accent4" refType="w" fact="0.1679"/>
              <dgm:constr type="h" for="ch" forName="Accent4" refType="h" fact="0.806"/>
              <dgm:constr type="r" for="ch" forName="ParentBackground4" refType="w" fact="0.6056"/>
              <dgm:constr type="t" for="ch" forName="ParentBackground4" refType="h" fact="0.1262"/>
              <dgm:constr type="w" for="ch" forName="ParentBackground4" refType="w" fact="0.1108"/>
              <dgm:constr type="h" for="ch" forName="ParentBackground4" refType="h" fact="0.5319"/>
              <dgm:constr type="r" for="ch" forName="Child4" refType="w" fact="0.6056"/>
              <dgm:constr type="t" for="ch" forName="Child4" refType="h" fact="0.6876"/>
              <dgm:constr type="w" for="ch" forName="Child4" refType="w" fact="0.1108"/>
              <dgm:constr type="h" for="ch" forName="Child4" refType="h" fact="0.3124"/>
              <dgm:constr type="r" for="ch" forName="Accent3" refType="w" fact="0.7569"/>
              <dgm:constr type="t" for="ch" forName="Accent3" refType="h" fact="-0.0109"/>
              <dgm:constr type="w" for="ch" forName="Accent3" refType="w" fact="0.1679"/>
              <dgm:constr type="h" for="ch" forName="Accent3" refType="h" fact="0.806"/>
              <dgm:constr type="r" for="ch" forName="ParentBackground3" refType="w" fact="0.7283"/>
              <dgm:constr type="t" for="ch" forName="ParentBackground3" refType="h" fact="0.1262"/>
              <dgm:constr type="w" for="ch" forName="ParentBackground3" refType="w" fact="0.1108"/>
              <dgm:constr type="h" for="ch" forName="ParentBackground3" refType="h" fact="0.5319"/>
              <dgm:constr type="r" for="ch" forName="Child3" refType="w" fact="0.7283"/>
              <dgm:constr type="t" for="ch" forName="Child3" refType="h" fact="0.6876"/>
              <dgm:constr type="w" for="ch" forName="Child3" refType="w" fact="0.1108"/>
              <dgm:constr type="h" for="ch" forName="Child3" refType="h" fact="0.3124"/>
              <dgm:constr type="r" for="ch" forName="Accent2" refType="w" fact="0.8796"/>
              <dgm:constr type="t" for="ch" forName="Accent2" refType="h" fact="-0.0109"/>
              <dgm:constr type="w" for="ch" forName="Accent2" refType="w" fact="0.1679"/>
              <dgm:constr type="h" for="ch" forName="Accent2" refType="h" fact="0.806"/>
              <dgm:constr type="r" for="ch" forName="ParentBackground2" refType="w" fact="0.851"/>
              <dgm:constr type="t" for="ch" forName="ParentBackground2" refType="h" fact="0.1262"/>
              <dgm:constr type="w" for="ch" forName="ParentBackground2" refType="w" fact="0.1108"/>
              <dgm:constr type="h" for="ch" forName="ParentBackground2" refType="h" fact="0.5319"/>
              <dgm:constr type="r" for="ch" forName="Child2" refType="w" fact="0.851"/>
              <dgm:constr type="t" for="ch" forName="Child2" refType="h" fact="0.6876"/>
              <dgm:constr type="w" for="ch" forName="Child2" refType="w" fact="0.1108"/>
              <dgm:constr type="h" for="ch" forName="Child2" refType="h" fact="0.3124"/>
              <dgm:constr type="r" for="ch" forName="Accent1" refType="w" fact="1.0023"/>
              <dgm:constr type="t" for="ch" forName="Accent1" refType="h" fact="-0.0109"/>
              <dgm:constr type="w" for="ch" forName="Accent1" refType="w" fact="0.1679"/>
              <dgm:constr type="h" for="ch" forName="Accent1" refType="h" fact="0.806"/>
              <dgm:constr type="r" for="ch" forName="ParentBackground1" refType="w" fact="0.9737"/>
              <dgm:constr type="t" for="ch" forName="ParentBackground1" refType="h" fact="0.1262"/>
              <dgm:constr type="w" for="ch" forName="ParentBackground1" refType="w" fact="0.1108"/>
              <dgm:constr type="h" for="ch" forName="ParentBackground1" refType="h" fact="0.5319"/>
              <dgm:constr type="r" for="ch" forName="Child1" refType="w" fact="0.9737"/>
              <dgm:constr type="t" for="ch" forName="Child1" refType="h" fact="0.6876"/>
              <dgm:constr type="w" for="ch" forName="Child1" refType="w" fact="0.1108"/>
              <dgm:constr type="h" for="ch" forName="Child1" refType="h" fact="0.3124"/>
            </dgm:constrLst>
          </dgm:if>
          <dgm:if name="Name25" axis="ch" ptType="node" func="cnt" op="equ" val="9">
            <dgm:alg type="composite">
              <dgm:param type="ar" val="5.38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r" for="ch" forName="Parent9" refType="w" fact="0.0881"/>
              <dgm:constr type="t" for="ch" forName="Parent9" refType="h" fact="0.2022"/>
              <dgm:constr type="w" for="ch" forName="Parent9" refType="w" fact="0.0705"/>
              <dgm:constr type="h" for="ch" forName="Parent9" refType="h" fact="0.3799"/>
              <dgm:constr type="r" for="ch" forName="Parent8" refType="w" fact="0.1974"/>
              <dgm:constr type="t" for="ch" forName="Parent8" refType="h" fact="0.2022"/>
              <dgm:constr type="w" for="ch" forName="Parent8" refType="w" fact="0.0705"/>
              <dgm:constr type="h" for="ch" forName="Parent8" refType="h" fact="0.3799"/>
              <dgm:constr type="r" for="ch" forName="Parent7" refType="w" fact="0.3067"/>
              <dgm:constr type="t" for="ch" forName="Parent7" refType="h" fact="0.2022"/>
              <dgm:constr type="w" for="ch" forName="Parent7" refType="w" fact="0.0705"/>
              <dgm:constr type="h" for="ch" forName="Parent7" refType="h" fact="0.3799"/>
              <dgm:constr type="r" for="ch" forName="Parent6" refType="w" fact="0.416"/>
              <dgm:constr type="t" for="ch" forName="Parent6" refType="h" fact="0.2022"/>
              <dgm:constr type="w" for="ch" forName="Parent6" refType="w" fact="0.0705"/>
              <dgm:constr type="h" for="ch" forName="Parent6" refType="h" fact="0.3799"/>
              <dgm:constr type="r" for="ch" forName="Parent5" refType="w" fact="0.5253"/>
              <dgm:constr type="t" for="ch" forName="Parent5" refType="h" fact="0.2022"/>
              <dgm:constr type="w" for="ch" forName="Parent5" refType="w" fact="0.0705"/>
              <dgm:constr type="h" for="ch" forName="Parent5" refType="h" fact="0.3799"/>
              <dgm:constr type="r" for="ch" forName="Parent4" refType="w" fact="0.6346"/>
              <dgm:constr type="t" for="ch" forName="Parent4" refType="h" fact="0.2022"/>
              <dgm:constr type="w" for="ch" forName="Parent4" refType="w" fact="0.0705"/>
              <dgm:constr type="h" for="ch" forName="Parent4" refType="h" fact="0.3799"/>
              <dgm:constr type="r" for="ch" forName="Parent3" refType="w" fact="0.7439"/>
              <dgm:constr type="t" for="ch" forName="Parent3" refType="h" fact="0.2022"/>
              <dgm:constr type="w" for="ch" forName="Parent3" refType="w" fact="0.0705"/>
              <dgm:constr type="h" for="ch" forName="Parent3" refType="h" fact="0.3799"/>
              <dgm:constr type="r" for="ch" forName="Parent2" refType="w" fact="0.8532"/>
              <dgm:constr type="t" for="ch" forName="Parent2" refType="h" fact="0.2022"/>
              <dgm:constr type="w" for="ch" forName="Parent2" refType="w" fact="0.0705"/>
              <dgm:constr type="h" for="ch" forName="Parent2" refType="h" fact="0.3799"/>
              <dgm:constr type="r" for="ch" forName="Parent1" refType="w" fact="0.9625"/>
              <dgm:constr type="t" for="ch" forName="Parent1" refType="h" fact="0.2022"/>
              <dgm:constr type="w" for="ch" forName="Parent1" refType="w" fact="0.0705"/>
              <dgm:constr type="h" for="ch" forName="Parent1" refType="h" fact="0.3799"/>
              <dgm:constr type="r" for="ch" forName="Accent9" refType="w" fact="0.1058"/>
              <dgm:constr type="t" for="ch" forName="Accent9" refType="h" fact="0.1072"/>
              <dgm:constr type="w" for="ch" forName="Accent9" refType="w" fact="0.1058"/>
              <dgm:constr type="h" for="ch" forName="Accent9" refType="h" fact="0.5699"/>
              <dgm:constr type="r" for="ch" forName="ParentBackground9" refType="w" fact="0.1022"/>
              <dgm:constr type="t" for="ch" forName="ParentBackground9" refType="h" fact="0.1262"/>
              <dgm:constr type="w" for="ch" forName="ParentBackground9" refType="w" fact="0.0987"/>
              <dgm:constr type="h" for="ch" forName="ParentBackground9" refType="h" fact="0.5319"/>
              <dgm:constr type="r" for="ch" forName="Child9" refType="w" fact="0.1022"/>
              <dgm:constr type="t" for="ch" forName="Child9" refType="h" fact="0.6876"/>
              <dgm:constr type="w" for="ch" forName="Child9" refType="w" fact="0.0987"/>
              <dgm:constr type="h" for="ch" forName="Child9" refType="h" fact="0.3124"/>
              <dgm:constr type="r" for="ch" forName="Accent8" refType="w" fact="0.237"/>
              <dgm:constr type="t" for="ch" forName="Accent8" refType="h" fact="-0.0109"/>
              <dgm:constr type="w" for="ch" forName="Accent8" refType="w" fact="0.1496"/>
              <dgm:constr type="h" for="ch" forName="Accent8" refType="h" fact="0.806"/>
              <dgm:constr type="r" for="ch" forName="ParentBackground8" refType="w" fact="0.2115"/>
              <dgm:constr type="t" for="ch" forName="ParentBackground8" refType="h" fact="0.1262"/>
              <dgm:constr type="w" for="ch" forName="ParentBackground8" refType="w" fact="0.0987"/>
              <dgm:constr type="h" for="ch" forName="ParentBackground8" refType="h" fact="0.5319"/>
              <dgm:constr type="r" for="ch" forName="Child8" refType="w" fact="0.2115"/>
              <dgm:constr type="t" for="ch" forName="Child8" refType="h" fact="0.6876"/>
              <dgm:constr type="w" for="ch" forName="Child8" refType="w" fact="0.0987"/>
              <dgm:constr type="h" for="ch" forName="Child8" refType="h" fact="0.3124"/>
              <dgm:constr type="r" for="ch" forName="Accent7" refType="w" fact="0.3462"/>
              <dgm:constr type="t" for="ch" forName="Accent7" refType="h" fact="-0.0109"/>
              <dgm:constr type="w" for="ch" forName="Accent7" refType="w" fact="0.1496"/>
              <dgm:constr type="h" for="ch" forName="Accent7" refType="h" fact="0.806"/>
              <dgm:constr type="r" for="ch" forName="ParentBackground7" refType="w" fact="0.3208"/>
              <dgm:constr type="t" for="ch" forName="ParentBackground7" refType="h" fact="0.1262"/>
              <dgm:constr type="w" for="ch" forName="ParentBackground7" refType="w" fact="0.0987"/>
              <dgm:constr type="h" for="ch" forName="ParentBackground7" refType="h" fact="0.5319"/>
              <dgm:constr type="r" for="ch" forName="Child7" refType="w" fact="0.3208"/>
              <dgm:constr type="t" for="ch" forName="Child7" refType="h" fact="0.6876"/>
              <dgm:constr type="w" for="ch" forName="Child7" refType="w" fact="0.0987"/>
              <dgm:constr type="h" for="ch" forName="Child7" refType="h" fact="0.3124"/>
              <dgm:constr type="r" for="ch" forName="Accent6" refType="w" fact="0.4555"/>
              <dgm:constr type="t" for="ch" forName="Accent6" refType="h" fact="-0.0109"/>
              <dgm:constr type="w" for="ch" forName="Accent6" refType="w" fact="0.1496"/>
              <dgm:constr type="h" for="ch" forName="Accent6" refType="h" fact="0.806"/>
              <dgm:constr type="r" for="ch" forName="ParentBackground6" refType="w" fact="0.4301"/>
              <dgm:constr type="t" for="ch" forName="ParentBackground6" refType="h" fact="0.1262"/>
              <dgm:constr type="w" for="ch" forName="ParentBackground6" refType="w" fact="0.0987"/>
              <dgm:constr type="h" for="ch" forName="ParentBackground6" refType="h" fact="0.5319"/>
              <dgm:constr type="r" for="ch" forName="Child6" refType="w" fact="0.4301"/>
              <dgm:constr type="t" for="ch" forName="Child6" refType="h" fact="0.6876"/>
              <dgm:constr type="w" for="ch" forName="Child6" refType="w" fact="0.0987"/>
              <dgm:constr type="h" for="ch" forName="Child6" refType="h" fact="0.3124"/>
              <dgm:constr type="r" for="ch" forName="Accent5" refType="w" fact="0.5648"/>
              <dgm:constr type="t" for="ch" forName="Accent5" refType="h" fact="-0.0109"/>
              <dgm:constr type="w" for="ch" forName="Accent5" refType="w" fact="0.1496"/>
              <dgm:constr type="h" for="ch" forName="Accent5" refType="h" fact="0.806"/>
              <dgm:constr type="r" for="ch" forName="ParentBackground5" refType="w" fact="0.5394"/>
              <dgm:constr type="t" for="ch" forName="ParentBackground5" refType="h" fact="0.1262"/>
              <dgm:constr type="w" for="ch" forName="ParentBackground5" refType="w" fact="0.0987"/>
              <dgm:constr type="h" for="ch" forName="ParentBackground5" refType="h" fact="0.5319"/>
              <dgm:constr type="r" for="ch" forName="Child5" refType="w" fact="0.5394"/>
              <dgm:constr type="t" for="ch" forName="Child5" refType="h" fact="0.6876"/>
              <dgm:constr type="w" for="ch" forName="Child5" refType="w" fact="0.0987"/>
              <dgm:constr type="h" for="ch" forName="Child5" refType="h" fact="0.3124"/>
              <dgm:constr type="r" for="ch" forName="Accent4" refType="w" fact="0.6741"/>
              <dgm:constr type="t" for="ch" forName="Accent4" refType="h" fact="-0.0109"/>
              <dgm:constr type="w" for="ch" forName="Accent4" refType="w" fact="0.1496"/>
              <dgm:constr type="h" for="ch" forName="Accent4" refType="h" fact="0.806"/>
              <dgm:constr type="r" for="ch" forName="ParentBackground4" refType="w" fact="0.6487"/>
              <dgm:constr type="t" for="ch" forName="ParentBackground4" refType="h" fact="0.1262"/>
              <dgm:constr type="w" for="ch" forName="ParentBackground4" refType="w" fact="0.0987"/>
              <dgm:constr type="h" for="ch" forName="ParentBackground4" refType="h" fact="0.5319"/>
              <dgm:constr type="r" for="ch" forName="Child4" refType="w" fact="0.6487"/>
              <dgm:constr type="t" for="ch" forName="Child4" refType="h" fact="0.6876"/>
              <dgm:constr type="w" for="ch" forName="Child4" refType="w" fact="0.0987"/>
              <dgm:constr type="h" for="ch" forName="Child4" refType="h" fact="0.3124"/>
              <dgm:constr type="r" for="ch" forName="Accent3" refType="w" fact="0.7834"/>
              <dgm:constr type="t" for="ch" forName="Accent3" refType="h" fact="-0.0109"/>
              <dgm:constr type="w" for="ch" forName="Accent3" refType="w" fact="0.1496"/>
              <dgm:constr type="h" for="ch" forName="Accent3" refType="h" fact="0.806"/>
              <dgm:constr type="r" for="ch" forName="ParentBackground3" refType="w" fact="0.758"/>
              <dgm:constr type="t" for="ch" forName="ParentBackground3" refType="h" fact="0.1262"/>
              <dgm:constr type="w" for="ch" forName="ParentBackground3" refType="w" fact="0.0987"/>
              <dgm:constr type="h" for="ch" forName="ParentBackground3" refType="h" fact="0.5319"/>
              <dgm:constr type="r" for="ch" forName="Child3" refType="w" fact="0.758"/>
              <dgm:constr type="t" for="ch" forName="Child3" refType="h" fact="0.6876"/>
              <dgm:constr type="w" for="ch" forName="Child3" refType="w" fact="0.0987"/>
              <dgm:constr type="h" for="ch" forName="Child3" refType="h" fact="0.3124"/>
              <dgm:constr type="r" for="ch" forName="Accent2" refType="w" fact="0.8927"/>
              <dgm:constr type="t" for="ch" forName="Accent2" refType="h" fact="-0.0109"/>
              <dgm:constr type="w" for="ch" forName="Accent2" refType="w" fact="0.1496"/>
              <dgm:constr type="h" for="ch" forName="Accent2" refType="h" fact="0.806"/>
              <dgm:constr type="r" for="ch" forName="ParentBackground2" refType="w" fact="0.8673"/>
              <dgm:constr type="t" for="ch" forName="ParentBackground2" refType="h" fact="0.1262"/>
              <dgm:constr type="w" for="ch" forName="ParentBackground2" refType="w" fact="0.0987"/>
              <dgm:constr type="h" for="ch" forName="ParentBackground2" refType="h" fact="0.5319"/>
              <dgm:constr type="r" for="ch" forName="Child2" refType="w" fact="0.8673"/>
              <dgm:constr type="t" for="ch" forName="Child2" refType="h" fact="0.6876"/>
              <dgm:constr type="w" for="ch" forName="Child2" refType="w" fact="0.0987"/>
              <dgm:constr type="h" for="ch" forName="Child2" refType="h" fact="0.3124"/>
              <dgm:constr type="r" for="ch" forName="Accent1" refType="w" fact="1.002"/>
              <dgm:constr type="t" for="ch" forName="Accent1" refType="h" fact="-0.0109"/>
              <dgm:constr type="w" for="ch" forName="Accent1" refType="w" fact="0.1496"/>
              <dgm:constr type="h" for="ch" forName="Accent1" refType="h" fact="0.806"/>
              <dgm:constr type="r" for="ch" forName="ParentBackground1" refType="w" fact="0.9765"/>
              <dgm:constr type="t" for="ch" forName="ParentBackground1" refType="h" fact="0.1262"/>
              <dgm:constr type="w" for="ch" forName="ParentBackground1" refType="w" fact="0.0987"/>
              <dgm:constr type="h" for="ch" forName="ParentBackground1" refType="h" fact="0.5319"/>
              <dgm:constr type="r" for="ch" forName="Child1" refType="w" fact="0.9765"/>
              <dgm:constr type="t" for="ch" forName="Child1" refType="h" fact="0.6876"/>
              <dgm:constr type="w" for="ch" forName="Child1" refType="w" fact="0.0987"/>
              <dgm:constr type="h" for="ch" forName="Child1" refType="h" fact="0.3124"/>
            </dgm:constrLst>
          </dgm:if>
          <dgm:if name="Name26" axis="ch" ptType="node" func="cnt" op="equ" val="10">
            <dgm:alg type="composite">
              <dgm:param type="ar" val="5.9769"/>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7"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r" for="ch" forName="Parent10" refType="w" fact="0.0795"/>
              <dgm:constr type="t" for="ch" forName="Parent10" refType="h" fact="0.2022"/>
              <dgm:constr type="w" for="ch" forName="Parent10" refType="w" fact="0.0636"/>
              <dgm:constr type="h" for="ch" forName="Parent10" refType="h" fact="0.3799"/>
              <dgm:constr type="r" for="ch" forName="Parent9" refType="w" fact="0.178"/>
              <dgm:constr type="t" for="ch" forName="Parent9" refType="h" fact="0.2022"/>
              <dgm:constr type="w" for="ch" forName="Parent9" refType="w" fact="0.0636"/>
              <dgm:constr type="h" for="ch" forName="Parent9" refType="h" fact="0.3799"/>
              <dgm:constr type="r" for="ch" forName="Parent8" refType="w" fact="0.2765"/>
              <dgm:constr type="t" for="ch" forName="Parent8" refType="h" fact="0.2022"/>
              <dgm:constr type="w" for="ch" forName="Parent8" refType="w" fact="0.0636"/>
              <dgm:constr type="h" for="ch" forName="Parent8" refType="h" fact="0.3799"/>
              <dgm:constr type="r" for="ch" forName="Parent7" refType="w" fact="0.375"/>
              <dgm:constr type="t" for="ch" forName="Parent7" refType="h" fact="0.2022"/>
              <dgm:constr type="w" for="ch" forName="Parent7" refType="w" fact="0.0636"/>
              <dgm:constr type="h" for="ch" forName="Parent7" refType="h" fact="0.3799"/>
              <dgm:constr type="r" for="ch" forName="Parent6" refType="w" fact="0.4736"/>
              <dgm:constr type="t" for="ch" forName="Parent6" refType="h" fact="0.2022"/>
              <dgm:constr type="w" for="ch" forName="Parent6" refType="w" fact="0.0636"/>
              <dgm:constr type="h" for="ch" forName="Parent6" refType="h" fact="0.3799"/>
              <dgm:constr type="r" for="ch" forName="Parent5" refType="w" fact="0.5721"/>
              <dgm:constr type="t" for="ch" forName="Parent5" refType="h" fact="0.2022"/>
              <dgm:constr type="w" for="ch" forName="Parent5" refType="w" fact="0.0636"/>
              <dgm:constr type="h" for="ch" forName="Parent5" refType="h" fact="0.3799"/>
              <dgm:constr type="r" for="ch" forName="Parent4" refType="w" fact="0.6706"/>
              <dgm:constr type="t" for="ch" forName="Parent4" refType="h" fact="0.2022"/>
              <dgm:constr type="w" for="ch" forName="Parent4" refType="w" fact="0.0636"/>
              <dgm:constr type="h" for="ch" forName="Parent4" refType="h" fact="0.3799"/>
              <dgm:constr type="r" for="ch" forName="Parent3" refType="w" fact="0.7691"/>
              <dgm:constr type="t" for="ch" forName="Parent3" refType="h" fact="0.2022"/>
              <dgm:constr type="w" for="ch" forName="Parent3" refType="w" fact="0.0636"/>
              <dgm:constr type="h" for="ch" forName="Parent3" refType="h" fact="0.3799"/>
              <dgm:constr type="r" for="ch" forName="Parent2" refType="w" fact="0.8676"/>
              <dgm:constr type="t" for="ch" forName="Parent2" refType="h" fact="0.2022"/>
              <dgm:constr type="w" for="ch" forName="Parent2" refType="w" fact="0.0636"/>
              <dgm:constr type="h" for="ch" forName="Parent2" refType="h" fact="0.3799"/>
              <dgm:constr type="r" for="ch" forName="Parent1" refType="w" fact="0.9662"/>
              <dgm:constr type="t" for="ch" forName="Parent1" refType="h" fact="0.2022"/>
              <dgm:constr type="w" for="ch" forName="Parent1" refType="w" fact="0.0636"/>
              <dgm:constr type="h" for="ch" forName="Parent1" refType="h" fact="0.3799"/>
              <dgm:constr type="r" for="ch" forName="Accent10" refType="w" fact="0.0953"/>
              <dgm:constr type="t" for="ch" forName="Accent10" refType="h" fact="0.1072"/>
              <dgm:constr type="w" for="ch" forName="Accent10" refType="w" fact="0.0953"/>
              <dgm:constr type="h" for="ch" forName="Accent10" refType="h" fact="0.5699"/>
              <dgm:constr type="r" for="ch" forName="ParentBackground10" refType="w" fact="0.0922"/>
              <dgm:constr type="t" for="ch" forName="ParentBackground10" refType="h" fact="0.1262"/>
              <dgm:constr type="w" for="ch" forName="ParentBackground10" refType="w" fact="0.089"/>
              <dgm:constr type="h" for="ch" forName="ParentBackground10" refType="h" fact="0.5319"/>
              <dgm:constr type="r" for="ch" forName="Child10" refType="w" fact="0.0922"/>
              <dgm:constr type="t" for="ch" forName="Child10" refType="h" fact="0.6876"/>
              <dgm:constr type="w" for="ch" forName="Child10" refType="w" fact="0.089"/>
              <dgm:constr type="h" for="ch" forName="Child10" refType="h" fact="0.3124"/>
              <dgm:constr type="r" for="ch" forName="Accent9" refType="w" fact="0.2136"/>
              <dgm:constr type="t" for="ch" forName="Accent9" refType="h" fact="-0.0109"/>
              <dgm:constr type="w" for="ch" forName="Accent9" refType="w" fact="0.1348"/>
              <dgm:constr type="h" for="ch" forName="Accent9" refType="h" fact="0.806"/>
              <dgm:constr type="r" for="ch" forName="ParentBackground9" refType="w" fact="0.1907"/>
              <dgm:constr type="t" for="ch" forName="ParentBackground9" refType="h" fact="0.1262"/>
              <dgm:constr type="w" for="ch" forName="ParentBackground9" refType="w" fact="0.089"/>
              <dgm:constr type="h" for="ch" forName="ParentBackground9" refType="h" fact="0.5319"/>
              <dgm:constr type="r" for="ch" forName="Child9" refType="w" fact="0.1907"/>
              <dgm:constr type="t" for="ch" forName="Child9" refType="h" fact="0.6876"/>
              <dgm:constr type="w" for="ch" forName="Child9" refType="w" fact="0.089"/>
              <dgm:constr type="h" for="ch" forName="Child9" refType="h" fact="0.3124"/>
              <dgm:constr type="r" for="ch" forName="Accent8" refType="w" fact="0.3121"/>
              <dgm:constr type="t" for="ch" forName="Accent8" refType="h" fact="-0.0109"/>
              <dgm:constr type="w" for="ch" forName="Accent8" refType="w" fact="0.1348"/>
              <dgm:constr type="h" for="ch" forName="Accent8" refType="h" fact="0.806"/>
              <dgm:constr type="r" for="ch" forName="ParentBackground8" refType="w" fact="0.2892"/>
              <dgm:constr type="t" for="ch" forName="ParentBackground8" refType="h" fact="0.1262"/>
              <dgm:constr type="w" for="ch" forName="ParentBackground8" refType="w" fact="0.089"/>
              <dgm:constr type="h" for="ch" forName="ParentBackground8" refType="h" fact="0.5319"/>
              <dgm:constr type="r" for="ch" forName="Child8" refType="w" fact="0.2892"/>
              <dgm:constr type="t" for="ch" forName="Child8" refType="h" fact="0.6876"/>
              <dgm:constr type="w" for="ch" forName="Child8" refType="w" fact="0.089"/>
              <dgm:constr type="h" for="ch" forName="Child8" refType="h" fact="0.3124"/>
              <dgm:constr type="r" for="ch" forName="Accent7" refType="w" fact="0.4107"/>
              <dgm:constr type="t" for="ch" forName="Accent7" refType="h" fact="-0.0109"/>
              <dgm:constr type="w" for="ch" forName="Accent7" refType="w" fact="0.1348"/>
              <dgm:constr type="h" for="ch" forName="Accent7" refType="h" fact="0.806"/>
              <dgm:constr type="r" for="ch" forName="ParentBackground7" refType="w" fact="0.3877"/>
              <dgm:constr type="t" for="ch" forName="ParentBackground7" refType="h" fact="0.1262"/>
              <dgm:constr type="w" for="ch" forName="ParentBackground7" refType="w" fact="0.089"/>
              <dgm:constr type="h" for="ch" forName="ParentBackground7" refType="h" fact="0.5319"/>
              <dgm:constr type="r" for="ch" forName="Child7" refType="w" fact="0.3877"/>
              <dgm:constr type="t" for="ch" forName="Child7" refType="h" fact="0.6876"/>
              <dgm:constr type="w" for="ch" forName="Child7" refType="w" fact="0.089"/>
              <dgm:constr type="h" for="ch" forName="Child7" refType="h" fact="0.3124"/>
              <dgm:constr type="r" for="ch" forName="Accent6" refType="w" fact="0.5092"/>
              <dgm:constr type="t" for="ch" forName="Accent6" refType="h" fact="-0.0109"/>
              <dgm:constr type="w" for="ch" forName="Accent6" refType="w" fact="0.1348"/>
              <dgm:constr type="h" for="ch" forName="Accent6" refType="h" fact="0.806"/>
              <dgm:constr type="r" for="ch" forName="ParentBackground6" refType="w" fact="0.4863"/>
              <dgm:constr type="t" for="ch" forName="ParentBackground6" refType="h" fact="0.1262"/>
              <dgm:constr type="w" for="ch" forName="ParentBackground6" refType="w" fact="0.089"/>
              <dgm:constr type="h" for="ch" forName="ParentBackground6" refType="h" fact="0.5319"/>
              <dgm:constr type="r" for="ch" forName="Child6" refType="w" fact="0.4863"/>
              <dgm:constr type="t" for="ch" forName="Child6" refType="h" fact="0.6876"/>
              <dgm:constr type="w" for="ch" forName="Child6" refType="w" fact="0.089"/>
              <dgm:constr type="h" for="ch" forName="Child6" refType="h" fact="0.3124"/>
              <dgm:constr type="r" for="ch" forName="Accent5" refType="w" fact="0.6077"/>
              <dgm:constr type="t" for="ch" forName="Accent5" refType="h" fact="-0.0109"/>
              <dgm:constr type="w" for="ch" forName="Accent5" refType="w" fact="0.1348"/>
              <dgm:constr type="h" for="ch" forName="Accent5" refType="h" fact="0.806"/>
              <dgm:constr type="r" for="ch" forName="ParentBackground5" refType="w" fact="0.5848"/>
              <dgm:constr type="t" for="ch" forName="ParentBackground5" refType="h" fact="0.1262"/>
              <dgm:constr type="w" for="ch" forName="ParentBackground5" refType="w" fact="0.089"/>
              <dgm:constr type="h" for="ch" forName="ParentBackground5" refType="h" fact="0.5319"/>
              <dgm:constr type="r" for="ch" forName="Child5" refType="w" fact="0.5848"/>
              <dgm:constr type="t" for="ch" forName="Child5" refType="h" fact="0.6876"/>
              <dgm:constr type="w" for="ch" forName="Child5" refType="w" fact="0.089"/>
              <dgm:constr type="h" for="ch" forName="Child5" refType="h" fact="0.3124"/>
              <dgm:constr type="r" for="ch" forName="Accent4" refType="w" fact="0.7062"/>
              <dgm:constr type="t" for="ch" forName="Accent4" refType="h" fact="-0.0109"/>
              <dgm:constr type="w" for="ch" forName="Accent4" refType="w" fact="0.1348"/>
              <dgm:constr type="h" for="ch" forName="Accent4" refType="h" fact="0.806"/>
              <dgm:constr type="r" for="ch" forName="ParentBackground4" refType="w" fact="0.6833"/>
              <dgm:constr type="t" for="ch" forName="ParentBackground4" refType="h" fact="0.1262"/>
              <dgm:constr type="w" for="ch" forName="ParentBackground4" refType="w" fact="0.089"/>
              <dgm:constr type="h" for="ch" forName="ParentBackground4" refType="h" fact="0.5319"/>
              <dgm:constr type="r" for="ch" forName="Child4" refType="w" fact="0.6833"/>
              <dgm:constr type="t" for="ch" forName="Child4" refType="h" fact="0.6876"/>
              <dgm:constr type="w" for="ch" forName="Child4" refType="w" fact="0.089"/>
              <dgm:constr type="h" for="ch" forName="Child4" refType="h" fact="0.3124"/>
              <dgm:constr type="r" for="ch" forName="Accent3" refType="w" fact="0.8048"/>
              <dgm:constr type="t" for="ch" forName="Accent3" refType="h" fact="-0.0109"/>
              <dgm:constr type="w" for="ch" forName="Accent3" refType="w" fact="0.1348"/>
              <dgm:constr type="h" for="ch" forName="Accent3" refType="h" fact="0.806"/>
              <dgm:constr type="r" for="ch" forName="ParentBackground3" refType="w" fact="0.7818"/>
              <dgm:constr type="t" for="ch" forName="ParentBackground3" refType="h" fact="0.1262"/>
              <dgm:constr type="w" for="ch" forName="ParentBackground3" refType="w" fact="0.089"/>
              <dgm:constr type="h" for="ch" forName="ParentBackground3" refType="h" fact="0.5319"/>
              <dgm:constr type="r" for="ch" forName="Child3" refType="w" fact="0.7818"/>
              <dgm:constr type="t" for="ch" forName="Child3" refType="h" fact="0.6876"/>
              <dgm:constr type="w" for="ch" forName="Child3" refType="w" fact="0.089"/>
              <dgm:constr type="h" for="ch" forName="Child3" refType="h" fact="0.3124"/>
              <dgm:constr type="r" for="ch" forName="Accent2" refType="w" fact="0.9033"/>
              <dgm:constr type="t" for="ch" forName="Accent2" refType="h" fact="-0.0109"/>
              <dgm:constr type="w" for="ch" forName="Accent2" refType="w" fact="0.1348"/>
              <dgm:constr type="h" for="ch" forName="Accent2" refType="h" fact="0.806"/>
              <dgm:constr type="r" for="ch" forName="ParentBackground2" refType="w" fact="0.8804"/>
              <dgm:constr type="t" for="ch" forName="ParentBackground2" refType="h" fact="0.1262"/>
              <dgm:constr type="w" for="ch" forName="ParentBackground2" refType="w" fact="0.089"/>
              <dgm:constr type="h" for="ch" forName="ParentBackground2" refType="h" fact="0.5319"/>
              <dgm:constr type="r" for="ch" forName="Child2" refType="w" fact="0.8804"/>
              <dgm:constr type="t" for="ch" forName="Child2" refType="h" fact="0.6876"/>
              <dgm:constr type="w" for="ch" forName="Child2" refType="w" fact="0.089"/>
              <dgm:constr type="h" for="ch" forName="Child2" refType="h" fact="0.3124"/>
              <dgm:constr type="r" for="ch" forName="Accent1" refType="w" fact="1.0018"/>
              <dgm:constr type="t" for="ch" forName="Accent1" refType="h" fact="-0.0109"/>
              <dgm:constr type="w" for="ch" forName="Accent1" refType="w" fact="0.1348"/>
              <dgm:constr type="h" for="ch" forName="Accent1" refType="h" fact="0.806"/>
              <dgm:constr type="r" for="ch" forName="ParentBackground1" refType="w" fact="0.9789"/>
              <dgm:constr type="t" for="ch" forName="ParentBackground1" refType="h" fact="0.1262"/>
              <dgm:constr type="w" for="ch" forName="ParentBackground1" refType="w" fact="0.089"/>
              <dgm:constr type="h" for="ch" forName="ParentBackground1" refType="h" fact="0.5319"/>
              <dgm:constr type="r" for="ch" forName="Child1" refType="w" fact="0.9789"/>
              <dgm:constr type="t" for="ch" forName="Child1" refType="h" fact="0.6876"/>
              <dgm:constr type="w" for="ch" forName="Child1" refType="w" fact="0.089"/>
              <dgm:constr type="h" for="ch" forName="Child1" refType="h" fact="0.3124"/>
            </dgm:constrLst>
          </dgm:if>
          <dgm:else name="Name27">
            <dgm:alg type="composite">
              <dgm:param type="ar" val="6.5658"/>
            </dgm:alg>
            <dgm:constrLst>
              <dgm:constr type="primFontSz" for="des" forName="Child1" val="65"/>
              <dgm:constr type="primFontSz" for="des" forName="Parent1" val="65"/>
              <dgm:constr type="primFontSz" for="des" forName="Child1" refType="primFontSz" refFor="des" refForName="Parent1" op="lte"/>
              <dgm:constr type="primFontSz" for="des" forName="Child2" refType="primFontSz" refFor="des" refForName="Parent1" op="lte"/>
              <dgm:constr type="primFontSz" for="des" forName="Child3" refType="primFontSz" refFor="des" refForName="Parent1" op="lte"/>
              <dgm:constr type="primFontSz" for="des" forName="Child4" refType="primFontSz" refFor="des" refForName="Parent1" op="lte"/>
              <dgm:constr type="primFontSz" for="des" forName="Child5" refType="primFontSz" refFor="des" refForName="Parent1" op="lte"/>
              <dgm:constr type="primFontSz" for="des" forName="Child6" refType="primFontSz" refFor="des" refForName="Parent1" op="lte"/>
              <dgm:constr type="primFontSz" for="des" forName="Child7" refType="primFontSz" refFor="des" refForName="Parent1" op="lte"/>
              <dgm:constr type="primFontSz" for="des" forName="Child8" refType="primFontSz" refFor="des" refForName="Parent1" op="lte"/>
              <dgm:constr type="primFontSz" for="des" forName="Child9" refType="primFontSz" refFor="des" refForName="Parent1" op="lte"/>
              <dgm:constr type="primFontSz" for="des" forName="Child10" refType="primFontSz" refFor="des" refForName="Parent1" op="lte"/>
              <dgm:constr type="primFontSz" for="des" forName="Child11" refType="primFontSz" refFor="des" refForName="Parent1" op="lte"/>
              <dgm:constr type="primFontSz" for="des" forName="Child1" refType="primFontSz" refFor="des" refForName="Parent2" op="lte"/>
              <dgm:constr type="primFontSz" for="des" forName="Child2" refType="primFontSz" refFor="des" refForName="Parent2" op="lte"/>
              <dgm:constr type="primFontSz" for="des" forName="Child3" refType="primFontSz" refFor="des" refForName="Parent2" op="lte"/>
              <dgm:constr type="primFontSz" for="des" forName="Child4" refType="primFontSz" refFor="des" refForName="Parent2" op="lte"/>
              <dgm:constr type="primFontSz" for="des" forName="Child5" refType="primFontSz" refFor="des" refForName="Parent2" op="lte"/>
              <dgm:constr type="primFontSz" for="des" forName="Child6" refType="primFontSz" refFor="des" refForName="Parent2" op="lte"/>
              <dgm:constr type="primFontSz" for="des" forName="Child7" refType="primFontSz" refFor="des" refForName="Parent2" op="lte"/>
              <dgm:constr type="primFontSz" for="des" forName="Child8" refType="primFontSz" refFor="des" refForName="Parent2" op="lte"/>
              <dgm:constr type="primFontSz" for="des" forName="Child9" refType="primFontSz" refFor="des" refForName="Parent2" op="lte"/>
              <dgm:constr type="primFontSz" for="des" forName="Child10" refType="primFontSz" refFor="des" refForName="Parent2" op="lte"/>
              <dgm:constr type="primFontSz" for="des" forName="Child11" refType="primFontSz" refFor="des" refForName="Parent2" op="lte"/>
              <dgm:constr type="primFontSz" for="des" forName="Child1" refType="primFontSz" refFor="des" refForName="Parent3" op="lte"/>
              <dgm:constr type="primFontSz" for="des" forName="Child2" refType="primFontSz" refFor="des" refForName="Parent3" op="lte"/>
              <dgm:constr type="primFontSz" for="des" forName="Child3" refType="primFontSz" refFor="des" refForName="Parent3" op="lte"/>
              <dgm:constr type="primFontSz" for="des" forName="Child4" refType="primFontSz" refFor="des" refForName="Parent3" op="lte"/>
              <dgm:constr type="primFontSz" for="des" forName="Child5" refType="primFontSz" refFor="des" refForName="Parent3" op="lte"/>
              <dgm:constr type="primFontSz" for="des" forName="Child6" refType="primFontSz" refFor="des" refForName="Parent3" op="lte"/>
              <dgm:constr type="primFontSz" for="des" forName="Child7" refType="primFontSz" refFor="des" refForName="Parent3" op="lte"/>
              <dgm:constr type="primFontSz" for="des" forName="Child8" refType="primFontSz" refFor="des" refForName="Parent3" op="lte"/>
              <dgm:constr type="primFontSz" for="des" forName="Child9" refType="primFontSz" refFor="des" refForName="Parent3" op="lte"/>
              <dgm:constr type="primFontSz" for="des" forName="Child10" refType="primFontSz" refFor="des" refForName="Parent3" op="lte"/>
              <dgm:constr type="primFontSz" for="des" forName="Child11" refType="primFontSz" refFor="des" refForName="Parent3" op="lte"/>
              <dgm:constr type="primFontSz" for="des" forName="Child1" refType="primFontSz" refFor="des" refForName="Parent4" op="lte"/>
              <dgm:constr type="primFontSz" for="des" forName="Child2" refType="primFontSz" refFor="des" refForName="Parent4" op="lte"/>
              <dgm:constr type="primFontSz" for="des" forName="Child3" refType="primFontSz" refFor="des" refForName="Parent4" op="lte"/>
              <dgm:constr type="primFontSz" for="des" forName="Child4" refType="primFontSz" refFor="des" refForName="Parent4" op="lte"/>
              <dgm:constr type="primFontSz" for="des" forName="Child5" refType="primFontSz" refFor="des" refForName="Parent4" op="lte"/>
              <dgm:constr type="primFontSz" for="des" forName="Child6" refType="primFontSz" refFor="des" refForName="Parent4" op="lte"/>
              <dgm:constr type="primFontSz" for="des" forName="Child7" refType="primFontSz" refFor="des" refForName="Parent4" op="lte"/>
              <dgm:constr type="primFontSz" for="des" forName="Child8" refType="primFontSz" refFor="des" refForName="Parent4" op="lte"/>
              <dgm:constr type="primFontSz" for="des" forName="Child9" refType="primFontSz" refFor="des" refForName="Parent4" op="lte"/>
              <dgm:constr type="primFontSz" for="des" forName="Child10" refType="primFontSz" refFor="des" refForName="Parent4" op="lte"/>
              <dgm:constr type="primFontSz" for="des" forName="Child11" refType="primFontSz" refFor="des" refForName="Parent4" op="lte"/>
              <dgm:constr type="primFontSz" for="des" forName="Child1" refType="primFontSz" refFor="des" refForName="Parent5" op="lte"/>
              <dgm:constr type="primFontSz" for="des" forName="Child2" refType="primFontSz" refFor="des" refForName="Parent5" op="lte"/>
              <dgm:constr type="primFontSz" for="des" forName="Child3" refType="primFontSz" refFor="des" refForName="Parent5" op="lte"/>
              <dgm:constr type="primFontSz" for="des" forName="Child4" refType="primFontSz" refFor="des" refForName="Parent5" op="lte"/>
              <dgm:constr type="primFontSz" for="des" forName="Child5" refType="primFontSz" refFor="des" refForName="Parent5" op="lte"/>
              <dgm:constr type="primFontSz" for="des" forName="Child6" refType="primFontSz" refFor="des" refForName="Parent5" op="lte"/>
              <dgm:constr type="primFontSz" for="des" forName="Child7" refType="primFontSz" refFor="des" refForName="Parent5" op="lte"/>
              <dgm:constr type="primFontSz" for="des" forName="Child8" refType="primFontSz" refFor="des" refForName="Parent5" op="lte"/>
              <dgm:constr type="primFontSz" for="des" forName="Child9" refType="primFontSz" refFor="des" refForName="Parent5" op="lte"/>
              <dgm:constr type="primFontSz" for="des" forName="Child10" refType="primFontSz" refFor="des" refForName="Parent5" op="lte"/>
              <dgm:constr type="primFontSz" for="des" forName="Child11" refType="primFontSz" refFor="des" refForName="Parent5" op="lte"/>
              <dgm:constr type="primFontSz" for="des" forName="Child1" refType="primFontSz" refFor="des" refForName="Parent6" op="lte"/>
              <dgm:constr type="primFontSz" for="des" forName="Child2" refType="primFontSz" refFor="des" refForName="Parent6" op="lte"/>
              <dgm:constr type="primFontSz" for="des" forName="Child3" refType="primFontSz" refFor="des" refForName="Parent6" op="lte"/>
              <dgm:constr type="primFontSz" for="des" forName="Child4" refType="primFontSz" refFor="des" refForName="Parent6" op="lte"/>
              <dgm:constr type="primFontSz" for="des" forName="Child5" refType="primFontSz" refFor="des" refForName="Parent6" op="lte"/>
              <dgm:constr type="primFontSz" for="des" forName="Child6" refType="primFontSz" refFor="des" refForName="Parent6" op="lte"/>
              <dgm:constr type="primFontSz" for="des" forName="Child7" refType="primFontSz" refFor="des" refForName="Parent6" op="lte"/>
              <dgm:constr type="primFontSz" for="des" forName="Child8" refType="primFontSz" refFor="des" refForName="Parent6" op="lte"/>
              <dgm:constr type="primFontSz" for="des" forName="Child9" refType="primFontSz" refFor="des" refForName="Parent6" op="lte"/>
              <dgm:constr type="primFontSz" for="des" forName="Child10" refType="primFontSz" refFor="des" refForName="Parent6" op="lte"/>
              <dgm:constr type="primFontSz" for="des" forName="Child11" refType="primFontSz" refFor="des" refForName="Parent6" op="lte"/>
              <dgm:constr type="primFontSz" for="des" forName="Child1" refType="primFontSz" refFor="des" refForName="Parent7" op="lte"/>
              <dgm:constr type="primFontSz" for="des" forName="Child2" refType="primFontSz" refFor="des" refForName="Parent7" op="lte"/>
              <dgm:constr type="primFontSz" for="des" forName="Child3" refType="primFontSz" refFor="des" refForName="Parent7" op="lte"/>
              <dgm:constr type="primFontSz" for="des" forName="Child4" refType="primFontSz" refFor="des" refForName="Parent7" op="lte"/>
              <dgm:constr type="primFontSz" for="des" forName="Child5" refType="primFontSz" refFor="des" refForName="Parent7" op="lte"/>
              <dgm:constr type="primFontSz" for="des" forName="Child6" refType="primFontSz" refFor="des" refForName="Parent7" op="lte"/>
              <dgm:constr type="primFontSz" for="des" forName="Child7" refType="primFontSz" refFor="des" refForName="Parent7" op="lte"/>
              <dgm:constr type="primFontSz" for="des" forName="Child8" refType="primFontSz" refFor="des" refForName="Parent7" op="lte"/>
              <dgm:constr type="primFontSz" for="des" forName="Child9" refType="primFontSz" refFor="des" refForName="Parent7" op="lte"/>
              <dgm:constr type="primFontSz" for="des" forName="Child10" refType="primFontSz" refFor="des" refForName="Parent7" op="lte"/>
              <dgm:constr type="primFontSz" for="des" forName="Child11" refType="primFontSz" refFor="des" refForName="Parent7" op="lte"/>
              <dgm:constr type="primFontSz" for="des" forName="Child1" refType="primFontSz" refFor="des" refForName="Parent8" op="lte"/>
              <dgm:constr type="primFontSz" for="des" forName="Child2" refType="primFontSz" refFor="des" refForName="Parent8" op="lte"/>
              <dgm:constr type="primFontSz" for="des" forName="Child3" refType="primFontSz" refFor="des" refForName="Parent8" op="lte"/>
              <dgm:constr type="primFontSz" for="des" forName="Child4" refType="primFontSz" refFor="des" refForName="Parent8" op="lte"/>
              <dgm:constr type="primFontSz" for="des" forName="Child5" refType="primFontSz" refFor="des" refForName="Parent8" op="lte"/>
              <dgm:constr type="primFontSz" for="des" forName="Child6" refType="primFontSz" refFor="des" refForName="Parent8" op="lte"/>
              <dgm:constr type="primFontSz" for="des" forName="Child7" refType="primFontSz" refFor="des" refForName="Parent8" op="lte"/>
              <dgm:constr type="primFontSz" for="des" forName="Child8" refType="primFontSz" refFor="des" refForName="Parent8" op="lte"/>
              <dgm:constr type="primFontSz" for="des" forName="Child9" refType="primFontSz" refFor="des" refForName="Parent8" op="lte"/>
              <dgm:constr type="primFontSz" for="des" forName="Child10" refType="primFontSz" refFor="des" refForName="Parent8" op="lte"/>
              <dgm:constr type="primFontSz" for="des" forName="Child11" refType="primFontSz" refFor="des" refForName="Parent8" op="lte"/>
              <dgm:constr type="primFontSz" for="des" forName="Child1" refType="primFontSz" refFor="des" refForName="Parent9" op="lte"/>
              <dgm:constr type="primFontSz" for="des" forName="Child2" refType="primFontSz" refFor="des" refForName="Parent9" op="lte"/>
              <dgm:constr type="primFontSz" for="des" forName="Child3" refType="primFontSz" refFor="des" refForName="Parent9" op="lte"/>
              <dgm:constr type="primFontSz" for="des" forName="Child4" refType="primFontSz" refFor="des" refForName="Parent9" op="lte"/>
              <dgm:constr type="primFontSz" for="des" forName="Child5" refType="primFontSz" refFor="des" refForName="Parent9" op="lte"/>
              <dgm:constr type="primFontSz" for="des" forName="Child6" refType="primFontSz" refFor="des" refForName="Parent9" op="lte"/>
              <dgm:constr type="primFontSz" for="des" forName="Child7" refType="primFontSz" refFor="des" refForName="Parent9" op="lte"/>
              <dgm:constr type="primFontSz" for="des" forName="Child8" refType="primFontSz" refFor="des" refForName="Parent9" op="lte"/>
              <dgm:constr type="primFontSz" for="des" forName="Child9" refType="primFontSz" refFor="des" refForName="Parent9" op="lte"/>
              <dgm:constr type="primFontSz" for="des" forName="Child10" refType="primFontSz" refFor="des" refForName="Parent9" op="lte"/>
              <dgm:constr type="primFontSz" for="des" forName="Child11" refType="primFontSz" refFor="des" refForName="Parent9" op="lte"/>
              <dgm:constr type="primFontSz" for="des" forName="Child1" refType="primFontSz" refFor="des" refForName="Parent10" op="lte"/>
              <dgm:constr type="primFontSz" for="des" forName="Child2" refType="primFontSz" refFor="des" refForName="Parent10" op="lte"/>
              <dgm:constr type="primFontSz" for="des" forName="Child3" refType="primFontSz" refFor="des" refForName="Parent10" op="lte"/>
              <dgm:constr type="primFontSz" for="des" forName="Child4" refType="primFontSz" refFor="des" refForName="Parent10" op="lte"/>
              <dgm:constr type="primFontSz" for="des" forName="Child5" refType="primFontSz" refFor="des" refForName="Parent10" op="lte"/>
              <dgm:constr type="primFontSz" for="des" forName="Child6" refType="primFontSz" refFor="des" refForName="Parent10" op="lte"/>
              <dgm:constr type="primFontSz" for="des" forName="Child7" refType="primFontSz" refFor="des" refForName="Parent10" op="lte"/>
              <dgm:constr type="primFontSz" for="des" forName="Child8" refType="primFontSz" refFor="des" refForName="Parent10" op="lte"/>
              <dgm:constr type="primFontSz" for="des" forName="Child9" refType="primFontSz" refFor="des" refForName="Parent10" op="lte"/>
              <dgm:constr type="primFontSz" for="des" forName="Child10" refType="primFontSz" refFor="des" refForName="Parent10" op="lte"/>
              <dgm:constr type="primFontSz" for="des" forName="Child11" refType="primFontSz" refFor="des" refForName="Parent10" op="lte"/>
              <dgm:constr type="primFontSz" for="des" forName="Child1" refType="primFontSz" refFor="des" refForName="Parent11" op="lte"/>
              <dgm:constr type="primFontSz" for="des" forName="Child2" refType="primFontSz" refFor="des" refForName="Parent11" op="lte"/>
              <dgm:constr type="primFontSz" for="des" forName="Child3" refType="primFontSz" refFor="des" refForName="Parent11" op="lte"/>
              <dgm:constr type="primFontSz" for="des" forName="Child4" refType="primFontSz" refFor="des" refForName="Parent11" op="lte"/>
              <dgm:constr type="primFontSz" for="des" forName="Child5" refType="primFontSz" refFor="des" refForName="Parent11" op="lte"/>
              <dgm:constr type="primFontSz" for="des" forName="Child6" refType="primFontSz" refFor="des" refForName="Parent11" op="lte"/>
              <dgm:constr type="primFontSz" for="des" forName="Child7" refType="primFontSz" refFor="des" refForName="Parent11" op="lte"/>
              <dgm:constr type="primFontSz" for="des" forName="Child8" refType="primFontSz" refFor="des" refForName="Parent11" op="lte"/>
              <dgm:constr type="primFontSz" for="des" forName="Child9" refType="primFontSz" refFor="des" refForName="Parent11" op="lte"/>
              <dgm:constr type="primFontSz" for="des" forName="Child10" refType="primFontSz" refFor="des" refForName="Parent11" op="lte"/>
              <dgm:constr type="primFontSz" for="des" forName="Child11" refType="primFontSz" refFor="des" refForName="Parent11" op="lte"/>
              <dgm:constr type="primFontSz" for="des" forName="Parent2" refType="primFontSz" refFor="des" refForName="Parent1" op="equ"/>
              <dgm:constr type="primFontSz" for="des" forName="Parent3" refType="primFontSz" refFor="des" refForName="Parent1" op="equ"/>
              <dgm:constr type="primFontSz" for="des" forName="Parent4" refType="primFontSz" refFor="des" refForName="Parent1" op="equ"/>
              <dgm:constr type="primFontSz" for="des" forName="Parent5" refType="primFontSz" refFor="des" refForName="Parent1" op="equ"/>
              <dgm:constr type="primFontSz" for="des" forName="Parent6" refType="primFontSz" refFor="des" refForName="Parent1" op="equ"/>
              <dgm:constr type="primFontSz" for="des" forName="Parent7" refType="primFontSz" refFor="des" refForName="Parent1" op="equ"/>
              <dgm:constr type="primFontSz" for="des" forName="Parent8" refType="primFontSz" refFor="des" refForName="Parent1" op="equ"/>
              <dgm:constr type="primFontSz" for="des" forName="Parent9" refType="primFontSz" refFor="des" refForName="Parent1" op="equ"/>
              <dgm:constr type="primFontSz" for="des" forName="Parent10" refType="primFontSz" refFor="des" refForName="Parent1" op="equ"/>
              <dgm:constr type="primFontSz" for="des" forName="Parent11" refType="primFontSz" refFor="des" refForName="Parent1" op="equ"/>
              <dgm:constr type="primFontSz" for="des" forName="Child2" refType="primFontSz" refFor="des" refForName="Child1" op="equ"/>
              <dgm:constr type="primFontSz" for="des" forName="Child3" refType="primFontSz" refFor="des" refForName="Child1" op="equ"/>
              <dgm:constr type="primFontSz" for="des" forName="Child4" refType="primFontSz" refFor="des" refForName="Child1" op="equ"/>
              <dgm:constr type="primFontSz" for="des" forName="Child5" refType="primFontSz" refFor="des" refForName="Child1" op="equ"/>
              <dgm:constr type="primFontSz" for="des" forName="Child6" refType="primFontSz" refFor="des" refForName="Child1" op="equ"/>
              <dgm:constr type="primFontSz" for="des" forName="Child7" refType="primFontSz" refFor="des" refForName="Child1" op="equ"/>
              <dgm:constr type="primFontSz" for="des" forName="Child8" refType="primFontSz" refFor="des" refForName="Child1" op="equ"/>
              <dgm:constr type="primFontSz" for="des" forName="Child9" refType="primFontSz" refFor="des" refForName="Child1" op="equ"/>
              <dgm:constr type="primFontSz" for="des" forName="Child10" refType="primFontSz" refFor="des" refForName="Child1" op="equ"/>
              <dgm:constr type="primFontSz" for="des" forName="Child11" refType="primFontSz" refFor="des" refForName="Child1" op="equ"/>
              <dgm:constr type="r" for="ch" forName="Parent11" refType="w" fact="0.0723"/>
              <dgm:constr type="t" for="ch" forName="Parent11" refType="h" fact="0.2022"/>
              <dgm:constr type="w" for="ch" forName="Parent11" refType="w" fact="0.0579"/>
              <dgm:constr type="h" for="ch" forName="Parent11" refType="h" fact="0.3799"/>
              <dgm:constr type="r" for="ch" forName="Parent10" refType="w" fact="0.162"/>
              <dgm:constr type="t" for="ch" forName="Parent10" refType="h" fact="0.2022"/>
              <dgm:constr type="w" for="ch" forName="Parent10" refType="w" fact="0.0579"/>
              <dgm:constr type="h" for="ch" forName="Parent10" refType="h" fact="0.3799"/>
              <dgm:constr type="r" for="ch" forName="Parent9" refType="w" fact="0.2517"/>
              <dgm:constr type="t" for="ch" forName="Parent9" refType="h" fact="0.2022"/>
              <dgm:constr type="w" for="ch" forName="Parent9" refType="w" fact="0.0579"/>
              <dgm:constr type="h" for="ch" forName="Parent9" refType="h" fact="0.3799"/>
              <dgm:constr type="r" for="ch" forName="Parent8" refType="w" fact="0.3414"/>
              <dgm:constr type="t" for="ch" forName="Parent8" refType="h" fact="0.2022"/>
              <dgm:constr type="w" for="ch" forName="Parent8" refType="w" fact="0.0579"/>
              <dgm:constr type="h" for="ch" forName="Parent8" refType="h" fact="0.3799"/>
              <dgm:constr type="r" for="ch" forName="Parent7" refType="w" fact="0.4311"/>
              <dgm:constr type="t" for="ch" forName="Parent7" refType="h" fact="0.2022"/>
              <dgm:constr type="w" for="ch" forName="Parent7" refType="w" fact="0.0579"/>
              <dgm:constr type="h" for="ch" forName="Parent7" refType="h" fact="0.3799"/>
              <dgm:constr type="r" for="ch" forName="Parent6" refType="w" fact="0.5208"/>
              <dgm:constr type="t" for="ch" forName="Parent6" refType="h" fact="0.2022"/>
              <dgm:constr type="w" for="ch" forName="Parent6" refType="w" fact="0.0579"/>
              <dgm:constr type="h" for="ch" forName="Parent6" refType="h" fact="0.3799"/>
              <dgm:constr type="r" for="ch" forName="Parent5" refType="w" fact="0.6105"/>
              <dgm:constr type="t" for="ch" forName="Parent5" refType="h" fact="0.2022"/>
              <dgm:constr type="w" for="ch" forName="Parent5" refType="w" fact="0.0579"/>
              <dgm:constr type="h" for="ch" forName="Parent5" refType="h" fact="0.3799"/>
              <dgm:constr type="r" for="ch" forName="Parent4" refType="w" fact="0.7001"/>
              <dgm:constr type="t" for="ch" forName="Parent4" refType="h" fact="0.2022"/>
              <dgm:constr type="w" for="ch" forName="Parent4" refType="w" fact="0.0579"/>
              <dgm:constr type="h" for="ch" forName="Parent4" refType="h" fact="0.3799"/>
              <dgm:constr type="r" for="ch" forName="Parent3" refType="w" fact="0.7898"/>
              <dgm:constr type="t" for="ch" forName="Parent3" refType="h" fact="0.2022"/>
              <dgm:constr type="w" for="ch" forName="Parent3" refType="w" fact="0.0579"/>
              <dgm:constr type="h" for="ch" forName="Parent3" refType="h" fact="0.3799"/>
              <dgm:constr type="r" for="ch" forName="Parent2" refType="w" fact="0.8795"/>
              <dgm:constr type="t" for="ch" forName="Parent2" refType="h" fact="0.2022"/>
              <dgm:constr type="w" for="ch" forName="Parent2" refType="w" fact="0.0579"/>
              <dgm:constr type="h" for="ch" forName="Parent2" refType="h" fact="0.3799"/>
              <dgm:constr type="r" for="ch" forName="Parent1" refType="w" fact="0.9692"/>
              <dgm:constr type="t" for="ch" forName="Parent1" refType="h" fact="0.2022"/>
              <dgm:constr type="w" for="ch" forName="Parent1" refType="w" fact="0.0579"/>
              <dgm:constr type="h" for="ch" forName="Parent1" refType="h" fact="0.3799"/>
              <dgm:constr type="r" for="ch" forName="Accent11" refType="w" fact="0.0868"/>
              <dgm:constr type="t" for="ch" forName="Accent11" refType="h" fact="0.1072"/>
              <dgm:constr type="w" for="ch" forName="Accent11" refType="w" fact="0.0868"/>
              <dgm:constr type="h" for="ch" forName="Accent11" refType="h" fact="0.5699"/>
              <dgm:constr type="r" for="ch" forName="ParentBackground11" refType="w" fact="0.0839"/>
              <dgm:constr type="t" for="ch" forName="ParentBackground11" refType="h" fact="0.1262"/>
              <dgm:constr type="w" for="ch" forName="ParentBackground11" refType="w" fact="0.081"/>
              <dgm:constr type="h" for="ch" forName="ParentBackground11" refType="h" fact="0.5319"/>
              <dgm:constr type="r" for="ch" forName="Child11" refType="w" fact="0.0839"/>
              <dgm:constr type="t" for="ch" forName="Child11" refType="h" fact="0.6876"/>
              <dgm:constr type="w" for="ch" forName="Child11" refType="w" fact="0.081"/>
              <dgm:constr type="h" for="ch" forName="Child11" refType="h" fact="0.3124"/>
              <dgm:constr type="r" for="ch" forName="Accent10" refType="w" fact="0.1945"/>
              <dgm:constr type="t" for="ch" forName="Accent10" refType="h" fact="-0.0109"/>
              <dgm:constr type="w" for="ch" forName="Accent10" refType="w" fact="0.1228"/>
              <dgm:constr type="h" for="ch" forName="Accent10" refType="h" fact="0.806"/>
              <dgm:constr type="r" for="ch" forName="ParentBackground10" refType="w" fact="0.1736"/>
              <dgm:constr type="t" for="ch" forName="ParentBackground10" refType="h" fact="0.1262"/>
              <dgm:constr type="w" for="ch" forName="ParentBackground10" refType="w" fact="0.081"/>
              <dgm:constr type="h" for="ch" forName="ParentBackground10" refType="h" fact="0.5319"/>
              <dgm:constr type="r" for="ch" forName="Child10" refType="w" fact="0.1736"/>
              <dgm:constr type="t" for="ch" forName="Child10" refType="h" fact="0.6876"/>
              <dgm:constr type="w" for="ch" forName="Child10" refType="w" fact="0.081"/>
              <dgm:constr type="h" for="ch" forName="Child10" refType="h" fact="0.3124"/>
              <dgm:constr type="r" for="ch" forName="Accent9" refType="w" fact="0.2842"/>
              <dgm:constr type="t" for="ch" forName="Accent9" refType="h" fact="-0.0109"/>
              <dgm:constr type="w" for="ch" forName="Accent9" refType="w" fact="0.1228"/>
              <dgm:constr type="h" for="ch" forName="Accent9" refType="h" fact="0.806"/>
              <dgm:constr type="r" for="ch" forName="ParentBackground9" refType="w" fact="0.2633"/>
              <dgm:constr type="t" for="ch" forName="ParentBackground9" refType="h" fact="0.1262"/>
              <dgm:constr type="w" for="ch" forName="ParentBackground9" refType="w" fact="0.081"/>
              <dgm:constr type="h" for="ch" forName="ParentBackground9" refType="h" fact="0.5319"/>
              <dgm:constr type="r" for="ch" forName="Child9" refType="w" fact="0.2633"/>
              <dgm:constr type="t" for="ch" forName="Child9" refType="h" fact="0.6876"/>
              <dgm:constr type="w" for="ch" forName="Child9" refType="w" fact="0.081"/>
              <dgm:constr type="h" for="ch" forName="Child9" refType="h" fact="0.3124"/>
              <dgm:constr type="r" for="ch" forName="Accent8" refType="w" fact="0.3739"/>
              <dgm:constr type="t" for="ch" forName="Accent8" refType="h" fact="-0.0109"/>
              <dgm:constr type="w" for="ch" forName="Accent8" refType="w" fact="0.1228"/>
              <dgm:constr type="h" for="ch" forName="Accent8" refType="h" fact="0.806"/>
              <dgm:constr type="r" for="ch" forName="ParentBackground8" refType="w" fact="0.353"/>
              <dgm:constr type="t" for="ch" forName="ParentBackground8" refType="h" fact="0.1262"/>
              <dgm:constr type="w" for="ch" forName="ParentBackground8" refType="w" fact="0.081"/>
              <dgm:constr type="h" for="ch" forName="ParentBackground8" refType="h" fact="0.5319"/>
              <dgm:constr type="r" for="ch" forName="Child8" refType="w" fact="0.353"/>
              <dgm:constr type="t" for="ch" forName="Child8" refType="h" fact="0.6876"/>
              <dgm:constr type="w" for="ch" forName="Child8" refType="w" fact="0.081"/>
              <dgm:constr type="h" for="ch" forName="Child8" refType="h" fact="0.3124"/>
              <dgm:constr type="r" for="ch" forName="Accent7" refType="w" fact="0.4636"/>
              <dgm:constr type="t" for="ch" forName="Accent7" refType="h" fact="-0.0109"/>
              <dgm:constr type="w" for="ch" forName="Accent7" refType="w" fact="0.1228"/>
              <dgm:constr type="h" for="ch" forName="Accent7" refType="h" fact="0.806"/>
              <dgm:constr type="r" for="ch" forName="ParentBackground7" refType="w" fact="0.4427"/>
              <dgm:constr type="t" for="ch" forName="ParentBackground7" refType="h" fact="0.1262"/>
              <dgm:constr type="w" for="ch" forName="ParentBackground7" refType="w" fact="0.081"/>
              <dgm:constr type="h" for="ch" forName="ParentBackground7" refType="h" fact="0.5319"/>
              <dgm:constr type="r" for="ch" forName="Child7" refType="w" fact="0.4427"/>
              <dgm:constr type="t" for="ch" forName="Child7" refType="h" fact="0.6876"/>
              <dgm:constr type="w" for="ch" forName="Child7" refType="w" fact="0.081"/>
              <dgm:constr type="h" for="ch" forName="Child7" refType="h" fact="0.3124"/>
              <dgm:constr type="r" for="ch" forName="Accent6" refType="w" fact="0.5533"/>
              <dgm:constr type="t" for="ch" forName="Accent6" refType="h" fact="-0.0109"/>
              <dgm:constr type="w" for="ch" forName="Accent6" refType="w" fact="0.1228"/>
              <dgm:constr type="h" for="ch" forName="Accent6" refType="h" fact="0.806"/>
              <dgm:constr type="r" for="ch" forName="ParentBackground6" refType="w" fact="0.5323"/>
              <dgm:constr type="t" for="ch" forName="ParentBackground6" refType="h" fact="0.1262"/>
              <dgm:constr type="w" for="ch" forName="ParentBackground6" refType="w" fact="0.081"/>
              <dgm:constr type="h" for="ch" forName="ParentBackground6" refType="h" fact="0.5319"/>
              <dgm:constr type="r" for="ch" forName="Child6" refType="w" fact="0.5323"/>
              <dgm:constr type="t" for="ch" forName="Child6" refType="h" fact="0.6876"/>
              <dgm:constr type="w" for="ch" forName="Child6" refType="w" fact="0.081"/>
              <dgm:constr type="h" for="ch" forName="Child6" refType="h" fact="0.3124"/>
              <dgm:constr type="r" for="ch" forName="Accent5" refType="w" fact="0.6429"/>
              <dgm:constr type="t" for="ch" forName="Accent5" refType="h" fact="-0.0109"/>
              <dgm:constr type="w" for="ch" forName="Accent5" refType="w" fact="0.1228"/>
              <dgm:constr type="h" for="ch" forName="Accent5" refType="h" fact="0.806"/>
              <dgm:constr type="r" for="ch" forName="ParentBackground5" refType="w" fact="0.622"/>
              <dgm:constr type="t" for="ch" forName="ParentBackground5" refType="h" fact="0.1262"/>
              <dgm:constr type="w" for="ch" forName="ParentBackground5" refType="w" fact="0.081"/>
              <dgm:constr type="h" for="ch" forName="ParentBackground5" refType="h" fact="0.5319"/>
              <dgm:constr type="r" for="ch" forName="Child5" refType="w" fact="0.622"/>
              <dgm:constr type="t" for="ch" forName="Child5" refType="h" fact="0.6876"/>
              <dgm:constr type="w" for="ch" forName="Child5" refType="w" fact="0.081"/>
              <dgm:constr type="h" for="ch" forName="Child5" refType="h" fact="0.3124"/>
              <dgm:constr type="r" for="ch" forName="Accent4" refType="w" fact="0.7326"/>
              <dgm:constr type="t" for="ch" forName="Accent4" refType="h" fact="-0.0109"/>
              <dgm:constr type="w" for="ch" forName="Accent4" refType="w" fact="0.1228"/>
              <dgm:constr type="h" for="ch" forName="Accent4" refType="h" fact="0.806"/>
              <dgm:constr type="r" for="ch" forName="ParentBackground4" refType="w" fact="0.7117"/>
              <dgm:constr type="t" for="ch" forName="ParentBackground4" refType="h" fact="0.1262"/>
              <dgm:constr type="w" for="ch" forName="ParentBackground4" refType="w" fact="0.081"/>
              <dgm:constr type="h" for="ch" forName="ParentBackground4" refType="h" fact="0.5319"/>
              <dgm:constr type="r" for="ch" forName="Child4" refType="w" fact="0.7117"/>
              <dgm:constr type="t" for="ch" forName="Child4" refType="h" fact="0.6876"/>
              <dgm:constr type="w" for="ch" forName="Child4" refType="w" fact="0.081"/>
              <dgm:constr type="h" for="ch" forName="Child4" refType="h" fact="0.3124"/>
              <dgm:constr type="r" for="ch" forName="Accent3" refType="w" fact="0.8223"/>
              <dgm:constr type="t" for="ch" forName="Accent3" refType="h" fact="-0.0109"/>
              <dgm:constr type="w" for="ch" forName="Accent3" refType="w" fact="0.1228"/>
              <dgm:constr type="h" for="ch" forName="Accent3" refType="h" fact="0.806"/>
              <dgm:constr type="r" for="ch" forName="ParentBackground3" refType="w" fact="0.8014"/>
              <dgm:constr type="t" for="ch" forName="ParentBackground3" refType="h" fact="0.1262"/>
              <dgm:constr type="w" for="ch" forName="ParentBackground3" refType="w" fact="0.081"/>
              <dgm:constr type="h" for="ch" forName="ParentBackground3" refType="h" fact="0.5319"/>
              <dgm:constr type="r" for="ch" forName="Child3" refType="w" fact="0.8014"/>
              <dgm:constr type="t" for="ch" forName="Child3" refType="h" fact="0.6876"/>
              <dgm:constr type="w" for="ch" forName="Child3" refType="w" fact="0.081"/>
              <dgm:constr type="h" for="ch" forName="Child3" refType="h" fact="0.3124"/>
              <dgm:constr type="r" for="ch" forName="Accent2" refType="w" fact="0.912"/>
              <dgm:constr type="t" for="ch" forName="Accent2" refType="h" fact="-0.0109"/>
              <dgm:constr type="w" for="ch" forName="Accent2" refType="w" fact="0.1228"/>
              <dgm:constr type="h" for="ch" forName="Accent2" refType="h" fact="0.806"/>
              <dgm:constr type="r" for="ch" forName="ParentBackground2" refType="w" fact="0.8911"/>
              <dgm:constr type="t" for="ch" forName="ParentBackground2" refType="h" fact="0.1262"/>
              <dgm:constr type="w" for="ch" forName="ParentBackground2" refType="w" fact="0.081"/>
              <dgm:constr type="h" for="ch" forName="ParentBackground2" refType="h" fact="0.5319"/>
              <dgm:constr type="r" for="ch" forName="Child2" refType="w" fact="0.8911"/>
              <dgm:constr type="t" for="ch" forName="Child2" refType="h" fact="0.6876"/>
              <dgm:constr type="w" for="ch" forName="Child2" refType="w" fact="0.081"/>
              <dgm:constr type="h" for="ch" forName="Child2" refType="h" fact="0.3124"/>
              <dgm:constr type="r" for="ch" forName="Accent1" refType="w" fact="1.0017"/>
              <dgm:constr type="t" for="ch" forName="Accent1" refType="h" fact="-0.0109"/>
              <dgm:constr type="w" for="ch" forName="Accent1" refType="w" fact="0.1228"/>
              <dgm:constr type="h" for="ch" forName="Accent1" refType="h" fact="0.806"/>
              <dgm:constr type="r" for="ch" forName="ParentBackground1" refType="w" fact="0.9808"/>
              <dgm:constr type="t" for="ch" forName="ParentBackground1" refType="h" fact="0.1262"/>
              <dgm:constr type="w" for="ch" forName="ParentBackground1" refType="w" fact="0.081"/>
              <dgm:constr type="h" for="ch" forName="ParentBackground1" refType="h" fact="0.5319"/>
              <dgm:constr type="r" for="ch" forName="Child1" refType="w" fact="0.9808"/>
              <dgm:constr type="t" for="ch" forName="Child1" refType="h" fact="0.6876"/>
              <dgm:constr type="w" for="ch" forName="Child1" refType="w" fact="0.081"/>
              <dgm:constr type="h" for="ch" forName="Child1" refType="h" fact="0.3124"/>
            </dgm:constrLst>
          </dgm:else>
        </dgm:choose>
      </dgm:else>
    </dgm:choose>
    <dgm:forEach name="wrapper" axis="self" ptType="parTrans">
      <dgm:forEach name="accentRepeat" axis="self">
        <dgm:layoutNode name="Accent" styleLbl="node1">
          <dgm:alg type="sp"/>
          <dgm:choose name="Name28">
            <dgm:if name="Name29" axis="followSib" ptType="node" func="cnt" op="equ" val="0">
              <dgm:shape xmlns:r="http://schemas.openxmlformats.org/officeDocument/2006/relationships" type="ellipse" r:blip="">
                <dgm:adjLst/>
              </dgm:shape>
            </dgm:if>
            <dgm:else name="Name30">
              <dgm:choose name="Name31">
                <dgm:if name="Name32" axis="precedSib" ptType="node" func="cnt" op="equ" val="10">
                  <dgm:shape xmlns:r="http://schemas.openxmlformats.org/officeDocument/2006/relationships" type="ellipse" r:blip="">
                    <dgm:adjLst/>
                  </dgm:shape>
                </dgm:if>
                <dgm:else name="Name33">
                  <dgm:choose name="Name34">
                    <dgm:if name="Name35" func="var" arg="dir" op="equ" val="norm">
                      <dgm:shape xmlns:r="http://schemas.openxmlformats.org/officeDocument/2006/relationships" rot="45" type="teardrop" r:blip="">
                        <dgm:adjLst>
                          <dgm:adj idx="1" val="1"/>
                        </dgm:adjLst>
                      </dgm:shape>
                    </dgm:if>
                    <dgm:else name="Name36">
                      <dgm:shape xmlns:r="http://schemas.openxmlformats.org/officeDocument/2006/relationships" rot="225" type="teardrop" r:blip="">
                        <dgm:adjLst>
                          <dgm:adj idx="1" val="1"/>
                        </dgm:adjLst>
                      </dgm:shape>
                    </dgm:else>
                  </dgm:choose>
                </dgm:else>
              </dgm:choose>
            </dgm:else>
          </dgm:choose>
          <dgm:presOf/>
        </dgm:layoutNode>
      </dgm:forEach>
      <dgm:forEach name="parentBackgroundRepeat" axis="self">
        <dgm:layoutNode name="ParentBackground" styleLbl="fgAcc1">
          <dgm:alg type="sp"/>
          <dgm:shape xmlns:r="http://schemas.openxmlformats.org/officeDocument/2006/relationships" type="ellipse" r:blip="">
            <dgm:adjLst/>
          </dgm:shape>
          <dgm:presOf axis="self" ptType="node"/>
        </dgm:layoutNode>
      </dgm:forEach>
    </dgm:forEach>
    <dgm:forEach name="Name37" axis="ch" ptType="node" st="11" cnt="1">
      <dgm:layoutNode name="Accent11">
        <dgm:alg type="sp"/>
        <dgm:shape xmlns:r="http://schemas.openxmlformats.org/officeDocument/2006/relationships" r:blip="">
          <dgm:adjLst/>
        </dgm:shape>
        <dgm:presOf/>
        <dgm:constrLst/>
        <dgm:forEach name="Name38" ref="accentRepeat"/>
      </dgm:layoutNode>
      <dgm:layoutNode name="ParentBackground11">
        <dgm:alg type="sp"/>
        <dgm:shape xmlns:r="http://schemas.openxmlformats.org/officeDocument/2006/relationships" r:blip="">
          <dgm:adjLst/>
        </dgm:shape>
        <dgm:presOf/>
        <dgm:forEach name="Name39" ref="parentBackgroundRepeat"/>
      </dgm:layoutNode>
      <dgm:choose name="Name40">
        <dgm:if name="Name41" axis="ch" ptType="node" func="cnt" op="gte" val="1">
          <dgm:layoutNode name="Child1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2"/>
      </dgm:choose>
      <dgm:layoutNode name="Parent1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3" axis="ch" ptType="node" st="10" cnt="1">
      <dgm:layoutNode name="Accent10">
        <dgm:alg type="sp"/>
        <dgm:shape xmlns:r="http://schemas.openxmlformats.org/officeDocument/2006/relationships" r:blip="">
          <dgm:adjLst/>
        </dgm:shape>
        <dgm:presOf/>
        <dgm:constrLst/>
        <dgm:forEach name="Name44" ref="accentRepeat"/>
      </dgm:layoutNode>
      <dgm:layoutNode name="ParentBackground10">
        <dgm:alg type="sp"/>
        <dgm:shape xmlns:r="http://schemas.openxmlformats.org/officeDocument/2006/relationships" r:blip="">
          <dgm:adjLst/>
        </dgm:shape>
        <dgm:presOf/>
        <dgm:forEach name="Name45" ref="parentBackgroundRepeat"/>
      </dgm:layoutNode>
      <dgm:choose name="Name46">
        <dgm:if name="Name47" axis="ch" ptType="node" func="cnt" op="gte" val="1">
          <dgm:layoutNode name="Child10"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8"/>
      </dgm:choose>
      <dgm:layoutNode name="Parent10"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49" axis="ch" ptType="node" st="9" cnt="1">
      <dgm:layoutNode name="Accent9">
        <dgm:alg type="sp"/>
        <dgm:shape xmlns:r="http://schemas.openxmlformats.org/officeDocument/2006/relationships" r:blip="">
          <dgm:adjLst/>
        </dgm:shape>
        <dgm:presOf/>
        <dgm:constrLst/>
        <dgm:forEach name="Name50" ref="accentRepeat"/>
      </dgm:layoutNode>
      <dgm:layoutNode name="ParentBackground9">
        <dgm:alg type="sp"/>
        <dgm:shape xmlns:r="http://schemas.openxmlformats.org/officeDocument/2006/relationships" r:blip="">
          <dgm:adjLst/>
        </dgm:shape>
        <dgm:presOf/>
        <dgm:forEach name="Name51" ref="parentBackgroundRepeat"/>
      </dgm:layoutNode>
      <dgm:choose name="Name52">
        <dgm:if name="Name53" axis="ch" ptType="node" func="cnt" op="gte" val="1">
          <dgm:layoutNode name="Child9"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4"/>
      </dgm:choose>
      <dgm:layoutNode name="Parent9"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55" axis="ch" ptType="node" st="8" cnt="1">
      <dgm:layoutNode name="Accent8">
        <dgm:alg type="sp"/>
        <dgm:shape xmlns:r="http://schemas.openxmlformats.org/officeDocument/2006/relationships" r:blip="">
          <dgm:adjLst/>
        </dgm:shape>
        <dgm:presOf/>
        <dgm:constrLst/>
        <dgm:forEach name="Name56" ref="accentRepeat"/>
      </dgm:layoutNode>
      <dgm:layoutNode name="ParentBackground8">
        <dgm:alg type="sp"/>
        <dgm:shape xmlns:r="http://schemas.openxmlformats.org/officeDocument/2006/relationships" r:blip="">
          <dgm:adjLst/>
        </dgm:shape>
        <dgm:presOf/>
        <dgm:forEach name="Name57" ref="parentBackgroundRepeat"/>
      </dgm:layoutNode>
      <dgm:choose name="Name58">
        <dgm:if name="Name59" axis="ch" ptType="node" func="cnt" op="gte" val="1">
          <dgm:layoutNode name="Child8"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0"/>
      </dgm:choose>
      <dgm:layoutNode name="Parent8"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1" axis="ch" ptType="node" st="7" cnt="1">
      <dgm:layoutNode name="Accent7">
        <dgm:alg type="sp"/>
        <dgm:shape xmlns:r="http://schemas.openxmlformats.org/officeDocument/2006/relationships" r:blip="">
          <dgm:adjLst/>
        </dgm:shape>
        <dgm:presOf/>
        <dgm:constrLst/>
        <dgm:forEach name="Name62" ref="accentRepeat"/>
      </dgm:layoutNode>
      <dgm:layoutNode name="ParentBackground7">
        <dgm:alg type="sp"/>
        <dgm:shape xmlns:r="http://schemas.openxmlformats.org/officeDocument/2006/relationships" r:blip="">
          <dgm:adjLst/>
        </dgm:shape>
        <dgm:presOf/>
        <dgm:forEach name="Name63" ref="parentBackgroundRepeat"/>
      </dgm:layoutNode>
      <dgm:choose name="Name64">
        <dgm:if name="Name65" axis="ch" ptType="node" func="cnt" op="gte" val="1">
          <dgm:layoutNode name="Child7"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66"/>
      </dgm:choose>
      <dgm:layoutNode name="Parent7"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67" axis="ch" ptType="node" st="6" cnt="1">
      <dgm:layoutNode name="Accent6">
        <dgm:alg type="sp"/>
        <dgm:shape xmlns:r="http://schemas.openxmlformats.org/officeDocument/2006/relationships" r:blip="">
          <dgm:adjLst/>
        </dgm:shape>
        <dgm:presOf/>
        <dgm:constrLst/>
        <dgm:forEach name="Name68" ref="accentRepeat"/>
      </dgm:layoutNode>
      <dgm:layoutNode name="ParentBackground6">
        <dgm:alg type="sp"/>
        <dgm:shape xmlns:r="http://schemas.openxmlformats.org/officeDocument/2006/relationships" r:blip="">
          <dgm:adjLst/>
        </dgm:shape>
        <dgm:presOf/>
        <dgm:forEach name="Name69" ref="parentBackgroundRepeat"/>
      </dgm:layoutNode>
      <dgm:choose name="Name70">
        <dgm:if name="Name71" axis="ch" ptType="node" func="cnt" op="gte" val="1">
          <dgm:layoutNode name="Child6"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2"/>
      </dgm:choose>
      <dgm:layoutNode name="Parent6"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3" axis="ch" ptType="node" st="5" cnt="1">
      <dgm:layoutNode name="Accent5">
        <dgm:alg type="sp"/>
        <dgm:shape xmlns:r="http://schemas.openxmlformats.org/officeDocument/2006/relationships" r:blip="">
          <dgm:adjLst/>
        </dgm:shape>
        <dgm:presOf/>
        <dgm:constrLst/>
        <dgm:forEach name="Name74" ref="accentRepeat"/>
      </dgm:layoutNode>
      <dgm:layoutNode name="ParentBackground5">
        <dgm:alg type="sp"/>
        <dgm:shape xmlns:r="http://schemas.openxmlformats.org/officeDocument/2006/relationships" r:blip="">
          <dgm:adjLst/>
        </dgm:shape>
        <dgm:presOf/>
        <dgm:forEach name="Name75" ref="parentBackgroundRepeat"/>
      </dgm:layoutNode>
      <dgm:choose name="Name76">
        <dgm:if name="Name77" axis="ch" ptType="node" func="cnt" op="gte" val="1">
          <dgm:layoutNode name="Child5"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78"/>
      </dgm:choose>
      <dgm:layoutNode name="Parent5"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79" axis="ch" ptType="node" st="4" cnt="1">
      <dgm:layoutNode name="Accent4">
        <dgm:alg type="sp"/>
        <dgm:shape xmlns:r="http://schemas.openxmlformats.org/officeDocument/2006/relationships" r:blip="">
          <dgm:adjLst/>
        </dgm:shape>
        <dgm:presOf/>
        <dgm:constrLst/>
        <dgm:forEach name="Name80" ref="accentRepeat"/>
      </dgm:layoutNode>
      <dgm:layoutNode name="ParentBackground4">
        <dgm:alg type="sp"/>
        <dgm:shape xmlns:r="http://schemas.openxmlformats.org/officeDocument/2006/relationships" r:blip="">
          <dgm:adjLst/>
        </dgm:shape>
        <dgm:presOf/>
        <dgm:forEach name="Name81" ref="parentBackgroundRepeat"/>
      </dgm:layoutNode>
      <dgm:choose name="Name82">
        <dgm:if name="Name83" axis="ch" ptType="node" func="cnt" op="gte" val="1">
          <dgm:layoutNode name="Child4"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4"/>
      </dgm:choose>
      <dgm:layoutNode name="Parent4"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85" axis="ch" ptType="node" st="3" cnt="1">
      <dgm:layoutNode name="Accent3">
        <dgm:alg type="sp"/>
        <dgm:shape xmlns:r="http://schemas.openxmlformats.org/officeDocument/2006/relationships" r:blip="">
          <dgm:adjLst/>
        </dgm:shape>
        <dgm:presOf/>
        <dgm:constrLst/>
        <dgm:forEach name="Name86" ref="accentRepeat"/>
      </dgm:layoutNode>
      <dgm:layoutNode name="ParentBackground3">
        <dgm:alg type="sp"/>
        <dgm:shape xmlns:r="http://schemas.openxmlformats.org/officeDocument/2006/relationships" r:blip="">
          <dgm:adjLst/>
        </dgm:shape>
        <dgm:presOf/>
        <dgm:forEach name="Name87" ref="parentBackgroundRepeat"/>
      </dgm:layoutNode>
      <dgm:choose name="Name88">
        <dgm:if name="Name89" axis="ch" ptType="node" func="cnt" op="gte" val="1">
          <dgm:layoutNode name="Child3"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0"/>
      </dgm:choose>
      <dgm:layoutNode name="Parent3"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1" axis="ch" ptType="node" st="2" cnt="1">
      <dgm:layoutNode name="Accent2">
        <dgm:alg type="sp"/>
        <dgm:shape xmlns:r="http://schemas.openxmlformats.org/officeDocument/2006/relationships" r:blip="">
          <dgm:adjLst/>
        </dgm:shape>
        <dgm:presOf/>
        <dgm:constrLst/>
        <dgm:forEach name="Name92" ref="accentRepeat"/>
      </dgm:layoutNode>
      <dgm:layoutNode name="ParentBackground2" styleLbl="fgAcc1">
        <dgm:alg type="sp"/>
        <dgm:shape xmlns:r="http://schemas.openxmlformats.org/officeDocument/2006/relationships" r:blip="">
          <dgm:adjLst/>
        </dgm:shape>
        <dgm:presOf/>
        <dgm:forEach name="Name93" ref="parentBackgroundRepeat"/>
      </dgm:layoutNode>
      <dgm:choose name="Name94">
        <dgm:if name="Name95" axis="ch" ptType="node" func="cnt" op="gte" val="1">
          <dgm:layoutNode name="Child2"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96"/>
      </dgm:choose>
      <dgm:layoutNode name="Parent2"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forEach name="Name97" axis="ch" ptType="node" cnt="1">
      <dgm:layoutNode name="Accent1">
        <dgm:alg type="sp"/>
        <dgm:shape xmlns:r="http://schemas.openxmlformats.org/officeDocument/2006/relationships" r:blip="">
          <dgm:adjLst/>
        </dgm:shape>
        <dgm:presOf/>
        <dgm:constrLst/>
        <dgm:forEach name="Name98" ref="accentRepeat"/>
      </dgm:layoutNode>
      <dgm:layoutNode name="ParentBackground1">
        <dgm:alg type="sp"/>
        <dgm:shape xmlns:r="http://schemas.openxmlformats.org/officeDocument/2006/relationships" r:blip="">
          <dgm:adjLst/>
        </dgm:shape>
        <dgm:presOf/>
        <dgm:forEach name="Name99" ref="parentBackgroundRepeat"/>
      </dgm:layoutNode>
      <dgm:choose name="Name100">
        <dgm:if name="Name101" axis="ch" ptType="node" func="cnt" op="gte" val="1">
          <dgm:layoutNode name="Child1" styleLbl="revTx">
            <dgm:varLst>
              <dgm:chMax val="0"/>
              <dgm:chPref val="0"/>
              <dgm:bulletEnabled val="1"/>
            </dgm:varLst>
            <dgm:alg type="tx">
              <dgm:param type="stBulletLvl" val="1"/>
              <dgm:param type="parTxLTRAlign" val="l"/>
              <dgm:param type="txAnchorVert" val="t"/>
            </dgm:alg>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02"/>
      </dgm:choose>
      <dgm:layoutNode name="Parent1" styleLbl="revTx">
        <dgm:varLst>
          <dgm:chMax val="1"/>
          <dgm:chPref val="1"/>
          <dgm:bulletEnabled val="1"/>
        </dgm:varLst>
        <dgm:alg type="tx">
          <dgm:param type="shpTxLTRAlignCh" val="ctr"/>
          <dgm:param type="txAnchorVertCh" val="mid"/>
        </dgm:alg>
        <dgm:shape xmlns:r="http://schemas.openxmlformats.org/officeDocument/2006/relationships" type="rect" r:blip="" hideGeom="1">
          <dgm:adjLst/>
        </dgm:shape>
        <dgm:presOf axis="self" ptType="node"/>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forEach>
  </dgm:layoutNode>
</dgm:layoutDef>
</file>

<file path=ppt/diagrams/layout15.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16.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layout1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8.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19.xml><?xml version="1.0" encoding="utf-8"?>
<dgm:layoutDef xmlns:dgm="http://schemas.openxmlformats.org/drawingml/2006/diagram" xmlns:a="http://schemas.openxmlformats.org/drawingml/2006/main" uniqueId="urn:microsoft.com/office/officeart/2008/layout/AccentedPicture">
  <dgm:title val=""/>
  <dgm:desc val=""/>
  <dgm:catLst>
    <dgm:cat type="picture" pri="1000"/>
    <dgm:cat type="pictureconvert" pri="1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varLst>
    <dgm:alg type="composite"/>
    <dgm:shape xmlns:r="http://schemas.openxmlformats.org/officeDocument/2006/relationships" r:blip="">
      <dgm:adjLst/>
    </dgm:shape>
    <dgm:choose name="Name1">
      <dgm:if name="Name2" axis="ch" ptType="node" func="cnt" op="lte" val="1">
        <dgm:constrLst>
          <dgm:constr type="h" for="ch" forName="picture_1" refType="h"/>
          <dgm:constr type="w" for="ch" forName="picture_1" refType="h" refFor="ch" refForName="picture_1" op="equ" fact="0.784"/>
          <dgm:constr type="l" for="ch" forName="picture_1"/>
          <dgm:constr type="t" for="ch" forName="picture_1"/>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
        </dgm:constrLst>
      </dgm:if>
      <dgm:if name="Name3" axis="ch" ptType="node" func="cnt" op="lte" val="5">
        <dgm:choose name="Name4">
          <dgm:if name="Name5" func="var" arg="dir" op="equ" val="norm">
            <dgm:constrLst>
              <dgm:constr type="h" for="ch" forName="picture_1" refType="h" fact="0.909"/>
              <dgm:constr type="w" for="ch" forName="picture_1" refType="h" refFor="ch" refForName="picture_1" op="equ" fact="0.784"/>
              <dgm:constr type="l" for="ch" forName="picture_1"/>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r" refFor="ch" refForName="picture_1"/>
              <dgm:constr type="h" for="des" forName="pair" refType="h" refFor="ch" refForName="picture_1" fact="0.27"/>
              <dgm:constr type="h" for="des" forName="spaceV" refType="h" refFor="ch" refForName="picture_1" fact="0.0486"/>
              <dgm:constr type="l" for="ch" forName="maxNode" refType="r" refFor="ch" refForName="picture_1"/>
              <dgm:constr type="lOff" for="ch" forName="maxNode" refType="h" refFor="des" refForName="pair" fact="0.5"/>
              <dgm:constr type="r" for="ch" forName="maxNode" refType="w"/>
              <dgm:constr type="t" for="ch" forName="maxNode"/>
              <dgm:constr type="h" for="ch" forName="maxNode" val="1"/>
              <dgm:constr type="userW" for="des" forName="desText" refType="w" refFor="ch" refForName="maxNode"/>
            </dgm:constrLst>
          </dgm:if>
          <dgm:else name="Name6">
            <dgm:constrLst>
              <dgm:constr type="h" for="ch" forName="picture_1" refType="h" fact="0.909"/>
              <dgm:constr type="w" for="ch" forName="picture_1" refType="h" refFor="ch" refForName="picture_1" op="equ" fact="0.784"/>
              <dgm:constr type="r" for="ch" forName="picture_1" refType="w"/>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r" for="ch" forName="text_1" refType="w"/>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l" refFor="ch" refForName="picture_1"/>
              <dgm:constr type="h" for="des" forName="pair" refType="h" refFor="ch" refForName="picture_1" fact="0.27"/>
              <dgm:constr type="h" for="des" forName="spaceV" refType="h" refFor="ch" refForName="picture_1" fact="0.0486"/>
              <dgm:constr type="r" for="ch" forName="maxNode" refType="l" refFor="ch" refForName="picture_1"/>
              <dgm:constr type="rOff" for="ch" forName="maxNode" refType="h" refFor="des" refForName="pair" fact="-0.5"/>
              <dgm:constr type="l" for="ch" forName="maxNode"/>
              <dgm:constr type="t" for="ch" forName="maxNode"/>
              <dgm:constr type="h" for="ch" forName="maxNode" val="1"/>
              <dgm:constr type="userW" for="des" forName="desText" refType="w" refFor="ch" refForName="maxNode"/>
            </dgm:constrLst>
          </dgm:else>
        </dgm:choose>
      </dgm:if>
      <dgm:else name="Name7">
        <dgm:choose name="Name8">
          <dgm:if name="Name9" func="var" arg="dir" op="equ" val="norm">
            <dgm:constrLst>
              <dgm:constr type="h" for="ch" forName="picture_1" refType="h" fact="0.909"/>
              <dgm:constr type="w" for="ch" forName="picture_1" refType="h" refFor="ch" refForName="picture_1" op="equ" fact="0.784"/>
              <dgm:constr type="l" for="ch" forName="picture_1"/>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r" refFor="ch" refForName="picture_1"/>
              <dgm:constr type="h" for="des" forName="pair" refType="h" refFor="ch" refForName="picture_1" fact="0.27"/>
              <dgm:constr type="h" for="des" forName="spaceV" refType="h" refFor="ch" refForName="picture_1" fact="0.0486"/>
              <dgm:constr type="l" for="ch" forName="maxNode" refType="r" refFor="ch" refForName="picture_1"/>
              <dgm:constr type="lOff" for="ch" forName="maxNode" refType="h" refFor="des" refForName="pair" fact="0.5"/>
              <dgm:constr type="r" for="ch" forName="maxNode" refType="w"/>
              <dgm:constr type="t" for="ch" forName="maxNode"/>
              <dgm:constr type="h" for="ch" forName="maxNode" val="1"/>
              <dgm:constr type="userW" for="des" forName="desText" refType="w" refFor="ch" refForName="maxNode"/>
            </dgm:constrLst>
          </dgm:if>
          <dgm:else name="Name10">
            <dgm:constrLst>
              <dgm:constr type="h" for="ch" forName="picture_1" refType="h" fact="0.909"/>
              <dgm:constr type="w" for="ch" forName="picture_1" refType="h" refFor="ch" refForName="picture_1" op="equ" fact="0.784"/>
              <dgm:constr type="r" for="ch" forName="picture_1" refType="w"/>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r" for="ch" forName="text_1" refType="w"/>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l" refFor="ch" refForName="picture_1"/>
              <dgm:constr type="h" for="des" forName="pair" refType="h" refFor="ch" refForName="picture_1" fact="0.27"/>
              <dgm:constr type="h" for="des" forName="spaceV" refType="h" refFor="ch" refForName="picture_1" fact="0.0486"/>
              <dgm:constr type="r" for="ch" forName="maxNode" refType="l" refFor="ch" refForName="picture_1"/>
              <dgm:constr type="rOff" for="ch" forName="maxNode" refType="h" refFor="des" refForName="pair" fact="-0.5"/>
              <dgm:constr type="l" for="ch" forName="maxNode"/>
              <dgm:constr type="t" for="ch" forName="maxNode"/>
              <dgm:constr type="h" for="ch" forName="maxNode" val="1"/>
              <dgm:constr type="userW" for="des" forName="desText" refType="w" refFor="ch" refForName="maxNode"/>
            </dgm:constrLst>
          </dgm:else>
        </dgm:choose>
      </dgm:else>
    </dgm:choose>
    <dgm:forEach name="Name11" axis="ch" ptType="sibTrans" hideLastTrans="0" cnt="1">
      <dgm:layoutNode name="picture_1" styleLbl="bgImgPlace1">
        <dgm:alg type="sp"/>
        <dgm:shape xmlns:r="http://schemas.openxmlformats.org/officeDocument/2006/relationships" type="roundRect" r:blip="" blipPhldr="1">
          <dgm:adjLst/>
        </dgm:shape>
        <dgm:presOf axis="self"/>
      </dgm:layoutNode>
    </dgm:forEach>
    <dgm:forEach name="Name12" axis="ch" ptType="node" cnt="1">
      <dgm:layoutNode name="text_1" styleLbl="node1">
        <dgm:varLst>
          <dgm:bulletEnabled val="1"/>
        </dgm:varLst>
        <dgm:choose name="Name13">
          <dgm:if name="Name14" func="var" arg="dir" op="equ" val="norm">
            <dgm:alg type="tx">
              <dgm:param type="txAnchorVert" val="b"/>
              <dgm:param type="parTxLTRAlign" val="l"/>
              <dgm:param type="shpTxLTRAlignCh" val="l"/>
              <dgm:param type="parTxRTLAlign" val="l"/>
              <dgm:param type="shpTxRTLAlignCh" val="l"/>
            </dgm:alg>
          </dgm:if>
          <dgm:else name="Name15">
            <dgm:alg type="tx">
              <dgm:param type="txAnchorVert" val="b"/>
              <dgm:param type="parTxLTRAlign" val="r"/>
              <dgm:param type="shpTxLTRAlignCh" val="r"/>
              <dgm:param type="parTxRTLAlign" val="r"/>
              <dgm:param type="shpTxRTLAlignCh" val="r"/>
            </dgm:alg>
          </dgm:else>
        </dgm:choose>
        <dgm:shape xmlns:r="http://schemas.openxmlformats.org/officeDocument/2006/relationships" type="rect" r:blip="" hideGeom="1">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forEach>
    <dgm:choose name="Name16">
      <dgm:if name="Name17" axis="ch" ptType="node" func="cnt" op="gte" val="2">
        <dgm:layoutNode name="linV">
          <dgm:choose name="Name18">
            <dgm:if name="Name19" func="var" arg="dir" op="equ" val="norm">
              <dgm:alg type="lin">
                <dgm:param type="linDir" val="fromT"/>
                <dgm:param type="vertAlign" val="t"/>
                <dgm:param type="fallback" val="1D"/>
                <dgm:param type="horzAlign" val="l"/>
                <dgm:param type="nodeHorzAlign" val="l"/>
              </dgm:alg>
            </dgm:if>
            <dgm:else name="Name20">
              <dgm:alg type="lin">
                <dgm:param type="linDir" val="fromT"/>
                <dgm:param type="vertAlign" val="t"/>
                <dgm:param type="fallback" val="1D"/>
                <dgm:param type="horzAlign" val="r"/>
                <dgm:param type="nodeHorzAlign" val="r"/>
              </dgm:alg>
            </dgm:else>
          </dgm:choose>
          <dgm:shape xmlns:r="http://schemas.openxmlformats.org/officeDocument/2006/relationships" r:blip="">
            <dgm:adjLst/>
          </dgm:shape>
          <dgm:constrLst>
            <dgm:constr type="w" for="ch" forName="spaceV" val="1"/>
            <dgm:constr type="w" for="ch" forName="pair" refType="w" op="equ"/>
            <dgm:constr type="w" for="des" forName="desText" op="equ"/>
            <dgm:constr type="primFontSz" for="des" forName="desText" op="equ" val="65"/>
          </dgm:constrLst>
          <dgm:forEach name="Name21" axis="ch" ptType="node" st="2">
            <dgm:layoutNode name="pair">
              <dgm:alg type="composite"/>
              <dgm:shape xmlns:r="http://schemas.openxmlformats.org/officeDocument/2006/relationships" r:blip="">
                <dgm:adjLst/>
              </dgm:shape>
              <dgm:choose name="Name22">
                <dgm:if name="Name23" func="var" arg="dir" op="equ" val="norm">
                  <dgm:constrLst>
                    <dgm:constr type="userC"/>
                    <dgm:constr type="l" for="ch" forName="spaceH"/>
                    <dgm:constr type="r" for="ch" forName="spaceH" refType="userC"/>
                    <dgm:constr type="ctrY" for="ch" forName="spaceH" refType="w" fact="0.5"/>
                    <dgm:constr type="h" for="ch" forName="spaceH" val="1"/>
                    <dgm:constr type="w" for="ch" forName="desPictures" refType="h"/>
                    <dgm:constr type="h" for="ch" forName="desPictures" refType="w" refFor="ch" refForName="desPictures" op="equ"/>
                    <dgm:constr type="ctrX" for="ch" forName="desPictures" refType="userC"/>
                    <dgm:constr type="ctrY" for="ch" forName="desPictures" refType="w" fact="0.5"/>
                    <dgm:constr type="l" for="ch" forName="desTextWrapper" refType="r" refFor="ch" refForName="desPictures"/>
                    <dgm:constr type="ctrY" for="ch" forName="desTextWrapper" refType="w" fact="0.5"/>
                    <dgm:constr type="h" for="ch" forName="desTextWrapper" refType="h"/>
                    <dgm:constr type="h" for="des" forName="desText" refType="h"/>
                  </dgm:constrLst>
                </dgm:if>
                <dgm:else name="Name24">
                  <dgm:constrLst>
                    <dgm:constr type="userC"/>
                    <dgm:constr type="r" for="ch" forName="spaceH" refType="w"/>
                    <dgm:constr type="l" for="ch" forName="spaceH" refType="userC"/>
                    <dgm:constr type="ctrY" for="ch" forName="spaceH" refType="w" fact="0.5"/>
                    <dgm:constr type="h" for="ch" forName="spaceH" val="1"/>
                    <dgm:constr type="w" for="ch" forName="desPictures" refType="h"/>
                    <dgm:constr type="h" for="ch" forName="desPictures" refType="w" refFor="ch" refForName="desPictures" op="equ"/>
                    <dgm:constr type="ctrX" for="ch" forName="desPictures" refType="userC"/>
                    <dgm:constr type="ctrY" for="ch" forName="desPictures" refType="w" fact="0.5"/>
                    <dgm:constr type="r" for="ch" forName="desTextWrapper" refType="l" refFor="ch" refForName="desPictures"/>
                    <dgm:constr type="ctrY" for="ch" forName="desTextWrapper" refType="w" fact="0.5"/>
                    <dgm:constr type="h" for="ch" forName="desTextWrapper" refType="h"/>
                    <dgm:constr type="h" for="des" forName="desText" refType="h"/>
                  </dgm:constrLst>
                </dgm:else>
              </dgm:choose>
              <dgm:layoutNode name="spaceH">
                <dgm:alg type="sp"/>
                <dgm:shape xmlns:r="http://schemas.openxmlformats.org/officeDocument/2006/relationships" type="rect" r:blip="" hideGeom="1">
                  <dgm:adjLst/>
                </dgm:shape>
                <dgm:presOf/>
              </dgm:layoutNode>
              <dgm:layoutNode name="desPictures" styleLbl="alignImgPlace1">
                <dgm:alg type="sp"/>
                <dgm:shape xmlns:r="http://schemas.openxmlformats.org/officeDocument/2006/relationships" type="ellipse" r:blip="" blipPhldr="1">
                  <dgm:adjLst/>
                </dgm:shape>
                <dgm:presOf/>
              </dgm:layoutNode>
              <dgm:layoutNode name="desTextWrapper">
                <dgm:choose name="Name25">
                  <dgm:if name="Name26" func="var" arg="dir" op="equ" val="norm">
                    <dgm:alg type="lin">
                      <dgm:param type="horzAlign" val="l"/>
                    </dgm:alg>
                  </dgm:if>
                  <dgm:else name="Name27">
                    <dgm:alg type="lin">
                      <dgm:param type="horzAlign" val="r"/>
                    </dgm:alg>
                  </dgm:else>
                </dgm:choose>
                <dgm:layoutNode name="desText" styleLbl="revTx">
                  <dgm:varLst>
                    <dgm:bulletEnabled val="1"/>
                  </dgm:varLst>
                  <dgm:choose name="Name28">
                    <dgm:if name="Name29" func="var" arg="dir" op="equ" val="norm">
                      <dgm:alg type="tx">
                        <dgm:param type="parTxLTRAlign" val="l"/>
                        <dgm:param type="shpTxLTRAlignCh" val="l"/>
                        <dgm:param type="parTxRTLAlign" val="r"/>
                        <dgm:param type="shpTxRTLAlignCh" val="r"/>
                      </dgm:alg>
                    </dgm:if>
                    <dgm:else name="Name30">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2"/>
                    <dgm:constr type="rMarg" refType="primFontSz" fact="0.2"/>
                    <dgm:constr type="tMarg" refType="primFontSz" fact="0.1"/>
                    <dgm:constr type="bMarg" refType="primFontSz" fact="0.1"/>
                  </dgm:constrLst>
                  <dgm:ruleLst>
                    <dgm:rule type="w" val="NaN" fact="1" max="NaN"/>
                    <dgm:rule type="primFontSz" val="5" fact="NaN" max="NaN"/>
                  </dgm:ruleLst>
                </dgm:layoutNode>
              </dgm:layoutNode>
            </dgm:layoutNode>
            <dgm:forEach name="Name31" axis="followSib" ptType="sibTrans" cnt="1">
              <dgm:layoutNode name="spaceV">
                <dgm:alg type="sp"/>
                <dgm:shape xmlns:r="http://schemas.openxmlformats.org/officeDocument/2006/relationships" r:blip="">
                  <dgm:adjLst/>
                </dgm:shape>
                <dgm:presOf/>
              </dgm:layoutNode>
            </dgm:forEach>
          </dgm:forEach>
        </dgm:layoutNode>
      </dgm:if>
      <dgm:else name="Name32"/>
    </dgm:choose>
    <dgm:layoutNode name="maxNode">
      <dgm:alg type="lin"/>
      <dgm:shape xmlns:r="http://schemas.openxmlformats.org/officeDocument/2006/relationships" r:blip="">
        <dgm:adjLst/>
      </dgm:shape>
      <dgm:presOf/>
      <dgm:constrLst>
        <dgm:constr type="w" for="ch"/>
        <dgm:constr type="h" for="ch"/>
      </dgm:constrLst>
      <dgm:layoutNode name="Name33">
        <dgm:alg type="sp"/>
        <dgm:shape xmlns:r="http://schemas.openxmlformats.org/officeDocument/2006/relationships" r:blip="">
          <dgm:adjLst/>
        </dgm:shape>
        <dgm:presOf/>
      </dgm:layoutNode>
    </dgm:layoutNode>
  </dgm:layoutNode>
</dgm:layoutDef>
</file>

<file path=ppt/diagrams/layout2.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9/3/layout/SubStepProcess">
  <dgm:title val=""/>
  <dgm:desc val=""/>
  <dgm:catLst>
    <dgm:cat type="process" pri="12250"/>
  </dgm:catLst>
  <dgm:sampData>
    <dgm:dataModel>
      <dgm:ptLst>
        <dgm:pt modelId="0" type="doc"/>
        <dgm:pt modelId="1">
          <dgm:prSet phldr="1"/>
        </dgm:pt>
        <dgm:pt modelId="11">
          <dgm:prSet phldr="1"/>
        </dgm:pt>
        <dgm:pt modelId="12">
          <dgm:prSet phldr="1"/>
        </dgm:pt>
        <dgm:pt modelId="2">
          <dgm:prSet phldr="1"/>
        </dgm:pt>
        <dgm:pt modelId="3">
          <dgm:prSet phldr="1"/>
        </dgm:pt>
      </dgm:ptLst>
      <dgm:cxnLst>
        <dgm:cxn modelId="6" srcId="0" destId="1" srcOrd="0" destOrd="0"/>
        <dgm:cxn modelId="61" srcId="1" destId="11" srcOrd="0" destOrd="0"/>
        <dgm:cxn modelId="62" srcId="1" destId="12" srcOrd="1" destOrd="0"/>
        <dgm:cxn modelId="7" srcId="0" destId="2" srcOrd="0" destOrd="0"/>
        <dgm:cxn modelId="8" srcId="0" destId="3" srcOrd="0" destOrd="0"/>
      </dgm:cxnLst>
      <dgm:bg/>
      <dgm:whole/>
    </dgm:dataModel>
  </dgm:sampData>
  <dgm:styleData>
    <dgm:dataModel>
      <dgm:ptLst>
        <dgm:pt modelId="0" type="doc"/>
        <dgm:pt modelId="1">
          <dgm:prSet phldr="1"/>
        </dgm:pt>
        <dgm:pt modelId="11">
          <dgm:prSet phldr="1"/>
        </dgm:pt>
        <dgm:pt modelId="12">
          <dgm:prSet phldr="1"/>
        </dgm:pt>
        <dgm:pt modelId="2">
          <dgm:prSet phldr="1"/>
        </dgm:pt>
      </dgm:ptLst>
      <dgm:cxnLst>
        <dgm:cxn modelId="4" srcId="0" destId="1" srcOrd="0" destOrd="0"/>
        <dgm:cxn modelId="41" srcId="1" destId="11" srcOrd="0" destOrd="0"/>
        <dgm:cxn modelId="42" srcId="1" destId="12" srcOrd="1" destOrd="0"/>
        <dgm:cxn modelId="5" srcId="0" destId="2" srcOrd="0" destOrd="0"/>
      </dgm:cxnLst>
      <dgm:bg/>
      <dgm:whole/>
    </dgm:dataModel>
  </dgm:styleData>
  <dgm:clrData>
    <dgm:dataModel>
      <dgm:ptLst>
        <dgm:pt modelId="0" type="doc"/>
        <dgm:pt modelId="1">
          <dgm:prSet phldr="1"/>
        </dgm:pt>
        <dgm:pt modelId="11">
          <dgm:prSet phldr="1"/>
        </dgm:pt>
        <dgm:pt modelId="12">
          <dgm:prSet phldr="1"/>
        </dgm:pt>
        <dgm:pt modelId="2">
          <dgm:prSet phldr="1"/>
        </dgm:pt>
        <dgm:pt modelId="3">
          <dgm:prSet phldr="1"/>
        </dgm:pt>
        <dgm:pt modelId="4">
          <dgm:prSet phldr="1"/>
        </dgm:pt>
      </dgm:ptLst>
      <dgm:cxnLst>
        <dgm:cxn modelId="8" srcId="0" destId="1" srcOrd="0" destOrd="0"/>
        <dgm:cxn modelId="81" srcId="1" destId="11" srcOrd="0" destOrd="0"/>
        <dgm:cxn modelId="82" srcId="1" destId="12" srcOrd="1" destOrd="0"/>
        <dgm:cxn modelId="9" srcId="0" destId="2" srcOrd="0" destOrd="0"/>
        <dgm:cxn modelId="10" srcId="0" destId="3" srcOrd="0" destOrd="0"/>
        <dgm:cxn modelId="11" srcId="0" destId="4" srcOrd="0" destOrd="0"/>
      </dgm:cxnLst>
      <dgm:bg/>
      <dgm:whole/>
    </dgm:dataModel>
  </dgm:clrData>
  <dgm:layoutNode name="Name0">
    <dgm:varLst>
      <dgm:chMax val="7"/>
      <dgm:dir/>
      <dgm:animOne val="branch"/>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parTx1" refType="w"/>
      <dgm:constr type="w" for="ch" forName="chLin1" refType="w" refFor="ch" refForName="parTx1" fact="1.38"/>
      <dgm:constr type="h" for="ch" forName="chLin1" refType="h"/>
      <dgm:constr type="w" for="ch" forName="spPre1" refType="w" fact="0.27"/>
      <dgm:constr type="w" for="ch" forName="spPost1" refType="w" fact="0.27"/>
      <dgm:constr type="h" for="ch" forName="spPre1" refType="h"/>
      <dgm:constr type="h" for="ch" forName="spPost1" refType="h"/>
      <dgm:constr type="primFontSz" for="ch" forName="parTx1" val="65"/>
      <dgm:constr type="primFontSz" for="des" forName="desTx1" refType="primFontSz" refFor="ch" refForName="parTx1" fact="0.78"/>
      <dgm:constr type="primFontSz" for="des" forName="desTx1" op="equ"/>
      <dgm:constr type="w" for="ch" forName="parTx2" refType="w"/>
      <dgm:constr type="w" for="ch" forName="chLin2" refType="w" refFor="ch" refForName="parTx2" fact="1.38"/>
      <dgm:constr type="h" for="ch" forName="chLin2" refType="h"/>
      <dgm:constr type="w" for="ch" forName="spPre2" refType="w" fact="0.54"/>
      <dgm:constr type="w" for="ch" forName="spPost2" refType="w" fact="0.54"/>
      <dgm:constr type="h" for="ch" forName="spPre2" refType="h"/>
      <dgm:constr type="h" for="ch" forName="spPost2" refType="h"/>
      <dgm:constr type="primFontSz" for="ch" forName="parTx2" refType="primFontSz" refFor="ch" refForName="parTx1" op="equ"/>
      <dgm:constr type="primFontSz" for="des" forName="desTx2" refType="primFontSz" refFor="des" refForName="desTx1" op="equ"/>
      <dgm:constr type="w" for="ch" forName="parTx3" refType="w"/>
      <dgm:constr type="w" for="ch" forName="chLin3" refType="w" refFor="ch" refForName="parTx3" fact="1.38"/>
      <dgm:constr type="h" for="ch" forName="chLin3" refType="h"/>
      <dgm:constr type="w" for="ch" forName="spPre3" refType="w" fact="0.54"/>
      <dgm:constr type="w" for="ch" forName="spPost3" refType="w" fact="0.54"/>
      <dgm:constr type="h" for="ch" forName="spPre3" refType="h"/>
      <dgm:constr type="h" for="ch" forName="spPost3" refType="h"/>
      <dgm:constr type="primFontSz" for="ch" forName="parTx3" refType="primFontSz" refFor="ch" refForName="parTx1" op="equ"/>
      <dgm:constr type="primFontSz" for="des" forName="desTx3" refType="primFontSz" refFor="des" refForName="desTx1" op="equ"/>
      <dgm:constr type="w" for="ch" forName="parTx4" refType="w"/>
      <dgm:constr type="w" for="ch" forName="chLin4" refType="w" refFor="ch" refForName="parTx4" fact="1.38"/>
      <dgm:constr type="h" for="ch" forName="chLin4" refType="h"/>
      <dgm:constr type="w" for="ch" forName="spPre4" refType="w" fact="0.54"/>
      <dgm:constr type="w" for="ch" forName="spPost4" refType="w" fact="0.54"/>
      <dgm:constr type="h" for="ch" forName="spPre4" refType="h"/>
      <dgm:constr type="h" for="ch" forName="spPost4" refType="h"/>
      <dgm:constr type="primFontSz" for="ch" forName="parTx4" refType="primFontSz" refFor="ch" refForName="parTx1" op="equ"/>
      <dgm:constr type="primFontSz" for="des" forName="desTx4" refType="primFontSz" refFor="des" refForName="desTx1" op="equ"/>
      <dgm:constr type="w" for="ch" forName="parTx5" refType="w"/>
      <dgm:constr type="w" for="ch" forName="chLin5" refType="w" refFor="ch" refForName="parTx5" fact="1.38"/>
      <dgm:constr type="h" for="ch" forName="chLin5" refType="h"/>
      <dgm:constr type="w" for="ch" forName="spPre5" refType="w" fact="0.54"/>
      <dgm:constr type="w" for="ch" forName="spPost5" refType="w" fact="0.54"/>
      <dgm:constr type="h" for="ch" forName="spPre5" refType="h"/>
      <dgm:constr type="h" for="ch" forName="spPost5" refType="h"/>
      <dgm:constr type="primFontSz" for="ch" forName="parTx5" refType="primFontSz" refFor="ch" refForName="parTx1" op="equ"/>
      <dgm:constr type="primFontSz" for="des" forName="desTx5" refType="primFontSz" refFor="des" refForName="desTx1" op="equ"/>
      <dgm:constr type="w" for="ch" forName="parTx6" refType="w"/>
      <dgm:constr type="w" for="ch" forName="chLin6" refType="w" refFor="ch" refForName="parTx6" fact="1.38"/>
      <dgm:constr type="h" for="ch" forName="chLin6" refType="h"/>
      <dgm:constr type="w" for="ch" forName="spPre6" refType="w" fact="0.54"/>
      <dgm:constr type="w" for="ch" forName="spPost6" refType="w" fact="0.54"/>
      <dgm:constr type="h" for="ch" forName="spPre6" refType="h"/>
      <dgm:constr type="h" for="ch" forName="spPost6" refType="h"/>
      <dgm:constr type="primFontSz" for="ch" forName="parTx6" refType="primFontSz" refFor="ch" refForName="parTx1" op="equ"/>
      <dgm:constr type="primFontSz" for="des" forName="desTx6" refType="primFontSz" refFor="des" refForName="desTx1" op="equ"/>
      <dgm:constr type="w" for="ch" forName="parTx7" refType="w"/>
      <dgm:constr type="w" for="ch" forName="chLin7" refType="w" refFor="ch" refForName="parTx7" fact="1.38"/>
      <dgm:constr type="h" for="ch" forName="chLin7" refType="h"/>
      <dgm:constr type="w" for="ch" forName="spPre7" refType="w" fact="0.54"/>
      <dgm:constr type="w" for="ch" forName="spPost7" refType="w" fact="0.54"/>
      <dgm:constr type="h" for="ch" forName="spPre7" refType="h"/>
      <dgm:constr type="h" for="ch" forName="spPost7" refType="h"/>
      <dgm:constr type="primFontSz" for="ch" forName="parTx7" refType="primFontSz" refFor="ch" refForName="parTx1" op="equ"/>
      <dgm:constr type="primFontSz" for="des" forName="desTx7" refType="primFontSz" refFor="des" refForName="desTx1" op="equ"/>
    </dgm:constrLst>
    <dgm:forEach name="Name4" axis="ch" ptType="node">
      <dgm:choose name="Name5">
        <dgm:if name="Name6" axis="self" ptType="node" func="pos" op="equ" val="1">
          <dgm:layoutNode name="parTx1"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7">
            <dgm:if name="Name8" axis="ch" ptType="node" func="cnt" op="gte" val="1">
              <dgm:layoutNode name="spPre1">
                <dgm:alg type="sp"/>
                <dgm:shape xmlns:r="http://schemas.openxmlformats.org/officeDocument/2006/relationships" r:blip="">
                  <dgm:adjLst/>
                </dgm:shape>
              </dgm:layoutNode>
              <dgm:layoutNode name="chLin1">
                <dgm:alg type="lin">
                  <dgm:param type="linDir" val="fromT"/>
                </dgm:alg>
                <dgm:shape xmlns:r="http://schemas.openxmlformats.org/officeDocument/2006/relationships" r:blip="">
                  <dgm:adjLst/>
                </dgm:shape>
                <dgm:presOf/>
                <dgm:constrLst>
                  <dgm:constr type="w" for="ch" forName="txAndLines1" refType="w" fact="0.77"/>
                  <dgm:constr type="w" for="ch" forName="top1" refType="w" refFor="ch" refForName="txAndLines1" fact="0.78"/>
                </dgm:constrLst>
                <dgm:forEach name="Name9" axis="ch">
                  <dgm:forEach name="Name10" axis="self" ptType="parTrans">
                    <dgm:layoutNode name="Name11" styleLbl="parChTrans1D1">
                      <dgm:choose name="Name12">
                        <dgm:if name="Name13" func="var" arg="dir" op="equ" val="norm">
                          <dgm:alg type="conn">
                            <dgm:param type="dim" val="1D"/>
                            <dgm:param type="begPts" val="midR"/>
                            <dgm:param type="endSty" val="noArr"/>
                            <dgm:param type="dstNode" val="anchor1"/>
                          </dgm:alg>
                        </dgm:if>
                        <dgm:else name="Name14">
                          <dgm:alg type="conn">
                            <dgm:param type="dim" val="1D"/>
                            <dgm:param type="begPts" val="midL"/>
                            <dgm:param type="endSty" val="noArr"/>
                            <dgm:param type="srcNode" val="parTx1"/>
                            <dgm:param type="dstNode" val="anchor1"/>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5" axis="self" ptType="node">
                    <dgm:choose name="Name16">
                      <dgm:if name="Name17" axis="par ch" ptType="node node" func="cnt" op="equ" val="1">
                        <dgm:layoutNode name="top1">
                          <dgm:alg type="sp"/>
                          <dgm:shape xmlns:r="http://schemas.openxmlformats.org/officeDocument/2006/relationships" r:blip="">
                            <dgm:adjLst/>
                          </dgm:shape>
                          <dgm:constrLst>
                            <dgm:constr type="h" refType="w" fact="0.6"/>
                          </dgm:constrLst>
                        </dgm:layoutNode>
                      </dgm:if>
                      <dgm:else name="Name18"/>
                    </dgm:choose>
                    <dgm:layoutNode name="txAndLines1">
                      <dgm:choose name="Name19">
                        <dgm:if name="Name20" func="var" arg="dir" op="equ" val="norm">
                          <dgm:alg type="lin"/>
                        </dgm:if>
                        <dgm:else name="Name21">
                          <dgm:alg type="lin">
                            <dgm:param type="linDir" val="fromR"/>
                          </dgm:alg>
                        </dgm:else>
                      </dgm:choose>
                      <dgm:shape xmlns:r="http://schemas.openxmlformats.org/officeDocument/2006/relationships" r:blip="">
                        <dgm:adjLst/>
                      </dgm:shape>
                      <dgm:presOf/>
                      <dgm:choose name="Name22">
                        <dgm:if name="Name23" axis="root ch" ptType="all node" func="cnt" op="gte" val="2">
                          <dgm:constrLst>
                            <dgm:constr type="w" for="ch" forName="anchor1" refType="w"/>
                            <dgm:constr type="w" for="ch" forName="backup1" refType="w" fact="-1"/>
                            <dgm:constr type="w" for="ch" forName="preLine1" refType="w" fact="0.11"/>
                            <dgm:constr type="w" for="ch" forName="desTx1" refType="w" fact="0.78"/>
                            <dgm:constr type="w" for="ch" forName="postLine1" refType="w" fact="0.11"/>
                          </dgm:constrLst>
                        </dgm:if>
                        <dgm:else name="Name24">
                          <dgm:constrLst>
                            <dgm:constr type="w" for="ch" forName="anchor1" refType="w" fact="0.89"/>
                            <dgm:constr type="w" for="ch" forName="backup1" refType="w" fact="-0.89"/>
                            <dgm:constr type="w" for="ch" forName="preLine1" refType="w" fact="0.11"/>
                            <dgm:constr type="w" for="ch" forName="desTx1" refType="w" fact="0.78"/>
                          </dgm:constrLst>
                        </dgm:else>
                      </dgm:choose>
                      <dgm:layoutNode name="anchor1" moveWith="desTx1">
                        <dgm:alg type="sp"/>
                        <dgm:shape xmlns:r="http://schemas.openxmlformats.org/officeDocument/2006/relationships" r:blip="">
                          <dgm:adjLst/>
                        </dgm:shape>
                      </dgm:layoutNode>
                      <dgm:layoutNode name="backup1" moveWith="desTx1">
                        <dgm:alg type="sp"/>
                        <dgm:shape xmlns:r="http://schemas.openxmlformats.org/officeDocument/2006/relationships" r:blip="">
                          <dgm:adjLst/>
                        </dgm:shape>
                      </dgm:layoutNode>
                      <dgm:layoutNode name="preLine1" styleLbl="parChTrans1D1" moveWith="desTx1">
                        <dgm:alg type="sp"/>
                        <dgm:shape xmlns:r="http://schemas.openxmlformats.org/officeDocument/2006/relationships" type="line" r:blip="">
                          <dgm:adjLst/>
                        </dgm:shape>
                        <dgm:presOf/>
                      </dgm:layoutNode>
                      <dgm:layoutNode name="desTx1"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25">
                        <dgm:if name="Name26" axis="root ch" ptType="all node" func="cnt" op="gte" val="2">
                          <dgm:layoutNode name="postLine1" styleLbl="parChTrans1D1" moveWith="desTx1">
                            <dgm:alg type="sp"/>
                            <dgm:shape xmlns:r="http://schemas.openxmlformats.org/officeDocument/2006/relationships" type="line" r:blip="">
                              <dgm:adjLst/>
                            </dgm:shape>
                            <dgm:presOf/>
                          </dgm:layoutNode>
                        </dgm:if>
                        <dgm:else name="Name27"/>
                      </dgm:choose>
                    </dgm:layoutNode>
                  </dgm:forEach>
                  <dgm:choose name="Name28">
                    <dgm:if name="Name29" axis="root ch" ptType="all node" func="cnt" op="gte" val="2">
                      <dgm:forEach name="Name30" axis="self" ptType="parTrans">
                        <dgm:layoutNode name="Name31" styleLbl="parChTrans1D1">
                          <dgm:choose name="Name32">
                            <dgm:if name="Name33" func="var" arg="dir" op="equ" val="norm">
                              <dgm:alg type="conn">
                                <dgm:param type="dim" val="1D"/>
                                <dgm:param type="begPts" val="midL"/>
                                <dgm:param type="srcNode" val="parTx2"/>
                                <dgm:param type="endSty" val="noArr"/>
                                <dgm:param type="dstNode" val="anchor1"/>
                              </dgm:alg>
                            </dgm:if>
                            <dgm:else name="Name34">
                              <dgm:alg type="conn">
                                <dgm:param type="dim" val="1D"/>
                                <dgm:param type="begPts" val="midR"/>
                                <dgm:param type="endSty" val="noArr"/>
                                <dgm:param type="srcNode" val="parTx2"/>
                                <dgm:param type="dstNode" val="anchor1"/>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35"/>
                  </dgm:choose>
                </dgm:forEach>
              </dgm:layoutNode>
              <dgm:choose name="Name36">
                <dgm:if name="Name37" axis="root ch" ptType="all node" func="cnt" op="gte" val="2">
                  <dgm:layoutNode name="spPost1">
                    <dgm:alg type="sp"/>
                    <dgm:shape xmlns:r="http://schemas.openxmlformats.org/officeDocument/2006/relationships" r:blip="">
                      <dgm:adjLst/>
                    </dgm:shape>
                  </dgm:layoutNode>
                </dgm:if>
                <dgm:else name="Name38"/>
              </dgm:choose>
            </dgm:if>
            <dgm:else name="Name39"/>
          </dgm:choose>
        </dgm:if>
        <dgm:if name="Name40" axis="self" ptType="node" func="pos" op="equ" val="2">
          <dgm:layoutNode name="parTx2"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41">
            <dgm:if name="Name42" axis="ch" ptType="node" func="cnt" op="gte" val="1">
              <dgm:layoutNode name="spPre2">
                <dgm:alg type="sp"/>
                <dgm:shape xmlns:r="http://schemas.openxmlformats.org/officeDocument/2006/relationships" r:blip="">
                  <dgm:adjLst/>
                </dgm:shape>
              </dgm:layoutNode>
              <dgm:layoutNode name="chLin2">
                <dgm:alg type="lin">
                  <dgm:param type="linDir" val="fromT"/>
                </dgm:alg>
                <dgm:shape xmlns:r="http://schemas.openxmlformats.org/officeDocument/2006/relationships" r:blip="">
                  <dgm:adjLst/>
                </dgm:shape>
                <dgm:presOf/>
                <dgm:constrLst>
                  <dgm:constr type="w" for="ch" forName="txAndLines2" refType="w" fact="0.77"/>
                  <dgm:constr type="w" for="ch" forName="top2" refType="w" refFor="ch" refForName="txAndLines2" fact="0.78"/>
                </dgm:constrLst>
                <dgm:forEach name="Name43" axis="ch">
                  <dgm:forEach name="Name44" axis="self" ptType="parTrans">
                    <dgm:layoutNode name="Name45" styleLbl="parChTrans1D1">
                      <dgm:choose name="Name46">
                        <dgm:if name="Name47" func="var" arg="dir" op="equ" val="norm">
                          <dgm:alg type="conn">
                            <dgm:param type="dim" val="1D"/>
                            <dgm:param type="begPts" val="midR"/>
                            <dgm:param type="endSty" val="noArr"/>
                            <dgm:param type="dstNode" val="anchor2"/>
                          </dgm:alg>
                        </dgm:if>
                        <dgm:else name="Name48">
                          <dgm:alg type="conn">
                            <dgm:param type="dim" val="1D"/>
                            <dgm:param type="begPts" val="midL"/>
                            <dgm:param type="endSty" val="noArr"/>
                            <dgm:param type="srcNode" val="parTx2"/>
                            <dgm:param type="dstNode" val="anchor2"/>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49" axis="self" ptType="node">
                    <dgm:choose name="Name50">
                      <dgm:if name="Name51" axis="par ch" ptType="node node" func="cnt" op="equ" val="1">
                        <dgm:layoutNode name="top2">
                          <dgm:alg type="sp"/>
                          <dgm:shape xmlns:r="http://schemas.openxmlformats.org/officeDocument/2006/relationships" r:blip="">
                            <dgm:adjLst/>
                          </dgm:shape>
                          <dgm:constrLst>
                            <dgm:constr type="h" refType="w" fact="0.6"/>
                          </dgm:constrLst>
                        </dgm:layoutNode>
                      </dgm:if>
                      <dgm:else name="Name52"/>
                    </dgm:choose>
                    <dgm:layoutNode name="txAndLines2">
                      <dgm:choose name="Name53">
                        <dgm:if name="Name54" func="var" arg="dir" op="equ" val="norm">
                          <dgm:alg type="lin"/>
                        </dgm:if>
                        <dgm:else name="Name55">
                          <dgm:alg type="lin">
                            <dgm:param type="linDir" val="fromR"/>
                          </dgm:alg>
                        </dgm:else>
                      </dgm:choose>
                      <dgm:shape xmlns:r="http://schemas.openxmlformats.org/officeDocument/2006/relationships" r:blip="">
                        <dgm:adjLst/>
                      </dgm:shape>
                      <dgm:presOf/>
                      <dgm:choose name="Name56">
                        <dgm:if name="Name57" axis="root ch" ptType="all node" func="cnt" op="gte" val="3">
                          <dgm:constrLst>
                            <dgm:constr type="w" for="ch" forName="anchor2" refType="w"/>
                            <dgm:constr type="w" for="ch" forName="backup2" refType="w" fact="-1"/>
                            <dgm:constr type="w" for="ch" forName="preLine2" refType="w" fact="0.11"/>
                            <dgm:constr type="w" for="ch" forName="desTx2" refType="w" fact="0.78"/>
                            <dgm:constr type="w" for="ch" forName="postLine2" refType="w" fact="0.11"/>
                          </dgm:constrLst>
                        </dgm:if>
                        <dgm:else name="Name58">
                          <dgm:constrLst>
                            <dgm:constr type="w" for="ch" forName="anchor2" refType="w" fact="0.89"/>
                            <dgm:constr type="w" for="ch" forName="backup2" refType="w" fact="-0.89"/>
                            <dgm:constr type="w" for="ch" forName="preLine2" refType="w" fact="0.11"/>
                            <dgm:constr type="w" for="ch" forName="desTx2" refType="w" fact="0.78"/>
                          </dgm:constrLst>
                        </dgm:else>
                      </dgm:choose>
                      <dgm:layoutNode name="anchor2" moveWith="desTx2">
                        <dgm:alg type="sp"/>
                        <dgm:shape xmlns:r="http://schemas.openxmlformats.org/officeDocument/2006/relationships" r:blip="">
                          <dgm:adjLst/>
                        </dgm:shape>
                      </dgm:layoutNode>
                      <dgm:layoutNode name="backup2" moveWith="desTx2">
                        <dgm:alg type="sp"/>
                        <dgm:shape xmlns:r="http://schemas.openxmlformats.org/officeDocument/2006/relationships" r:blip="">
                          <dgm:adjLst/>
                        </dgm:shape>
                      </dgm:layoutNode>
                      <dgm:layoutNode name="preLine2" styleLbl="parChTrans1D1" moveWith="desTx2">
                        <dgm:alg type="sp"/>
                        <dgm:shape xmlns:r="http://schemas.openxmlformats.org/officeDocument/2006/relationships" type="line" r:blip="">
                          <dgm:adjLst/>
                        </dgm:shape>
                        <dgm:presOf/>
                      </dgm:layoutNode>
                      <dgm:layoutNode name="desTx2"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59">
                        <dgm:if name="Name60" axis="root ch" ptType="all node" func="cnt" op="gte" val="3">
                          <dgm:layoutNode name="postLine2" styleLbl="parChTrans1D1" moveWith="desTx2">
                            <dgm:alg type="sp"/>
                            <dgm:shape xmlns:r="http://schemas.openxmlformats.org/officeDocument/2006/relationships" type="line" r:blip="">
                              <dgm:adjLst/>
                            </dgm:shape>
                            <dgm:presOf/>
                          </dgm:layoutNode>
                        </dgm:if>
                        <dgm:else name="Name61"/>
                      </dgm:choose>
                    </dgm:layoutNode>
                  </dgm:forEach>
                  <dgm:choose name="Name62">
                    <dgm:if name="Name63" axis="root ch" ptType="all node" func="cnt" op="gte" val="3">
                      <dgm:forEach name="Name64" axis="self" ptType="parTrans">
                        <dgm:layoutNode name="Name65" styleLbl="parChTrans1D1">
                          <dgm:choose name="Name66">
                            <dgm:if name="Name67" func="var" arg="dir" op="equ" val="norm">
                              <dgm:alg type="conn">
                                <dgm:param type="dim" val="1D"/>
                                <dgm:param type="begPts" val="midL"/>
                                <dgm:param type="srcNode" val="parTx3"/>
                                <dgm:param type="endSty" val="noArr"/>
                                <dgm:param type="dstNode" val="anchor2"/>
                              </dgm:alg>
                            </dgm:if>
                            <dgm:else name="Name68">
                              <dgm:alg type="conn">
                                <dgm:param type="dim" val="1D"/>
                                <dgm:param type="begPts" val="midR"/>
                                <dgm:param type="endSty" val="noArr"/>
                                <dgm:param type="srcNode" val="parTx3"/>
                                <dgm:param type="dstNode" val="anchor2"/>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69"/>
                  </dgm:choose>
                </dgm:forEach>
              </dgm:layoutNode>
              <dgm:choose name="Name70">
                <dgm:if name="Name71" axis="root ch" ptType="all node" func="cnt" op="gte" val="3">
                  <dgm:layoutNode name="spPost2">
                    <dgm:alg type="sp"/>
                    <dgm:shape xmlns:r="http://schemas.openxmlformats.org/officeDocument/2006/relationships" r:blip="">
                      <dgm:adjLst/>
                    </dgm:shape>
                  </dgm:layoutNode>
                </dgm:if>
                <dgm:else name="Name72"/>
              </dgm:choose>
            </dgm:if>
            <dgm:else name="Name73"/>
          </dgm:choose>
        </dgm:if>
        <dgm:if name="Name74" axis="self" ptType="node" func="pos" op="equ" val="3">
          <dgm:layoutNode name="parTx3"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75">
            <dgm:if name="Name76" axis="ch" ptType="node" func="cnt" op="gte" val="1">
              <dgm:layoutNode name="spPre3">
                <dgm:alg type="sp"/>
                <dgm:shape xmlns:r="http://schemas.openxmlformats.org/officeDocument/2006/relationships" r:blip="">
                  <dgm:adjLst/>
                </dgm:shape>
              </dgm:layoutNode>
              <dgm:layoutNode name="chLin3">
                <dgm:alg type="lin">
                  <dgm:param type="linDir" val="fromT"/>
                </dgm:alg>
                <dgm:shape xmlns:r="http://schemas.openxmlformats.org/officeDocument/2006/relationships" r:blip="">
                  <dgm:adjLst/>
                </dgm:shape>
                <dgm:presOf/>
                <dgm:constrLst>
                  <dgm:constr type="w" for="ch" forName="txAndLines3" refType="w" fact="0.77"/>
                  <dgm:constr type="w" for="ch" forName="top3" refType="w" refFor="ch" refForName="txAndLines3" fact="0.78"/>
                </dgm:constrLst>
                <dgm:forEach name="Name77" axis="ch">
                  <dgm:forEach name="Name78" axis="self" ptType="parTrans">
                    <dgm:layoutNode name="Name79" styleLbl="parChTrans1D1">
                      <dgm:choose name="Name80">
                        <dgm:if name="Name81" func="var" arg="dir" op="equ" val="norm">
                          <dgm:alg type="conn">
                            <dgm:param type="dim" val="1D"/>
                            <dgm:param type="begPts" val="midR"/>
                            <dgm:param type="endSty" val="noArr"/>
                            <dgm:param type="dstNode" val="anchor3"/>
                          </dgm:alg>
                        </dgm:if>
                        <dgm:else name="Name82">
                          <dgm:alg type="conn">
                            <dgm:param type="dim" val="1D"/>
                            <dgm:param type="begPts" val="midL"/>
                            <dgm:param type="endSty" val="noArr"/>
                            <dgm:param type="srcNode" val="parTx3"/>
                            <dgm:param type="dstNode" val="anchor3"/>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83" axis="self" ptType="node">
                    <dgm:choose name="Name84">
                      <dgm:if name="Name85" axis="par ch" ptType="node node" func="cnt" op="equ" val="1">
                        <dgm:layoutNode name="top3">
                          <dgm:alg type="sp"/>
                          <dgm:shape xmlns:r="http://schemas.openxmlformats.org/officeDocument/2006/relationships" r:blip="">
                            <dgm:adjLst/>
                          </dgm:shape>
                          <dgm:constrLst>
                            <dgm:constr type="h" refType="w" fact="0.6"/>
                          </dgm:constrLst>
                        </dgm:layoutNode>
                      </dgm:if>
                      <dgm:else name="Name86"/>
                    </dgm:choose>
                    <dgm:layoutNode name="txAndLines3">
                      <dgm:choose name="Name87">
                        <dgm:if name="Name88" func="var" arg="dir" op="equ" val="norm">
                          <dgm:alg type="lin"/>
                        </dgm:if>
                        <dgm:else name="Name89">
                          <dgm:alg type="lin">
                            <dgm:param type="linDir" val="fromR"/>
                          </dgm:alg>
                        </dgm:else>
                      </dgm:choose>
                      <dgm:shape xmlns:r="http://schemas.openxmlformats.org/officeDocument/2006/relationships" r:blip="">
                        <dgm:adjLst/>
                      </dgm:shape>
                      <dgm:presOf/>
                      <dgm:choose name="Name90">
                        <dgm:if name="Name91" axis="root ch" ptType="all node" func="cnt" op="gte" val="4">
                          <dgm:constrLst>
                            <dgm:constr type="w" for="ch" forName="anchor3" refType="w"/>
                            <dgm:constr type="w" for="ch" forName="backup3" refType="w" fact="-1"/>
                            <dgm:constr type="w" for="ch" forName="preLine3" refType="w" fact="0.11"/>
                            <dgm:constr type="w" for="ch" forName="desTx3" refType="w" fact="0.78"/>
                            <dgm:constr type="w" for="ch" forName="postLine3" refType="w" fact="0.11"/>
                          </dgm:constrLst>
                        </dgm:if>
                        <dgm:else name="Name92">
                          <dgm:constrLst>
                            <dgm:constr type="w" for="ch" forName="anchor3" refType="w" fact="0.89"/>
                            <dgm:constr type="w" for="ch" forName="backup3" refType="w" fact="-0.89"/>
                            <dgm:constr type="w" for="ch" forName="preLine3" refType="w" fact="0.11"/>
                            <dgm:constr type="w" for="ch" forName="desTx3" refType="w" fact="0.78"/>
                          </dgm:constrLst>
                        </dgm:else>
                      </dgm:choose>
                      <dgm:layoutNode name="anchor3" moveWith="desTx3">
                        <dgm:alg type="sp"/>
                        <dgm:shape xmlns:r="http://schemas.openxmlformats.org/officeDocument/2006/relationships" r:blip="">
                          <dgm:adjLst/>
                        </dgm:shape>
                      </dgm:layoutNode>
                      <dgm:layoutNode name="backup3" moveWith="desTx3">
                        <dgm:alg type="sp"/>
                        <dgm:shape xmlns:r="http://schemas.openxmlformats.org/officeDocument/2006/relationships" r:blip="">
                          <dgm:adjLst/>
                        </dgm:shape>
                      </dgm:layoutNode>
                      <dgm:layoutNode name="preLine3" styleLbl="parChTrans1D1" moveWith="desTx3">
                        <dgm:alg type="sp"/>
                        <dgm:shape xmlns:r="http://schemas.openxmlformats.org/officeDocument/2006/relationships" type="line" r:blip="">
                          <dgm:adjLst/>
                        </dgm:shape>
                        <dgm:presOf/>
                      </dgm:layoutNode>
                      <dgm:layoutNode name="desTx3"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93">
                        <dgm:if name="Name94" axis="root ch" ptType="all node" func="cnt" op="gte" val="4">
                          <dgm:layoutNode name="postLine3" styleLbl="parChTrans1D1" moveWith="desTx3">
                            <dgm:alg type="sp"/>
                            <dgm:shape xmlns:r="http://schemas.openxmlformats.org/officeDocument/2006/relationships" type="line" r:blip="">
                              <dgm:adjLst/>
                            </dgm:shape>
                            <dgm:presOf/>
                          </dgm:layoutNode>
                        </dgm:if>
                        <dgm:else name="Name95"/>
                      </dgm:choose>
                    </dgm:layoutNode>
                  </dgm:forEach>
                  <dgm:choose name="Name96">
                    <dgm:if name="Name97" axis="root ch" ptType="all node" func="cnt" op="gte" val="4">
                      <dgm:forEach name="Name98" axis="self" ptType="parTrans">
                        <dgm:layoutNode name="Name99" styleLbl="parChTrans1D1">
                          <dgm:choose name="Name100">
                            <dgm:if name="Name101" func="var" arg="dir" op="equ" val="norm">
                              <dgm:alg type="conn">
                                <dgm:param type="dim" val="1D"/>
                                <dgm:param type="begPts" val="midL"/>
                                <dgm:param type="srcNode" val="parTx4"/>
                                <dgm:param type="endSty" val="noArr"/>
                                <dgm:param type="dstNode" val="anchor3"/>
                              </dgm:alg>
                            </dgm:if>
                            <dgm:else name="Name102">
                              <dgm:alg type="conn">
                                <dgm:param type="dim" val="1D"/>
                                <dgm:param type="begPts" val="midR"/>
                                <dgm:param type="endSty" val="noArr"/>
                                <dgm:param type="srcNode" val="parTx4"/>
                                <dgm:param type="dstNode" val="anchor3"/>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03"/>
                  </dgm:choose>
                </dgm:forEach>
              </dgm:layoutNode>
              <dgm:choose name="Name104">
                <dgm:if name="Name105" axis="root ch" ptType="all node" func="cnt" op="gte" val="4">
                  <dgm:layoutNode name="spPost3">
                    <dgm:alg type="sp"/>
                    <dgm:shape xmlns:r="http://schemas.openxmlformats.org/officeDocument/2006/relationships" r:blip="">
                      <dgm:adjLst/>
                    </dgm:shape>
                  </dgm:layoutNode>
                </dgm:if>
                <dgm:else name="Name106"/>
              </dgm:choose>
            </dgm:if>
            <dgm:else name="Name107"/>
          </dgm:choose>
        </dgm:if>
        <dgm:if name="Name108" axis="self" ptType="node" func="pos" op="equ" val="4">
          <dgm:layoutNode name="parTx4"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09">
            <dgm:if name="Name110" axis="ch" ptType="node" func="cnt" op="gte" val="1">
              <dgm:layoutNode name="spPre4">
                <dgm:alg type="sp"/>
                <dgm:shape xmlns:r="http://schemas.openxmlformats.org/officeDocument/2006/relationships" r:blip="">
                  <dgm:adjLst/>
                </dgm:shape>
              </dgm:layoutNode>
              <dgm:layoutNode name="chLin4">
                <dgm:alg type="lin">
                  <dgm:param type="linDir" val="fromT"/>
                </dgm:alg>
                <dgm:shape xmlns:r="http://schemas.openxmlformats.org/officeDocument/2006/relationships" r:blip="">
                  <dgm:adjLst/>
                </dgm:shape>
                <dgm:presOf/>
                <dgm:constrLst>
                  <dgm:constr type="w" for="ch" forName="txAndLines4" refType="w" fact="0.77"/>
                  <dgm:constr type="w" for="ch" forName="top4" refType="w" refFor="ch" refForName="txAndLines4" fact="0.78"/>
                </dgm:constrLst>
                <dgm:forEach name="Name111" axis="ch">
                  <dgm:forEach name="Name112" axis="self" ptType="parTrans">
                    <dgm:layoutNode name="Name113" styleLbl="parChTrans1D1">
                      <dgm:choose name="Name114">
                        <dgm:if name="Name115" func="var" arg="dir" op="equ" val="norm">
                          <dgm:alg type="conn">
                            <dgm:param type="dim" val="1D"/>
                            <dgm:param type="begPts" val="midR"/>
                            <dgm:param type="endSty" val="noArr"/>
                            <dgm:param type="dstNode" val="anchor4"/>
                          </dgm:alg>
                        </dgm:if>
                        <dgm:else name="Name116">
                          <dgm:alg type="conn">
                            <dgm:param type="dim" val="1D"/>
                            <dgm:param type="begPts" val="midL"/>
                            <dgm:param type="endSty" val="noArr"/>
                            <dgm:param type="srcNode" val="parTx4"/>
                            <dgm:param type="dstNode" val="anchor4"/>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17" axis="self" ptType="node">
                    <dgm:choose name="Name118">
                      <dgm:if name="Name119" axis="par ch" ptType="node node" func="cnt" op="equ" val="1">
                        <dgm:layoutNode name="top4">
                          <dgm:alg type="sp"/>
                          <dgm:shape xmlns:r="http://schemas.openxmlformats.org/officeDocument/2006/relationships" r:blip="">
                            <dgm:adjLst/>
                          </dgm:shape>
                          <dgm:constrLst>
                            <dgm:constr type="h" refType="w" fact="0.6"/>
                          </dgm:constrLst>
                        </dgm:layoutNode>
                      </dgm:if>
                      <dgm:else name="Name120"/>
                    </dgm:choose>
                    <dgm:layoutNode name="txAndLines4">
                      <dgm:choose name="Name121">
                        <dgm:if name="Name122" func="var" arg="dir" op="equ" val="norm">
                          <dgm:alg type="lin"/>
                        </dgm:if>
                        <dgm:else name="Name123">
                          <dgm:alg type="lin">
                            <dgm:param type="linDir" val="fromR"/>
                          </dgm:alg>
                        </dgm:else>
                      </dgm:choose>
                      <dgm:shape xmlns:r="http://schemas.openxmlformats.org/officeDocument/2006/relationships" r:blip="">
                        <dgm:adjLst/>
                      </dgm:shape>
                      <dgm:presOf/>
                      <dgm:choose name="Name124">
                        <dgm:if name="Name125" axis="root ch" ptType="all node" func="cnt" op="gte" val="5">
                          <dgm:constrLst>
                            <dgm:constr type="w" for="ch" forName="anchor4" refType="w"/>
                            <dgm:constr type="w" for="ch" forName="backup4" refType="w" fact="-1"/>
                            <dgm:constr type="w" for="ch" forName="preLine4" refType="w" fact="0.11"/>
                            <dgm:constr type="w" for="ch" forName="desTx4" refType="w" fact="0.78"/>
                            <dgm:constr type="w" for="ch" forName="postLine4" refType="w" fact="0.11"/>
                          </dgm:constrLst>
                        </dgm:if>
                        <dgm:else name="Name126">
                          <dgm:constrLst>
                            <dgm:constr type="w" for="ch" forName="anchor4" refType="w" fact="0.89"/>
                            <dgm:constr type="w" for="ch" forName="backup4" refType="w" fact="-0.89"/>
                            <dgm:constr type="w" for="ch" forName="preLine4" refType="w" fact="0.11"/>
                            <dgm:constr type="w" for="ch" forName="desTx4" refType="w" fact="0.78"/>
                          </dgm:constrLst>
                        </dgm:else>
                      </dgm:choose>
                      <dgm:layoutNode name="anchor4" moveWith="desTx4">
                        <dgm:alg type="sp"/>
                        <dgm:shape xmlns:r="http://schemas.openxmlformats.org/officeDocument/2006/relationships" r:blip="">
                          <dgm:adjLst/>
                        </dgm:shape>
                      </dgm:layoutNode>
                      <dgm:layoutNode name="backup4" moveWith="desTx4">
                        <dgm:alg type="sp"/>
                        <dgm:shape xmlns:r="http://schemas.openxmlformats.org/officeDocument/2006/relationships" r:blip="">
                          <dgm:adjLst/>
                        </dgm:shape>
                      </dgm:layoutNode>
                      <dgm:layoutNode name="preLine4" styleLbl="parChTrans1D1" moveWith="desTx4">
                        <dgm:alg type="sp"/>
                        <dgm:shape xmlns:r="http://schemas.openxmlformats.org/officeDocument/2006/relationships" type="line" r:blip="">
                          <dgm:adjLst/>
                        </dgm:shape>
                        <dgm:presOf/>
                      </dgm:layoutNode>
                      <dgm:layoutNode name="desTx4"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27">
                        <dgm:if name="Name128" axis="root ch" ptType="all node" func="cnt" op="gte" val="5">
                          <dgm:layoutNode name="postLine4" styleLbl="parChTrans1D1" moveWith="desTx4">
                            <dgm:alg type="sp"/>
                            <dgm:shape xmlns:r="http://schemas.openxmlformats.org/officeDocument/2006/relationships" type="line" r:blip="">
                              <dgm:adjLst/>
                            </dgm:shape>
                            <dgm:presOf/>
                          </dgm:layoutNode>
                        </dgm:if>
                        <dgm:else name="Name129"/>
                      </dgm:choose>
                    </dgm:layoutNode>
                  </dgm:forEach>
                  <dgm:choose name="Name130">
                    <dgm:if name="Name131" axis="root ch" ptType="all node" func="cnt" op="gte" val="5">
                      <dgm:forEach name="Name132" axis="self" ptType="parTrans">
                        <dgm:layoutNode name="Name133" styleLbl="parChTrans1D1">
                          <dgm:choose name="Name134">
                            <dgm:if name="Name135" func="var" arg="dir" op="equ" val="norm">
                              <dgm:alg type="conn">
                                <dgm:param type="dim" val="1D"/>
                                <dgm:param type="begPts" val="midL"/>
                                <dgm:param type="srcNode" val="parTx5"/>
                                <dgm:param type="endSty" val="noArr"/>
                                <dgm:param type="dstNode" val="anchor4"/>
                              </dgm:alg>
                            </dgm:if>
                            <dgm:else name="Name136">
                              <dgm:alg type="conn">
                                <dgm:param type="dim" val="1D"/>
                                <dgm:param type="begPts" val="midR"/>
                                <dgm:param type="endSty" val="noArr"/>
                                <dgm:param type="srcNode" val="parTx5"/>
                                <dgm:param type="dstNode" val="anchor4"/>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37"/>
                  </dgm:choose>
                </dgm:forEach>
              </dgm:layoutNode>
              <dgm:choose name="Name138">
                <dgm:if name="Name139" axis="root ch" ptType="all node" func="cnt" op="gte" val="5">
                  <dgm:layoutNode name="spPost4">
                    <dgm:alg type="sp"/>
                    <dgm:shape xmlns:r="http://schemas.openxmlformats.org/officeDocument/2006/relationships" r:blip="">
                      <dgm:adjLst/>
                    </dgm:shape>
                  </dgm:layoutNode>
                </dgm:if>
                <dgm:else name="Name140"/>
              </dgm:choose>
            </dgm:if>
            <dgm:else name="Name141"/>
          </dgm:choose>
        </dgm:if>
        <dgm:if name="Name142" axis="self" ptType="node" func="pos" op="equ" val="5">
          <dgm:layoutNode name="parTx5"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43">
            <dgm:if name="Name144" axis="ch" ptType="node" func="cnt" op="gte" val="1">
              <dgm:layoutNode name="spPre5">
                <dgm:alg type="sp"/>
                <dgm:shape xmlns:r="http://schemas.openxmlformats.org/officeDocument/2006/relationships" r:blip="">
                  <dgm:adjLst/>
                </dgm:shape>
              </dgm:layoutNode>
              <dgm:layoutNode name="chLin5">
                <dgm:alg type="lin">
                  <dgm:param type="linDir" val="fromT"/>
                </dgm:alg>
                <dgm:shape xmlns:r="http://schemas.openxmlformats.org/officeDocument/2006/relationships" r:blip="">
                  <dgm:adjLst/>
                </dgm:shape>
                <dgm:presOf/>
                <dgm:constrLst>
                  <dgm:constr type="w" for="ch" forName="txAndLines5" refType="w" fact="0.77"/>
                  <dgm:constr type="w" for="ch" forName="top5" refType="w" refFor="ch" refForName="txAndLines5" fact="0.78"/>
                </dgm:constrLst>
                <dgm:forEach name="Name145" axis="ch">
                  <dgm:forEach name="Name146" axis="self" ptType="parTrans">
                    <dgm:layoutNode name="Name147" styleLbl="parChTrans1D1">
                      <dgm:choose name="Name148">
                        <dgm:if name="Name149" func="var" arg="dir" op="equ" val="norm">
                          <dgm:alg type="conn">
                            <dgm:param type="dim" val="1D"/>
                            <dgm:param type="begPts" val="midR"/>
                            <dgm:param type="endSty" val="noArr"/>
                            <dgm:param type="dstNode" val="anchor5"/>
                          </dgm:alg>
                        </dgm:if>
                        <dgm:else name="Name150">
                          <dgm:alg type="conn">
                            <dgm:param type="dim" val="1D"/>
                            <dgm:param type="begPts" val="midL"/>
                            <dgm:param type="endSty" val="noArr"/>
                            <dgm:param type="srcNode" val="parTx5"/>
                            <dgm:param type="dstNode" val="anchor5"/>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51" axis="self" ptType="node">
                    <dgm:choose name="Name152">
                      <dgm:if name="Name153" axis="par ch" ptType="node node" func="cnt" op="equ" val="1">
                        <dgm:layoutNode name="top5">
                          <dgm:alg type="sp"/>
                          <dgm:shape xmlns:r="http://schemas.openxmlformats.org/officeDocument/2006/relationships" r:blip="">
                            <dgm:adjLst/>
                          </dgm:shape>
                          <dgm:constrLst>
                            <dgm:constr type="h" refType="w" fact="0.6"/>
                          </dgm:constrLst>
                        </dgm:layoutNode>
                      </dgm:if>
                      <dgm:else name="Name154"/>
                    </dgm:choose>
                    <dgm:layoutNode name="txAndLines5">
                      <dgm:choose name="Name155">
                        <dgm:if name="Name156" func="var" arg="dir" op="equ" val="norm">
                          <dgm:alg type="lin"/>
                        </dgm:if>
                        <dgm:else name="Name157">
                          <dgm:alg type="lin">
                            <dgm:param type="linDir" val="fromR"/>
                          </dgm:alg>
                        </dgm:else>
                      </dgm:choose>
                      <dgm:shape xmlns:r="http://schemas.openxmlformats.org/officeDocument/2006/relationships" r:blip="">
                        <dgm:adjLst/>
                      </dgm:shape>
                      <dgm:presOf/>
                      <dgm:choose name="Name158">
                        <dgm:if name="Name159" axis="root ch" ptType="all node" func="cnt" op="gte" val="6">
                          <dgm:constrLst>
                            <dgm:constr type="w" for="ch" forName="anchor5" refType="w"/>
                            <dgm:constr type="w" for="ch" forName="backup5" refType="w" fact="-1"/>
                            <dgm:constr type="w" for="ch" forName="preLine5" refType="w" fact="0.11"/>
                            <dgm:constr type="w" for="ch" forName="desTx5" refType="w" fact="0.78"/>
                            <dgm:constr type="w" for="ch" forName="postLine5" refType="w" fact="0.11"/>
                          </dgm:constrLst>
                        </dgm:if>
                        <dgm:else name="Name160">
                          <dgm:constrLst>
                            <dgm:constr type="w" for="ch" forName="anchor5" refType="w" fact="0.89"/>
                            <dgm:constr type="w" for="ch" forName="backup5" refType="w" fact="-0.89"/>
                            <dgm:constr type="w" for="ch" forName="preLine5" refType="w" fact="0.11"/>
                            <dgm:constr type="w" for="ch" forName="desTx5" refType="w" fact="0.78"/>
                          </dgm:constrLst>
                        </dgm:else>
                      </dgm:choose>
                      <dgm:layoutNode name="anchor5" moveWith="desTx5">
                        <dgm:alg type="sp"/>
                        <dgm:shape xmlns:r="http://schemas.openxmlformats.org/officeDocument/2006/relationships" r:blip="">
                          <dgm:adjLst/>
                        </dgm:shape>
                      </dgm:layoutNode>
                      <dgm:layoutNode name="backup5" moveWith="desTx5">
                        <dgm:alg type="sp"/>
                        <dgm:shape xmlns:r="http://schemas.openxmlformats.org/officeDocument/2006/relationships" r:blip="">
                          <dgm:adjLst/>
                        </dgm:shape>
                      </dgm:layoutNode>
                      <dgm:layoutNode name="preLine5" styleLbl="parChTrans1D1" moveWith="desTx5">
                        <dgm:alg type="sp"/>
                        <dgm:shape xmlns:r="http://schemas.openxmlformats.org/officeDocument/2006/relationships" type="line" r:blip="">
                          <dgm:adjLst/>
                        </dgm:shape>
                        <dgm:presOf/>
                      </dgm:layoutNode>
                      <dgm:layoutNode name="desTx5"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61">
                        <dgm:if name="Name162" axis="root ch" ptType="all node" func="cnt" op="gte" val="6">
                          <dgm:layoutNode name="postLine5" styleLbl="parChTrans1D1" moveWith="desTx5">
                            <dgm:alg type="sp"/>
                            <dgm:shape xmlns:r="http://schemas.openxmlformats.org/officeDocument/2006/relationships" type="line" r:blip="">
                              <dgm:adjLst/>
                            </dgm:shape>
                            <dgm:presOf/>
                          </dgm:layoutNode>
                        </dgm:if>
                        <dgm:else name="Name163"/>
                      </dgm:choose>
                    </dgm:layoutNode>
                  </dgm:forEach>
                  <dgm:choose name="Name164">
                    <dgm:if name="Name165" axis="root ch" ptType="all node" func="cnt" op="gte" val="6">
                      <dgm:forEach name="Name166" axis="self" ptType="parTrans">
                        <dgm:layoutNode name="Name167" styleLbl="parChTrans1D1">
                          <dgm:choose name="Name168">
                            <dgm:if name="Name169" func="var" arg="dir" op="equ" val="norm">
                              <dgm:alg type="conn">
                                <dgm:param type="dim" val="1D"/>
                                <dgm:param type="begPts" val="midL"/>
                                <dgm:param type="srcNode" val="parTx6"/>
                                <dgm:param type="endSty" val="noArr"/>
                                <dgm:param type="dstNode" val="anchor5"/>
                              </dgm:alg>
                            </dgm:if>
                            <dgm:else name="Name170">
                              <dgm:alg type="conn">
                                <dgm:param type="dim" val="1D"/>
                                <dgm:param type="begPts" val="midR"/>
                                <dgm:param type="endSty" val="noArr"/>
                                <dgm:param type="srcNode" val="parTx6"/>
                                <dgm:param type="dstNode" val="anchor5"/>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171"/>
                  </dgm:choose>
                </dgm:forEach>
              </dgm:layoutNode>
              <dgm:choose name="Name172">
                <dgm:if name="Name173" axis="root ch" ptType="all node" func="cnt" op="gte" val="6">
                  <dgm:layoutNode name="spPost5">
                    <dgm:alg type="sp"/>
                    <dgm:shape xmlns:r="http://schemas.openxmlformats.org/officeDocument/2006/relationships" r:blip="">
                      <dgm:adjLst/>
                    </dgm:shape>
                  </dgm:layoutNode>
                </dgm:if>
                <dgm:else name="Name174"/>
              </dgm:choose>
            </dgm:if>
            <dgm:else name="Name175"/>
          </dgm:choose>
        </dgm:if>
        <dgm:if name="Name176" axis="self" ptType="node" func="pos" op="equ" val="6">
          <dgm:layoutNode name="parTx6"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177">
            <dgm:if name="Name178" axis="ch" ptType="node" func="cnt" op="gte" val="1">
              <dgm:layoutNode name="spPre6">
                <dgm:alg type="sp"/>
                <dgm:shape xmlns:r="http://schemas.openxmlformats.org/officeDocument/2006/relationships" r:blip="">
                  <dgm:adjLst/>
                </dgm:shape>
              </dgm:layoutNode>
              <dgm:layoutNode name="chLin6">
                <dgm:alg type="lin">
                  <dgm:param type="linDir" val="fromT"/>
                </dgm:alg>
                <dgm:shape xmlns:r="http://schemas.openxmlformats.org/officeDocument/2006/relationships" r:blip="">
                  <dgm:adjLst/>
                </dgm:shape>
                <dgm:presOf/>
                <dgm:constrLst>
                  <dgm:constr type="w" for="ch" forName="txAndLines6" refType="w" fact="0.77"/>
                  <dgm:constr type="w" for="ch" forName="top6" refType="w" refFor="ch" refForName="txAndLines6" fact="0.78"/>
                </dgm:constrLst>
                <dgm:forEach name="Name179" axis="ch">
                  <dgm:forEach name="Name180" axis="self" ptType="parTrans">
                    <dgm:layoutNode name="Name181" styleLbl="parChTrans1D1">
                      <dgm:choose name="Name182">
                        <dgm:if name="Name183" func="var" arg="dir" op="equ" val="norm">
                          <dgm:alg type="conn">
                            <dgm:param type="dim" val="1D"/>
                            <dgm:param type="begPts" val="midR"/>
                            <dgm:param type="endSty" val="noArr"/>
                            <dgm:param type="dstNode" val="anchor6"/>
                          </dgm:alg>
                        </dgm:if>
                        <dgm:else name="Name184">
                          <dgm:alg type="conn">
                            <dgm:param type="dim" val="1D"/>
                            <dgm:param type="begPts" val="midL"/>
                            <dgm:param type="endSty" val="noArr"/>
                            <dgm:param type="srcNode" val="parTx6"/>
                            <dgm:param type="dstNode" val="anchor6"/>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185" axis="self" ptType="node">
                    <dgm:choose name="Name186">
                      <dgm:if name="Name187" axis="par ch" ptType="node node" func="cnt" op="equ" val="1">
                        <dgm:layoutNode name="top6">
                          <dgm:alg type="sp"/>
                          <dgm:shape xmlns:r="http://schemas.openxmlformats.org/officeDocument/2006/relationships" r:blip="">
                            <dgm:adjLst/>
                          </dgm:shape>
                          <dgm:constrLst>
                            <dgm:constr type="h" refType="w" fact="0.6"/>
                          </dgm:constrLst>
                        </dgm:layoutNode>
                      </dgm:if>
                      <dgm:else name="Name188"/>
                    </dgm:choose>
                    <dgm:layoutNode name="txAndLines6">
                      <dgm:choose name="Name189">
                        <dgm:if name="Name190" func="var" arg="dir" op="equ" val="norm">
                          <dgm:alg type="lin"/>
                        </dgm:if>
                        <dgm:else name="Name191">
                          <dgm:alg type="lin">
                            <dgm:param type="linDir" val="fromR"/>
                          </dgm:alg>
                        </dgm:else>
                      </dgm:choose>
                      <dgm:shape xmlns:r="http://schemas.openxmlformats.org/officeDocument/2006/relationships" r:blip="">
                        <dgm:adjLst/>
                      </dgm:shape>
                      <dgm:presOf/>
                      <dgm:choose name="Name192">
                        <dgm:if name="Name193" axis="root ch" ptType="all node" func="cnt" op="gte" val="7">
                          <dgm:constrLst>
                            <dgm:constr type="w" for="ch" forName="anchor6" refType="w"/>
                            <dgm:constr type="w" for="ch" forName="backup6" refType="w" fact="-1"/>
                            <dgm:constr type="w" for="ch" forName="preLine6" refType="w" fact="0.11"/>
                            <dgm:constr type="w" for="ch" forName="desTx6" refType="w" fact="0.78"/>
                            <dgm:constr type="w" for="ch" forName="postLine6" refType="w" fact="0.11"/>
                          </dgm:constrLst>
                        </dgm:if>
                        <dgm:else name="Name194">
                          <dgm:constrLst>
                            <dgm:constr type="w" for="ch" forName="anchor6" refType="w" fact="0.89"/>
                            <dgm:constr type="w" for="ch" forName="backup6" refType="w" fact="-0.89"/>
                            <dgm:constr type="w" for="ch" forName="preLine6" refType="w" fact="0.11"/>
                            <dgm:constr type="w" for="ch" forName="desTx6" refType="w" fact="0.78"/>
                          </dgm:constrLst>
                        </dgm:else>
                      </dgm:choose>
                      <dgm:layoutNode name="anchor6" moveWith="desTx6">
                        <dgm:alg type="sp"/>
                        <dgm:shape xmlns:r="http://schemas.openxmlformats.org/officeDocument/2006/relationships" r:blip="">
                          <dgm:adjLst/>
                        </dgm:shape>
                      </dgm:layoutNode>
                      <dgm:layoutNode name="backup6" moveWith="desTx6">
                        <dgm:alg type="sp"/>
                        <dgm:shape xmlns:r="http://schemas.openxmlformats.org/officeDocument/2006/relationships" r:blip="">
                          <dgm:adjLst/>
                        </dgm:shape>
                      </dgm:layoutNode>
                      <dgm:layoutNode name="preLine6" styleLbl="parChTrans1D1" moveWith="desTx6">
                        <dgm:alg type="sp"/>
                        <dgm:shape xmlns:r="http://schemas.openxmlformats.org/officeDocument/2006/relationships" type="line" r:blip="">
                          <dgm:adjLst/>
                        </dgm:shape>
                        <dgm:presOf/>
                      </dgm:layoutNode>
                      <dgm:layoutNode name="desTx6"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choose name="Name195">
                        <dgm:if name="Name196" axis="root ch" ptType="all node" func="cnt" op="gte" val="7">
                          <dgm:layoutNode name="postLine6" styleLbl="parChTrans1D1" moveWith="desTx6">
                            <dgm:alg type="sp"/>
                            <dgm:shape xmlns:r="http://schemas.openxmlformats.org/officeDocument/2006/relationships" type="line" r:blip="">
                              <dgm:adjLst/>
                            </dgm:shape>
                            <dgm:presOf/>
                          </dgm:layoutNode>
                        </dgm:if>
                        <dgm:else name="Name197"/>
                      </dgm:choose>
                    </dgm:layoutNode>
                  </dgm:forEach>
                  <dgm:choose name="Name198">
                    <dgm:if name="Name199" axis="root ch" ptType="all node" func="cnt" op="gte" val="7">
                      <dgm:forEach name="Name200" axis="self" ptType="parTrans">
                        <dgm:layoutNode name="Name201" styleLbl="parChTrans1D1">
                          <dgm:choose name="Name202">
                            <dgm:if name="Name203" func="var" arg="dir" op="equ" val="norm">
                              <dgm:alg type="conn">
                                <dgm:param type="dim" val="1D"/>
                                <dgm:param type="begPts" val="midL"/>
                                <dgm:param type="srcNode" val="parTx7"/>
                                <dgm:param type="endSty" val="noArr"/>
                                <dgm:param type="dstNode" val="anchor6"/>
                              </dgm:alg>
                            </dgm:if>
                            <dgm:else name="Name204">
                              <dgm:alg type="conn">
                                <dgm:param type="dim" val="1D"/>
                                <dgm:param type="begPts" val="midR"/>
                                <dgm:param type="endSty" val="noArr"/>
                                <dgm:param type="srcNode" val="parTx7"/>
                                <dgm:param type="dstNode" val="anchor6"/>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if>
                    <dgm:else name="Name205"/>
                  </dgm:choose>
                </dgm:forEach>
              </dgm:layoutNode>
              <dgm:choose name="Name206">
                <dgm:if name="Name207" axis="root ch" ptType="all node" func="cnt" op="gte" val="7">
                  <dgm:layoutNode name="spPost6">
                    <dgm:alg type="sp"/>
                    <dgm:shape xmlns:r="http://schemas.openxmlformats.org/officeDocument/2006/relationships" r:blip="">
                      <dgm:adjLst/>
                    </dgm:shape>
                  </dgm:layoutNode>
                </dgm:if>
                <dgm:else name="Name208"/>
              </dgm:choose>
            </dgm:if>
            <dgm:else name="Name209"/>
          </dgm:choose>
        </dgm:if>
        <dgm:if name="Name210" axis="self" ptType="node" func="pos" op="equ" val="7">
          <dgm:layoutNode name="parTx7" styleLbl="node1">
            <dgm:alg type="tx"/>
            <dgm:shape xmlns:r="http://schemas.openxmlformats.org/officeDocument/2006/relationships" type="ellipse" r:blip="">
              <dgm:adjLst/>
            </dgm:shape>
            <dgm:presOf axis="self" ptType="node"/>
            <dgm:constrLst>
              <dgm:constr type="h" refType="w"/>
              <dgm:constr type="w" refType="h" op="lte"/>
              <dgm:constr type="tMarg"/>
              <dgm:constr type="bMarg"/>
              <dgm:constr type="lMarg"/>
              <dgm:constr type="rMarg"/>
            </dgm:constrLst>
            <dgm:ruleLst>
              <dgm:rule type="primFontSz" val="5" fact="NaN" max="NaN"/>
            </dgm:ruleLst>
          </dgm:layoutNode>
          <dgm:choose name="Name211">
            <dgm:if name="Name212" axis="ch" ptType="node" func="cnt" op="gte" val="1">
              <dgm:layoutNode name="spPre7">
                <dgm:alg type="sp"/>
                <dgm:shape xmlns:r="http://schemas.openxmlformats.org/officeDocument/2006/relationships" r:blip="">
                  <dgm:adjLst/>
                </dgm:shape>
              </dgm:layoutNode>
              <dgm:layoutNode name="chLin7">
                <dgm:alg type="lin">
                  <dgm:param type="linDir" val="fromT"/>
                </dgm:alg>
                <dgm:shape xmlns:r="http://schemas.openxmlformats.org/officeDocument/2006/relationships" r:blip="">
                  <dgm:adjLst/>
                </dgm:shape>
                <dgm:presOf/>
                <dgm:constrLst>
                  <dgm:constr type="w" for="ch" forName="txAndLines7" refType="w" fact="0.77"/>
                  <dgm:constr type="w" for="ch" forName="top7" refType="w" refFor="ch" refForName="txAndLines7" fact="0.78"/>
                </dgm:constrLst>
                <dgm:forEach name="Name213" axis="ch">
                  <dgm:forEach name="Name214" axis="self" ptType="parTrans">
                    <dgm:layoutNode name="Name215" styleLbl="parChTrans1D1">
                      <dgm:choose name="Name216">
                        <dgm:if name="Name217" func="var" arg="dir" op="equ" val="norm">
                          <dgm:alg type="conn">
                            <dgm:param type="dim" val="1D"/>
                            <dgm:param type="begPts" val="midR"/>
                            <dgm:param type="endSty" val="noArr"/>
                            <dgm:param type="dstNode" val="anchor7"/>
                          </dgm:alg>
                        </dgm:if>
                        <dgm:else name="Name218">
                          <dgm:alg type="conn">
                            <dgm:param type="dim" val="1D"/>
                            <dgm:param type="begPts" val="midL"/>
                            <dgm:param type="endSty" val="noArr"/>
                            <dgm:param type="srcNode" val="parTx7"/>
                            <dgm:param type="dstNode" val="anchor7"/>
                          </dgm:alg>
                        </dgm:else>
                      </dgm:choose>
                      <dgm:shape xmlns:r="http://schemas.openxmlformats.org/officeDocument/2006/relationships" type="conn" r:blip="">
                        <dgm:adjLst/>
                      </dgm:shape>
                      <dgm:presOf/>
                      <dgm:constrLst>
                        <dgm:constr type="connDist"/>
                        <dgm:constr type="begPad" refType="connDist" fact="0.11"/>
                        <dgm:constr type="endPad"/>
                      </dgm:constrLst>
                    </dgm:layoutNode>
                  </dgm:forEach>
                  <dgm:forEach name="Name219" axis="self" ptType="node">
                    <dgm:choose name="Name220">
                      <dgm:if name="Name221" axis="par ch" ptType="node node" func="cnt" op="equ" val="1">
                        <dgm:layoutNode name="top7">
                          <dgm:alg type="sp"/>
                          <dgm:shape xmlns:r="http://schemas.openxmlformats.org/officeDocument/2006/relationships" r:blip="">
                            <dgm:adjLst/>
                          </dgm:shape>
                          <dgm:constrLst>
                            <dgm:constr type="h" refType="w" fact="0.6"/>
                          </dgm:constrLst>
                        </dgm:layoutNode>
                      </dgm:if>
                      <dgm:else name="Name222"/>
                    </dgm:choose>
                    <dgm:layoutNode name="txAndLines7">
                      <dgm:choose name="Name223">
                        <dgm:if name="Name224" func="var" arg="dir" op="equ" val="norm">
                          <dgm:alg type="lin"/>
                        </dgm:if>
                        <dgm:else name="Name225">
                          <dgm:alg type="lin">
                            <dgm:param type="linDir" val="fromR"/>
                          </dgm:alg>
                        </dgm:else>
                      </dgm:choose>
                      <dgm:shape xmlns:r="http://schemas.openxmlformats.org/officeDocument/2006/relationships" r:blip="">
                        <dgm:adjLst/>
                      </dgm:shape>
                      <dgm:presOf/>
                      <dgm:constrLst>
                        <dgm:constr type="w" for="ch" forName="anchor7" refType="w" fact="0.89"/>
                        <dgm:constr type="w" for="ch" forName="backup7" refType="w" fact="-0.89"/>
                        <dgm:constr type="w" for="ch" forName="preLine7" refType="w" fact="0.11"/>
                        <dgm:constr type="w" for="ch" forName="desTx7" refType="w" fact="0.78"/>
                      </dgm:constrLst>
                      <dgm:layoutNode name="anchor7" moveWith="desTx7">
                        <dgm:alg type="sp"/>
                        <dgm:shape xmlns:r="http://schemas.openxmlformats.org/officeDocument/2006/relationships" r:blip="">
                          <dgm:adjLst/>
                        </dgm:shape>
                      </dgm:layoutNode>
                      <dgm:layoutNode name="backup7" moveWith="desTx7">
                        <dgm:alg type="sp"/>
                        <dgm:shape xmlns:r="http://schemas.openxmlformats.org/officeDocument/2006/relationships" r:blip="">
                          <dgm:adjLst/>
                        </dgm:shape>
                      </dgm:layoutNode>
                      <dgm:layoutNode name="preLine7" styleLbl="parChTrans1D1" moveWith="desTx7">
                        <dgm:alg type="sp"/>
                        <dgm:shape xmlns:r="http://schemas.openxmlformats.org/officeDocument/2006/relationships" type="line" r:blip="">
                          <dgm:adjLst/>
                        </dgm:shape>
                        <dgm:presOf/>
                      </dgm:layoutNode>
                      <dgm:layoutNode name="desTx7" styleLbl="revTx">
                        <dgm:varLst>
                          <dgm:bulletEnabled val="1"/>
                        </dgm:varLst>
                        <dgm:alg type="tx"/>
                        <dgm:shape xmlns:r="http://schemas.openxmlformats.org/officeDocument/2006/relationships" type="rect" r:blip="" hideGeom="1">
                          <dgm:adjLst/>
                        </dgm:shape>
                        <dgm:presOf axis="desOrSelf" ptType="node"/>
                        <dgm:constrLst>
                          <dgm:constr type="h" refType="w" fact="0.6"/>
                        </dgm:constrLst>
                        <dgm:ruleLst>
                          <dgm:rule type="primFontSz" val="5" fact="NaN" max="NaN"/>
                        </dgm:ruleLst>
                      </dgm:layoutNode>
                    </dgm:layoutNode>
                  </dgm:forEach>
                </dgm:forEach>
              </dgm:layoutNode>
            </dgm:if>
            <dgm:else name="Name226"/>
          </dgm:choose>
        </dgm:if>
        <dgm:else name="Name227"/>
      </dgm:choose>
    </dgm:forEach>
  </dgm:layoutNode>
</dgm:layoutDef>
</file>

<file path=ppt/diagrams/layout21.xml><?xml version="1.0" encoding="utf-8"?>
<dgm:layoutDef xmlns:dgm="http://schemas.openxmlformats.org/drawingml/2006/diagram" xmlns:a="http://schemas.openxmlformats.org/drawingml/2006/main" uniqueId="urn:microsoft.com/office/officeart/2009/3/layout/PhasedProcess">
  <dgm:title val=""/>
  <dgm:desc val=""/>
  <dgm:catLst>
    <dgm:cat type="process" pri="12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30">
          <dgm:prSet phldr="1"/>
        </dgm:pt>
        <dgm:pt modelId="31">
          <dgm:prSet phldr="1"/>
        </dgm:pt>
      </dgm:ptLst>
      <dgm:cxnLst>
        <dgm:cxn modelId="40" srcId="0" destId="10" srcOrd="0" destOrd="0"/>
        <dgm:cxn modelId="16" srcId="10" destId="11" srcOrd="0" destOrd="0"/>
        <dgm:cxn modelId="17" srcId="10" destId="12" srcOrd="1" destOrd="0"/>
        <dgm:cxn modelId="18" srcId="10" destId="13" srcOrd="2" destOrd="0"/>
        <dgm:cxn modelId="50" srcId="0" destId="20" srcOrd="1" destOrd="0"/>
        <dgm:cxn modelId="60" srcId="0" destId="30" srcOrd="2" destOrd="0"/>
        <dgm:cxn modelId="32" srcId="30" destId="31" srcOrd="0" destOrd="0"/>
        <dgm:cxn modelId="26" srcId="20" destId="21" srcOrd="0" destOrd="0"/>
        <dgm:cxn modelId="27" srcId="20" destId="22" srcOrd="1"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30">
          <dgm:prSet phldr="1"/>
        </dgm:pt>
        <dgm:pt modelId="31">
          <dgm:prSet phldr="1"/>
        </dgm:pt>
      </dgm:ptLst>
      <dgm:cxnLst>
        <dgm:cxn modelId="40" srcId="0" destId="10" srcOrd="0" destOrd="0"/>
        <dgm:cxn modelId="16" srcId="10" destId="11" srcOrd="0" destOrd="0"/>
        <dgm:cxn modelId="17" srcId="10" destId="12" srcOrd="1" destOrd="0"/>
        <dgm:cxn modelId="18" srcId="10" destId="13" srcOrd="2" destOrd="0"/>
        <dgm:cxn modelId="50" srcId="0" destId="20" srcOrd="1" destOrd="0"/>
        <dgm:cxn modelId="60" srcId="0" destId="30" srcOrd="2" destOrd="0"/>
        <dgm:cxn modelId="32" srcId="30" destId="31" srcOrd="0" destOrd="0"/>
        <dgm:cxn modelId="26" srcId="20" destId="21" srcOrd="0" destOrd="0"/>
        <dgm:cxn modelId="27" srcId="20" destId="22" srcOrd="1"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30">
          <dgm:prSet phldr="1"/>
        </dgm:pt>
        <dgm:pt modelId="31">
          <dgm:prSet phldr="1"/>
        </dgm:pt>
      </dgm:ptLst>
      <dgm:cxnLst>
        <dgm:cxn modelId="40" srcId="0" destId="10" srcOrd="0" destOrd="0"/>
        <dgm:cxn modelId="16" srcId="10" destId="11" srcOrd="0" destOrd="0"/>
        <dgm:cxn modelId="17" srcId="10" destId="12" srcOrd="1" destOrd="0"/>
        <dgm:cxn modelId="18" srcId="10" destId="13" srcOrd="2" destOrd="0"/>
        <dgm:cxn modelId="50" srcId="0" destId="20" srcOrd="1" destOrd="0"/>
        <dgm:cxn modelId="60" srcId="0" destId="30" srcOrd="2" destOrd="0"/>
        <dgm:cxn modelId="32" srcId="30" destId="31" srcOrd="0" destOrd="0"/>
        <dgm:cxn modelId="26" srcId="20" destId="21" srcOrd="0" destOrd="0"/>
        <dgm:cxn modelId="27" srcId="20" destId="22" srcOrd="1" destOrd="0"/>
      </dgm:cxnLst>
      <dgm:bg/>
      <dgm:whole/>
    </dgm:dataModel>
  </dgm:clrData>
  <dgm:layoutNode name="Name0">
    <dgm:varLst>
      <dgm:chMax val="3"/>
      <dgm:chPref val="3"/>
      <dgm:bulletEnabled val="1"/>
      <dgm:dir/>
      <dgm:animLvl val="lvl"/>
    </dgm:varLst>
    <dgm:shape xmlns:r="http://schemas.openxmlformats.org/officeDocument/2006/relationships" r:blip="">
      <dgm:adjLst/>
    </dgm:shape>
    <dgm:choose name="Name1">
      <dgm:if name="Name2" axis="ch" ptType="node" func="cnt" op="gte" val="3">
        <dgm:alg type="composite">
          <dgm:param type="ar" val="2.8316"/>
        </dgm:alg>
        <dgm:choose name="Name3">
          <dgm:if name="Name4" func="var" arg="dir" op="equ" val="norm">
            <dgm:constrLst>
              <dgm:constr type="primFontSz" for="des" forName="parentText1" val="65"/>
              <dgm:constr type="primFontSz" for="des" forName="childText1_1" val="65"/>
              <dgm:constr type="primFontSz" for="des" forName="circ1Tx" val="65"/>
              <dgm:constr type="primFontSz" for="des" forName="parentText2" refType="primFontSz" refFor="des" refForName="parentText1" op="equ"/>
              <dgm:constr type="primFontSz" for="des" forName="parentText3" refType="primFontSz" refFor="des" refForName="parentText1" op="equ"/>
              <dgm:constr type="primFontSz" for="des" forName="childText1_1" refType="primFontSz" refFor="des" refForName="parentText1" op="lte"/>
              <dgm:constr type="primFontSz" for="des" forName="childText1_2" refType="primFontSz" refFor="des" refForName="parentText1" op="lte"/>
              <dgm:constr type="primFontSz" for="des" forName="childText1_3" refType="primFontSz" refFor="des" refForName="parentText1" op="lte"/>
              <dgm:constr type="primFontSz" for="des" forName="childText1_4" refType="primFontSz" refFor="des" refForName="parentText1" op="lte"/>
              <dgm:constr type="primFontSz" for="des" forName="childText1_1" refType="primFontSz" refFor="des" refForName="parentText2" op="lte"/>
              <dgm:constr type="primFontSz" for="des" forName="childText1_2" refType="primFontSz" refFor="des" refForName="parentText2" op="lte"/>
              <dgm:constr type="primFontSz" for="des" forName="childText1_3" refType="primFontSz" refFor="des" refForName="parentText2" op="lte"/>
              <dgm:constr type="primFontSz" for="des" forName="childText1_4" refType="primFontSz" refFor="des" refForName="parentText2" op="lte"/>
              <dgm:constr type="primFontSz" for="des" forName="childText1_1" refType="primFontSz" refFor="des" refForName="parentText3" op="lte"/>
              <dgm:constr type="primFontSz" for="des" forName="childText1_2" refType="primFontSz" refFor="des" refForName="parentText3" op="lte"/>
              <dgm:constr type="primFontSz" for="des" forName="childText1_3" refType="primFontSz" refFor="des" refForName="parentText3" op="lte"/>
              <dgm:constr type="primFontSz" for="des" forName="childText1_4" refType="primFontSz" refFor="des" refForName="parentText3" op="lte"/>
              <dgm:constr type="primFontSz" for="des" forName="circ1Tx" refType="primFontSz" refFor="des" refForName="parentText1" op="lte"/>
              <dgm:constr type="primFontSz" for="des" forName="circ2Tx" refType="primFontSz" refFor="des" refForName="parentText1" op="lte"/>
              <dgm:constr type="primFontSz" for="des" forName="circ3Tx" refType="primFontSz" refFor="des" refForName="parentText1" op="lte"/>
              <dgm:constr type="primFontSz" for="des" forName="circ4Tx" refType="primFontSz" refFor="des" refForName="parentText1" op="lte"/>
              <dgm:constr type="primFontSz" for="des" forName="circ1Tx" refType="primFontSz" refFor="des" refForName="parentText2" op="lte"/>
              <dgm:constr type="primFontSz" for="des" forName="circ2Tx" refType="primFontSz" refFor="des" refForName="parentText2" op="lte"/>
              <dgm:constr type="primFontSz" for="des" forName="circ3Tx" refType="primFontSz" refFor="des" refForName="parentText2" op="lte"/>
              <dgm:constr type="primFontSz" for="des" forName="circ4Tx" refType="primFontSz" refFor="des" refForName="parentText2" op="lte"/>
              <dgm:constr type="primFontSz" for="des" forName="circ1Tx" refType="primFontSz" refFor="des" refForName="parentText3" op="lte"/>
              <dgm:constr type="primFontSz" for="des" forName="circ2Tx" refType="primFontSz" refFor="des" refForName="parentText3" op="lte"/>
              <dgm:constr type="primFontSz" for="des" forName="circ3Tx" refType="primFontSz" refFor="des" refForName="parentText3" op="lte"/>
              <dgm:constr type="primFontSz" for="des" forName="circ4Tx" refType="primFontSz" refFor="des" refForName="parentText3" op="lte"/>
              <dgm:constr type="primFontSz" for="des" forName="rightChild" refType="primFontSz" refFor="des" refForName="parentText1" op="lte"/>
              <dgm:constr type="primFontSz" for="des" forName="rightChild" refType="primFontSz" refFor="des" refForName="parentText2" op="lte"/>
              <dgm:constr type="primFontSz" for="des" forName="rightChild" refType="primFontSz" refFor="des" refForName="parentText3" op="lte"/>
              <dgm:constr type="primFontSz" for="des" forName="childText1_2" refType="primFontSz" refFor="des" refForName="childText1_1" op="equ"/>
              <dgm:constr type="primFontSz" for="des" forName="childText1_3" refType="primFontSz" refFor="des" refForName="childText1_1" op="equ"/>
              <dgm:constr type="primFontSz" for="des" forName="childText1_4" refType="primFontSz" refFor="des" refForName="childText1_1" op="equ"/>
              <dgm:constr type="primFontSz" for="des" forName="circ2Tx" refType="primFontSz" refFor="des" refForName="circ1Tx" op="equ"/>
              <dgm:constr type="primFontSz" for="des" forName="circ3Tx" refType="primFontSz" refFor="des" refForName="circ1Tx" op="equ"/>
              <dgm:constr type="primFontSz" for="des" forName="circ4Tx" refType="primFontSz" refFor="des" refForName="circ1Tx" op="equ"/>
              <dgm:constr type="l" for="ch" forName="leftComposite" refType="w" fact="0.0567"/>
              <dgm:constr type="t" for="ch" forName="leftComposite" refType="h" fact="0.1159"/>
              <dgm:constr type="w" for="ch" forName="leftComposite" refType="w" fact="0.2455"/>
              <dgm:constr type="h" for="ch" forName="leftComposite" refType="h" fact="0.6953"/>
              <dgm:constr type="l" for="ch" forName="middleComposite" refType="w" fact="0.365"/>
              <dgm:constr type="t" for="ch" forName="middleComposite" refType="h" fact="0.1545"/>
              <dgm:constr type="w" for="ch" forName="middleComposite" refType="w" fact="0.2728"/>
              <dgm:constr type="h" for="ch" forName="middleComposite" refType="h" fact="0.6567"/>
              <dgm:constr type="l" for="ch" forName="arc1" refType="w" fact="0"/>
              <dgm:constr type="t" for="ch" forName="arc1" refType="h" fact="0"/>
              <dgm:constr type="w" for="ch" forName="arc1" refType="w" fact="0.3305"/>
              <dgm:constr type="h" for="ch" forName="arc1" refType="h" fact="0.9357"/>
              <dgm:constr type="l" for="ch" forName="arc2" refType="w" fact="0.3295"/>
              <dgm:constr type="t" for="ch" forName="arc2" refType="h" fact="0"/>
              <dgm:constr type="w" for="ch" forName="arc2" refType="w" fact="0.3305"/>
              <dgm:constr type="h" for="ch" forName="arc2" refType="h" fact="0.9357"/>
              <dgm:constr type="l" for="ch" forName="arc3" refType="w" fact="0.3401"/>
              <dgm:constr type="t" for="ch" forName="arc3" refType="h" fact="0"/>
              <dgm:constr type="w" for="ch" forName="arc3" refType="w" fact="0.3305"/>
              <dgm:constr type="h" for="ch" forName="arc3" refType="h" fact="0.9357"/>
              <dgm:constr type="l" for="ch" forName="arc4" refType="w" fact="0.6695"/>
              <dgm:constr type="t" for="ch" forName="arc4" refType="h" fact="0"/>
              <dgm:constr type="w" for="ch" forName="arc4" refType="w" fact="0.3305"/>
              <dgm:constr type="h" for="ch" forName="arc4" refType="h" fact="0.9357"/>
              <dgm:constr type="l" for="ch" forName="rightChild" refType="w" fact="0.713"/>
              <dgm:constr type="t" for="ch" forName="rightChild" refType="h" fact="0.1934"/>
              <dgm:constr type="w" for="ch" forName="rightChild" refType="w" fact="0.193"/>
              <dgm:constr type="h" for="ch" forName="rightChild" refType="h" fact="0.5464"/>
              <dgm:constr type="l" for="ch" forName="parentText1" refType="w" fact="0.0621"/>
              <dgm:constr type="t" for="ch" forName="parentText1" refType="h" fact="0.8128"/>
              <dgm:constr type="w" for="ch" forName="parentText1" refType="w" fact="0.2509"/>
              <dgm:constr type="h" for="ch" forName="parentText1" refType="h" fact="0.1872"/>
              <dgm:constr type="l" for="ch" forName="parentText2" refType="w" fact="0.3792"/>
              <dgm:constr type="t" for="ch" forName="parentText2" refType="h" fact="0.8128"/>
              <dgm:constr type="w" for="ch" forName="parentText2" refType="w" fact="0.2509"/>
              <dgm:constr type="h" for="ch" forName="parentText2" refType="h" fact="0.1872"/>
              <dgm:constr type="l" for="ch" forName="parentText3" refType="w" fact="0.6845"/>
              <dgm:constr type="t" for="ch" forName="parentText3" refType="h" fact="0.8128"/>
              <dgm:constr type="w" for="ch" forName="parentText3" refType="w" fact="0.2509"/>
              <dgm:constr type="h" for="ch" forName="parentText3" refType="h" fact="0.1872"/>
            </dgm:constrLst>
          </dgm:if>
          <dgm:else name="Name5">
            <dgm:constrLst>
              <dgm:constr type="primFontSz" for="des" forName="parentText1" val="65"/>
              <dgm:constr type="primFontSz" for="des" forName="childText1_1" val="65"/>
              <dgm:constr type="primFontSz" for="des" forName="circ1Tx" val="65"/>
              <dgm:constr type="primFontSz" for="des" forName="parentText2" refType="primFontSz" refFor="des" refForName="parentText1" op="equ"/>
              <dgm:constr type="primFontSz" for="des" forName="parentText3" refType="primFontSz" refFor="des" refForName="parentText1" op="equ"/>
              <dgm:constr type="primFontSz" for="des" forName="childText1_1" refType="primFontSz" refFor="des" refForName="parentText1" op="lte"/>
              <dgm:constr type="primFontSz" for="des" forName="childText1_2" refType="primFontSz" refFor="des" refForName="parentText1" op="lte"/>
              <dgm:constr type="primFontSz" for="des" forName="childText1_3" refType="primFontSz" refFor="des" refForName="parentText1" op="lte"/>
              <dgm:constr type="primFontSz" for="des" forName="childText1_4" refType="primFontSz" refFor="des" refForName="parentText1" op="lte"/>
              <dgm:constr type="primFontSz" for="des" forName="childText1_1" refType="primFontSz" refFor="des" refForName="parentText2" op="lte"/>
              <dgm:constr type="primFontSz" for="des" forName="childText1_2" refType="primFontSz" refFor="des" refForName="parentText2" op="lte"/>
              <dgm:constr type="primFontSz" for="des" forName="childText1_3" refType="primFontSz" refFor="des" refForName="parentText2" op="lte"/>
              <dgm:constr type="primFontSz" for="des" forName="childText1_4" refType="primFontSz" refFor="des" refForName="parentText2" op="lte"/>
              <dgm:constr type="primFontSz" for="des" forName="childText1_1" refType="primFontSz" refFor="des" refForName="parentText3" op="lte"/>
              <dgm:constr type="primFontSz" for="des" forName="childText1_2" refType="primFontSz" refFor="des" refForName="parentText3" op="lte"/>
              <dgm:constr type="primFontSz" for="des" forName="childText1_3" refType="primFontSz" refFor="des" refForName="parentText3" op="lte"/>
              <dgm:constr type="primFontSz" for="des" forName="childText1_4" refType="primFontSz" refFor="des" refForName="parentText3" op="lte"/>
              <dgm:constr type="primFontSz" for="des" forName="circ1Tx" refType="primFontSz" refFor="des" refForName="parentText1" op="lte"/>
              <dgm:constr type="primFontSz" for="des" forName="circ2Tx" refType="primFontSz" refFor="des" refForName="parentText1" op="lte"/>
              <dgm:constr type="primFontSz" for="des" forName="circ3Tx" refType="primFontSz" refFor="des" refForName="parentText1" op="lte"/>
              <dgm:constr type="primFontSz" for="des" forName="circ4Tx" refType="primFontSz" refFor="des" refForName="parentText1" op="lte"/>
              <dgm:constr type="primFontSz" for="des" forName="circ1Tx" refType="primFontSz" refFor="des" refForName="parentText2" op="lte"/>
              <dgm:constr type="primFontSz" for="des" forName="circ2Tx" refType="primFontSz" refFor="des" refForName="parentText2" op="lte"/>
              <dgm:constr type="primFontSz" for="des" forName="circ3Tx" refType="primFontSz" refFor="des" refForName="parentText2" op="lte"/>
              <dgm:constr type="primFontSz" for="des" forName="circ4Tx" refType="primFontSz" refFor="des" refForName="parentText2" op="lte"/>
              <dgm:constr type="primFontSz" for="des" forName="circ1Tx" refType="primFontSz" refFor="des" refForName="parentText3" op="lte"/>
              <dgm:constr type="primFontSz" for="des" forName="circ2Tx" refType="primFontSz" refFor="des" refForName="parentText3" op="lte"/>
              <dgm:constr type="primFontSz" for="des" forName="circ3Tx" refType="primFontSz" refFor="des" refForName="parentText3" op="lte"/>
              <dgm:constr type="primFontSz" for="des" forName="circ4Tx" refType="primFontSz" refFor="des" refForName="parentText3" op="lte"/>
              <dgm:constr type="primFontSz" for="des" forName="rightChild" refType="primFontSz" refFor="des" refForName="parentText1" op="lte"/>
              <dgm:constr type="primFontSz" for="des" forName="rightChild" refType="primFontSz" refFor="des" refForName="parentText2" op="lte"/>
              <dgm:constr type="primFontSz" for="des" forName="rightChild" refType="primFontSz" refFor="des" refForName="parentText3" op="lte"/>
              <dgm:constr type="primFontSz" for="des" forName="childText1_2" refType="primFontSz" refFor="des" refForName="childText1_1" op="equ"/>
              <dgm:constr type="primFontSz" for="des" forName="childText1_3" refType="primFontSz" refFor="des" refForName="childText1_1" op="equ"/>
              <dgm:constr type="primFontSz" for="des" forName="childText1_4" refType="primFontSz" refFor="des" refForName="childText1_1" op="equ"/>
              <dgm:constr type="primFontSz" for="des" forName="circ2Tx" refType="primFontSz" refFor="des" refForName="circ1Tx" op="equ"/>
              <dgm:constr type="primFontSz" for="des" forName="circ3Tx" refType="primFontSz" refFor="des" refForName="circ1Tx" op="equ"/>
              <dgm:constr type="primFontSz" for="des" forName="circ4Tx" refType="primFontSz" refFor="des" refForName="circ1Tx" op="equ"/>
              <dgm:constr type="l" for="ch" forName="leftComposite" refType="w" fact="0.72"/>
              <dgm:constr type="t" for="ch" forName="leftComposite" refType="h" fact="0.1159"/>
              <dgm:constr type="w" for="ch" forName="leftComposite" refType="w" fact="0.2455"/>
              <dgm:constr type="h" for="ch" forName="leftComposite" refType="h" fact="0.6953"/>
              <dgm:constr type="l" for="ch" forName="middleComposite" refType="w" fact="0.365"/>
              <dgm:constr type="t" for="ch" forName="middleComposite" refType="h" fact="0.1545"/>
              <dgm:constr type="w" for="ch" forName="middleComposite" refType="w" fact="0.2728"/>
              <dgm:constr type="h" for="ch" forName="middleComposite" refType="h" fact="0.6567"/>
              <dgm:constr type="l" for="ch" forName="rightChild" refType="w" fact="0.09"/>
              <dgm:constr type="t" for="ch" forName="rightChild" refType="h" fact="0.1934"/>
              <dgm:constr type="w" for="ch" forName="rightChild" refType="w" fact="0.193"/>
              <dgm:constr type="h" for="ch" forName="rightChild" refType="h" fact="0.5464"/>
              <dgm:constr type="l" for="ch" forName="arc1" refType="w" fact="0"/>
              <dgm:constr type="t" for="ch" forName="arc1" refType="h" fact="0"/>
              <dgm:constr type="w" for="ch" forName="arc1" refType="w" fact="0.3305"/>
              <dgm:constr type="h" for="ch" forName="arc1" refType="h" fact="0.9357"/>
              <dgm:constr type="l" for="ch" forName="arc2" refType="w" fact="0.3295"/>
              <dgm:constr type="t" for="ch" forName="arc2" refType="h" fact="0"/>
              <dgm:constr type="w" for="ch" forName="arc2" refType="w" fact="0.3305"/>
              <dgm:constr type="h" for="ch" forName="arc2" refType="h" fact="0.9357"/>
              <dgm:constr type="l" for="ch" forName="arc3" refType="w" fact="0.3401"/>
              <dgm:constr type="t" for="ch" forName="arc3" refType="h" fact="0"/>
              <dgm:constr type="w" for="ch" forName="arc3" refType="w" fact="0.3305"/>
              <dgm:constr type="h" for="ch" forName="arc3" refType="h" fact="0.9357"/>
              <dgm:constr type="l" for="ch" forName="arc4" refType="w" fact="0.6695"/>
              <dgm:constr type="t" for="ch" forName="arc4" refType="h" fact="0"/>
              <dgm:constr type="w" for="ch" forName="arc4" refType="w" fact="0.3305"/>
              <dgm:constr type="h" for="ch" forName="arc4" refType="h" fact="0.9357"/>
              <dgm:constr type="l" for="ch" forName="parentText1" refType="w" fact="0.7"/>
              <dgm:constr type="t" for="ch" forName="parentText1" refType="h" fact="0.8128"/>
              <dgm:constr type="w" for="ch" forName="parentText1" refType="w" fact="0.2509"/>
              <dgm:constr type="h" for="ch" forName="parentText1" refType="h" fact="0.1872"/>
              <dgm:constr type="l" for="ch" forName="parentText2" refType="w" fact="0.3792"/>
              <dgm:constr type="t" for="ch" forName="parentText2" refType="h" fact="0.8128"/>
              <dgm:constr type="w" for="ch" forName="parentText2" refType="w" fact="0.2509"/>
              <dgm:constr type="h" for="ch" forName="parentText2" refType="h" fact="0.1872"/>
              <dgm:constr type="l" for="ch" forName="parentText3" refType="w" fact="0.062"/>
              <dgm:constr type="t" for="ch" forName="parentText3" refType="h" fact="0.8128"/>
              <dgm:constr type="w" for="ch" forName="parentText3" refType="w" fact="0.2509"/>
              <dgm:constr type="h" for="ch" forName="parentText3" refType="h" fact="0.1872"/>
            </dgm:constrLst>
          </dgm:else>
        </dgm:choose>
      </dgm:if>
      <dgm:if name="Name6" axis="ch" ptType="node" func="cnt" op="gte" val="2">
        <dgm:alg type="composite">
          <dgm:param type="ar" val="1.8986"/>
        </dgm:alg>
        <dgm:choose name="Name7">
          <dgm:if name="Name8" func="var" arg="dir" op="equ" val="norm">
            <dgm:constrLst>
              <dgm:constr type="primFontSz" for="des" forName="parentText1" val="65"/>
              <dgm:constr type="primFontSz" for="des" forName="childText1_1" val="65"/>
              <dgm:constr type="primFontSz" for="des" forName="circ1Tx" val="65"/>
              <dgm:constr type="primFontSz" for="des" forName="parentText2" refType="primFontSz" refFor="des" refForName="parentText1" op="equ"/>
              <dgm:constr type="primFontSz" for="des" forName="childText1_1" refType="primFontSz" refFor="des" refForName="parentText1" op="lte"/>
              <dgm:constr type="primFontSz" for="des" forName="childText1_2" refType="primFontSz" refFor="des" refForName="parentText1" op="lte"/>
              <dgm:constr type="primFontSz" for="des" forName="childText1_3" refType="primFontSz" refFor="des" refForName="parentText1" op="lte"/>
              <dgm:constr type="primFontSz" for="des" forName="childText1_4" refType="primFontSz" refFor="des" refForName="parentText1" op="lte"/>
              <dgm:constr type="primFontSz" for="des" forName="childText1_1" refType="primFontSz" refFor="des" refForName="parentText2" op="lte"/>
              <dgm:constr type="primFontSz" for="des" forName="childText1_2" refType="primFontSz" refFor="des" refForName="parentText2" op="lte"/>
              <dgm:constr type="primFontSz" for="des" forName="childText1_3" refType="primFontSz" refFor="des" refForName="parentText2" op="lte"/>
              <dgm:constr type="primFontSz" for="des" forName="childText1_4" refType="primFontSz" refFor="des" refForName="parentText2" op="lte"/>
              <dgm:constr type="primFontSz" for="des" forName="childText1_1" refType="primFontSz" refFor="des" refForName="parentText3" op="lte"/>
              <dgm:constr type="primFontSz" for="des" forName="childText1_2" refType="primFontSz" refFor="des" refForName="parentText3" op="lte"/>
              <dgm:constr type="primFontSz" for="des" forName="childText1_3" refType="primFontSz" refFor="des" refForName="parentText3" op="lte"/>
              <dgm:constr type="primFontSz" for="des" forName="childText1_4" refType="primFontSz" refFor="des" refForName="parentText3" op="lte"/>
              <dgm:constr type="primFontSz" for="des" forName="circ1Tx" refType="primFontSz" refFor="des" refForName="parentText1" op="lte"/>
              <dgm:constr type="primFontSz" for="des" forName="circ2Tx" refType="primFontSz" refFor="des" refForName="parentText1" op="lte"/>
              <dgm:constr type="primFontSz" for="des" forName="circ3Tx" refType="primFontSz" refFor="des" refForName="parentText1" op="lte"/>
              <dgm:constr type="primFontSz" for="des" forName="circ4Tx" refType="primFontSz" refFor="des" refForName="parentText1" op="lte"/>
              <dgm:constr type="primFontSz" for="des" forName="circ1Tx" refType="primFontSz" refFor="des" refForName="parentText2" op="lte"/>
              <dgm:constr type="primFontSz" for="des" forName="circ2Tx" refType="primFontSz" refFor="des" refForName="parentText2" op="lte"/>
              <dgm:constr type="primFontSz" for="des" forName="circ3Tx" refType="primFontSz" refFor="des" refForName="parentText2" op="lte"/>
              <dgm:constr type="primFontSz" for="des" forName="circ4Tx" refType="primFontSz" refFor="des" refForName="parentText2" op="lte"/>
              <dgm:constr type="primFontSz" for="des" forName="circ1Tx" refType="primFontSz" refFor="des" refForName="parentText3" op="lte"/>
              <dgm:constr type="primFontSz" for="des" forName="circ2Tx" refType="primFontSz" refFor="des" refForName="parentText3" op="lte"/>
              <dgm:constr type="primFontSz" for="des" forName="circ3Tx" refType="primFontSz" refFor="des" refForName="parentText3" op="lte"/>
              <dgm:constr type="primFontSz" for="des" forName="circ4Tx" refType="primFontSz" refFor="des" refForName="parentText3" op="lte"/>
              <dgm:constr type="primFontSz" for="des" forName="childText1_2" refType="primFontSz" refFor="des" refForName="childText1_1" op="equ"/>
              <dgm:constr type="primFontSz" for="des" forName="childText1_3" refType="primFontSz" refFor="des" refForName="childText1_1" op="equ"/>
              <dgm:constr type="primFontSz" for="des" forName="childText1_4" refType="primFontSz" refFor="des" refForName="childText1_1" op="equ"/>
              <dgm:constr type="primFontSz" for="des" forName="circ2Tx" refType="primFontSz" refFor="des" refForName="circ1Tx" op="equ"/>
              <dgm:constr type="primFontSz" for="des" forName="circ3Tx" refType="primFontSz" refFor="des" refForName="circ1Tx" op="equ"/>
              <dgm:constr type="primFontSz" for="des" forName="circ4Tx" refType="primFontSz" refFor="des" refForName="circ1Tx" op="equ"/>
              <dgm:constr type="l" for="ch" forName="leftComposite" refType="w" fact="0.0941"/>
              <dgm:constr type="t" for="ch" forName="leftComposite" refType="h" fact="0.1159"/>
              <dgm:constr type="w" for="ch" forName="leftComposite" refType="w" fact="0.3469"/>
              <dgm:constr type="h" for="ch" forName="leftComposite" refType="h" fact="0.6953"/>
              <dgm:constr type="l" for="ch" forName="middleComposite" refType="w" fact="0.5782"/>
              <dgm:constr type="t" for="ch" forName="middleComposite" refType="h" fact="0.1159"/>
              <dgm:constr type="w" for="ch" forName="middleComposite" refType="w" fact="0.3389"/>
              <dgm:constr type="h" for="ch" forName="middleComposite" refType="h" fact="0.6567"/>
              <dgm:constr type="l" for="ch" forName="arc1" refType="w" fact="0"/>
              <dgm:constr type="t" for="ch" forName="arc1" refType="h" fact="0"/>
              <dgm:constr type="w" for="ch" forName="arc1" refType="w" fact="0.4928"/>
              <dgm:constr type="h" for="ch" forName="arc1" refType="h" fact="0.9357"/>
              <dgm:constr type="l" for="ch" forName="arc3" refType="w" fact="0.5072"/>
              <dgm:constr type="t" for="ch" forName="arc3" refType="h" fact="0"/>
              <dgm:constr type="w" for="ch" forName="arc3" refType="w" fact="0.4928"/>
              <dgm:constr type="h" for="ch" forName="arc3" refType="h" fact="0.9357"/>
              <dgm:constr type="l" for="ch" forName="parentText1" refType="w" fact="0.0926"/>
              <dgm:constr type="t" for="ch" forName="parentText1" refType="h" fact="0.8128"/>
              <dgm:constr type="w" for="ch" forName="parentText1" refType="w" fact="0.3742"/>
              <dgm:constr type="h" for="ch" forName="parentText1" refType="h" fact="0.1872"/>
              <dgm:constr type="l" for="ch" forName="parentText2" refType="w" fact="0.5655"/>
              <dgm:constr type="t" for="ch" forName="parentText2" refType="h" fact="0.8128"/>
              <dgm:constr type="w" for="ch" forName="parentText2" refType="w" fact="0.3742"/>
              <dgm:constr type="h" for="ch" forName="parentText2" refType="h" fact="0.1872"/>
            </dgm:constrLst>
          </dgm:if>
          <dgm:else name="Name9">
            <dgm:constrLst>
              <dgm:constr type="primFontSz" for="des" forName="parentText1" val="65"/>
              <dgm:constr type="primFontSz" for="des" forName="childText1_1" val="65"/>
              <dgm:constr type="primFontSz" for="des" forName="circ1Tx" val="65"/>
              <dgm:constr type="primFontSz" for="des" forName="parentText2" refType="primFontSz" refFor="des" refForName="parentText1" op="equ"/>
              <dgm:constr type="primFontSz" for="des" forName="childText1_1" refType="primFontSz" refFor="des" refForName="parentText1" op="lte"/>
              <dgm:constr type="primFontSz" for="des" forName="childText1_2" refType="primFontSz" refFor="des" refForName="parentText1" op="lte"/>
              <dgm:constr type="primFontSz" for="des" forName="childText1_3" refType="primFontSz" refFor="des" refForName="parentText1" op="lte"/>
              <dgm:constr type="primFontSz" for="des" forName="childText1_4" refType="primFontSz" refFor="des" refForName="parentText1" op="lte"/>
              <dgm:constr type="primFontSz" for="des" forName="childText1_1" refType="primFontSz" refFor="des" refForName="parentText2" op="lte"/>
              <dgm:constr type="primFontSz" for="des" forName="childText1_2" refType="primFontSz" refFor="des" refForName="parentText2" op="lte"/>
              <dgm:constr type="primFontSz" for="des" forName="childText1_3" refType="primFontSz" refFor="des" refForName="parentText2" op="lte"/>
              <dgm:constr type="primFontSz" for="des" forName="childText1_4" refType="primFontSz" refFor="des" refForName="parentText2" op="lte"/>
              <dgm:constr type="primFontSz" for="des" forName="childText1_1" refType="primFontSz" refFor="des" refForName="parentText3" op="lte"/>
              <dgm:constr type="primFontSz" for="des" forName="childText1_2" refType="primFontSz" refFor="des" refForName="parentText3" op="lte"/>
              <dgm:constr type="primFontSz" for="des" forName="childText1_3" refType="primFontSz" refFor="des" refForName="parentText3" op="lte"/>
              <dgm:constr type="primFontSz" for="des" forName="childText1_4" refType="primFontSz" refFor="des" refForName="parentText3" op="lte"/>
              <dgm:constr type="primFontSz" for="des" forName="circ1Tx" refType="primFontSz" refFor="des" refForName="parentText1" op="lte"/>
              <dgm:constr type="primFontSz" for="des" forName="circ2Tx" refType="primFontSz" refFor="des" refForName="parentText1" op="lte"/>
              <dgm:constr type="primFontSz" for="des" forName="circ3Tx" refType="primFontSz" refFor="des" refForName="parentText1" op="lte"/>
              <dgm:constr type="primFontSz" for="des" forName="circ4Tx" refType="primFontSz" refFor="des" refForName="parentText1" op="lte"/>
              <dgm:constr type="primFontSz" for="des" forName="circ1Tx" refType="primFontSz" refFor="des" refForName="parentText2" op="lte"/>
              <dgm:constr type="primFontSz" for="des" forName="circ2Tx" refType="primFontSz" refFor="des" refForName="parentText2" op="lte"/>
              <dgm:constr type="primFontSz" for="des" forName="circ3Tx" refType="primFontSz" refFor="des" refForName="parentText2" op="lte"/>
              <dgm:constr type="primFontSz" for="des" forName="circ4Tx" refType="primFontSz" refFor="des" refForName="parentText2" op="lte"/>
              <dgm:constr type="primFontSz" for="des" forName="circ1Tx" refType="primFontSz" refFor="des" refForName="parentText3" op="lte"/>
              <dgm:constr type="primFontSz" for="des" forName="circ2Tx" refType="primFontSz" refFor="des" refForName="parentText3" op="lte"/>
              <dgm:constr type="primFontSz" for="des" forName="circ3Tx" refType="primFontSz" refFor="des" refForName="parentText3" op="lte"/>
              <dgm:constr type="primFontSz" for="des" forName="circ4Tx" refType="primFontSz" refFor="des" refForName="parentText3" op="lte"/>
              <dgm:constr type="primFontSz" for="des" forName="childText1_2" refType="primFontSz" refFor="des" refForName="childText1_1" op="equ"/>
              <dgm:constr type="primFontSz" for="des" forName="childText1_3" refType="primFontSz" refFor="des" refForName="childText1_1" op="equ"/>
              <dgm:constr type="primFontSz" for="des" forName="childText1_4" refType="primFontSz" refFor="des" refForName="childText1_1" op="equ"/>
              <dgm:constr type="primFontSz" for="des" forName="circ2Tx" refType="primFontSz" refFor="des" refForName="circ1Tx" op="equ"/>
              <dgm:constr type="primFontSz" for="des" forName="circ3Tx" refType="primFontSz" refFor="des" refForName="circ1Tx" op="equ"/>
              <dgm:constr type="primFontSz" for="des" forName="circ4Tx" refType="primFontSz" refFor="des" refForName="circ1Tx" op="equ"/>
              <dgm:constr type="l" for="ch" forName="leftComposite" refType="w" fact="0.592"/>
              <dgm:constr type="t" for="ch" forName="leftComposite" refType="h" fact="0.1159"/>
              <dgm:constr type="w" for="ch" forName="leftComposite" refType="w" fact="0.3469"/>
              <dgm:constr type="h" for="ch" forName="leftComposite" refType="h" fact="0.6953"/>
              <dgm:constr type="l" for="ch" forName="middleComposite" refType="w" fact="0.0941"/>
              <dgm:constr type="t" for="ch" forName="middleComposite" refType="h" fact="0.1159"/>
              <dgm:constr type="w" for="ch" forName="middleComposite" refType="w" fact="0.3389"/>
              <dgm:constr type="h" for="ch" forName="middleComposite" refType="h" fact="0.6567"/>
              <dgm:constr type="l" for="ch" forName="arc1" refType="w" fact="0"/>
              <dgm:constr type="t" for="ch" forName="arc1" refType="h" fact="0"/>
              <dgm:constr type="w" for="ch" forName="arc1" refType="w" fact="0.4928"/>
              <dgm:constr type="h" for="ch" forName="arc1" refType="h" fact="0.9357"/>
              <dgm:constr type="l" for="ch" forName="arc3" refType="w" fact="0.5072"/>
              <dgm:constr type="t" for="ch" forName="arc3" refType="h" fact="0"/>
              <dgm:constr type="w" for="ch" forName="arc3" refType="w" fact="0.4928"/>
              <dgm:constr type="h" for="ch" forName="arc3" refType="h" fact="0.9357"/>
              <dgm:constr type="l" for="ch" forName="parentText2" refType="w" fact="0.0926"/>
              <dgm:constr type="t" for="ch" forName="parentText2" refType="h" fact="0.8128"/>
              <dgm:constr type="w" for="ch" forName="parentText2" refType="w" fact="0.3742"/>
              <dgm:constr type="h" for="ch" forName="parentText2" refType="h" fact="0.1872"/>
              <dgm:constr type="l" for="ch" forName="parentText1" refType="w" fact="0.5655"/>
              <dgm:constr type="t" for="ch" forName="parentText1" refType="h" fact="0.8128"/>
              <dgm:constr type="w" for="ch" forName="parentText1" refType="w" fact="0.3742"/>
              <dgm:constr type="h" for="ch" forName="parentText1" refType="h" fact="0.1872"/>
            </dgm:constrLst>
          </dgm:else>
        </dgm:choose>
      </dgm:if>
      <dgm:else name="Name10">
        <dgm:alg type="composite">
          <dgm:param type="ar" val="0.8036"/>
        </dgm:alg>
        <dgm:constrLst>
          <dgm:constr type="primFontSz" for="des" forName="parentText1" val="65"/>
          <dgm:constr type="primFontSz" for="des" forName="childText1_1" val="65"/>
          <dgm:constr type="primFontSz" for="des" forName="childText1_1" refType="primFontSz" refFor="des" refForName="parentText1" op="lte"/>
          <dgm:constr type="primFontSz" for="des" forName="childText1_2" refType="primFontSz" refFor="des" refForName="parentText1" op="lte"/>
          <dgm:constr type="primFontSz" for="des" forName="childText1_3" refType="primFontSz" refFor="des" refForName="parentText1" op="lte"/>
          <dgm:constr type="primFontSz" for="des" forName="childText1_4" refType="primFontSz" refFor="des" refForName="parentText1" op="lte"/>
          <dgm:constr type="primFontSz" for="des" forName="childText1_1" refType="primFontSz" refFor="des" refForName="parentText2" op="lte"/>
          <dgm:constr type="primFontSz" for="des" forName="childText1_2" refType="primFontSz" refFor="des" refForName="parentText2" op="lte"/>
          <dgm:constr type="primFontSz" for="des" forName="childText1_3" refType="primFontSz" refFor="des" refForName="parentText2" op="lte"/>
          <dgm:constr type="primFontSz" for="des" forName="childText1_4" refType="primFontSz" refFor="des" refForName="parentText2" op="lte"/>
          <dgm:constr type="primFontSz" for="des" forName="childText1_1" refType="primFontSz" refFor="des" refForName="parentText3" op="lte"/>
          <dgm:constr type="primFontSz" for="des" forName="childText1_2" refType="primFontSz" refFor="des" refForName="parentText3" op="lte"/>
          <dgm:constr type="primFontSz" for="des" forName="childText1_3" refType="primFontSz" refFor="des" refForName="parentText3" op="lte"/>
          <dgm:constr type="primFontSz" for="des" forName="childText1_4" refType="primFontSz" refFor="des" refForName="parentText3" op="lte"/>
          <dgm:constr type="primFontSz" for="des" forName="childText1_2" refType="primFontSz" refFor="des" refForName="childText1_1" op="equ"/>
          <dgm:constr type="primFontSz" for="des" forName="childText1_3" refType="primFontSz" refFor="des" refForName="childText1_1" op="equ"/>
          <dgm:constr type="primFontSz" for="des" forName="childText1_4" refType="primFontSz" refFor="des" refForName="childText1_1" op="equ"/>
          <dgm:constr type="l" for="ch" forName="leftComposite" refType="w" fact="0"/>
          <dgm:constr type="t" for="ch" forName="leftComposite" refType="h" fact="0.1159"/>
          <dgm:constr type="w" for="ch" forName="leftComposite" refType="w"/>
          <dgm:constr type="h" for="ch" forName="leftComposite" refType="h" fact="0.6953"/>
          <dgm:constr type="l" for="ch" forName="parentText1" refType="w" fact="0"/>
          <dgm:constr type="t" for="ch" forName="parentText1" refType="h" fact="0.8128"/>
          <dgm:constr type="w" for="ch" forName="parentText1" refType="w"/>
          <dgm:constr type="h" for="ch" forName="parentText1" refType="h" fact="0.1872"/>
        </dgm:constrLst>
      </dgm:else>
    </dgm:choose>
    <dgm:choose name="Name11">
      <dgm:if name="Name12" axis="ch" ptType="node" func="cnt" op="gte" val="1">
        <dgm:choose name="Name13">
          <dgm:if name="Name14" axis="ch" ptType="node" func="cnt" op="gte" val="2">
            <dgm:layoutNode name="arc1">
              <dgm:alg type="sp"/>
              <dgm:shape xmlns:r="http://schemas.openxmlformats.org/officeDocument/2006/relationships" rot="90" type="blockArc" r:blip="">
                <dgm:adjLst>
                  <dgm:adj idx="1" val="-135"/>
                  <dgm:adj idx="2" val="-45"/>
                  <dgm:adj idx="3" val="0.0496"/>
                </dgm:adjLst>
              </dgm:shape>
              <dgm:presOf/>
            </dgm:layoutNode>
            <dgm:layoutNode name="arc3">
              <dgm:alg type="sp"/>
              <dgm:shape xmlns:r="http://schemas.openxmlformats.org/officeDocument/2006/relationships" rot="270" type="blockArc" r:blip="">
                <dgm:adjLst>
                  <dgm:adj idx="1" val="-135"/>
                  <dgm:adj idx="2" val="-45"/>
                  <dgm:adj idx="3" val="0.0496"/>
                </dgm:adjLst>
              </dgm:shape>
              <dgm:presOf/>
            </dgm:layoutNode>
            <dgm:layoutNode name="parentText2" styleLbl="revTx">
              <dgm:varLst>
                <dgm:chMax val="4"/>
                <dgm:chPref val="3"/>
                <dgm:bulletEnabled val="1"/>
              </dgm:varLst>
              <dgm:alg type="tx"/>
              <dgm:shape xmlns:r="http://schemas.openxmlformats.org/officeDocument/2006/relationships" type="rect" r:blip="">
                <dgm:adjLst/>
              </dgm:shape>
              <dgm:presOf axis="ch 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5"/>
        </dgm:choose>
        <dgm:choose name="Name16">
          <dgm:if name="Name17" axis="ch" ptType="node" func="cnt" op="gte" val="3">
            <dgm:layoutNode name="arc2">
              <dgm:alg type="sp"/>
              <dgm:shape xmlns:r="http://schemas.openxmlformats.org/officeDocument/2006/relationships" rot="90" type="blockArc" r:blip="">
                <dgm:adjLst>
                  <dgm:adj idx="1" val="-135"/>
                  <dgm:adj idx="2" val="-45"/>
                  <dgm:adj idx="3" val="0.0496"/>
                </dgm:adjLst>
              </dgm:shape>
              <dgm:presOf/>
            </dgm:layoutNode>
            <dgm:layoutNode name="arc4">
              <dgm:alg type="sp"/>
              <dgm:shape xmlns:r="http://schemas.openxmlformats.org/officeDocument/2006/relationships" rot="270" type="blockArc" r:blip="">
                <dgm:adjLst>
                  <dgm:adj idx="1" val="-135"/>
                  <dgm:adj idx="2" val="-45"/>
                  <dgm:adj idx="3" val="0.0496"/>
                </dgm:adjLst>
              </dgm:shape>
              <dgm:presOf/>
            </dgm:layoutNode>
            <dgm:layoutNode name="parentText3" styleLbl="revTx">
              <dgm:varLst>
                <dgm:chMax val="1"/>
                <dgm:chPref val="1"/>
                <dgm:bulletEnabled val="1"/>
              </dgm:varLst>
              <dgm:alg type="tx"/>
              <dgm:shape xmlns:r="http://schemas.openxmlformats.org/officeDocument/2006/relationships" type="rect" r:blip="">
                <dgm:adjLst/>
              </dgm:shape>
              <dgm:presOf axis="ch 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8"/>
        </dgm:choose>
      </dgm:if>
      <dgm:else name="Name19"/>
    </dgm:choose>
    <dgm:layoutNode name="middleComposite">
      <dgm:choose name="Name20">
        <dgm:if name="Name21" axis="ch ch" ptType="node node" st="2 1" cnt="1 0" func="cnt" op="lte" val="1">
          <dgm:alg type="composite">
            <dgm:param type="ar" val="1"/>
          </dgm:alg>
        </dgm:if>
        <dgm:if name="Name22" axis="ch ch" ptType="node node" st="2 1" cnt="1 0" func="cnt" op="equ" val="2">
          <dgm:alg type="composite">
            <dgm:param type="ar" val="1.792"/>
          </dgm:alg>
        </dgm:if>
        <dgm:if name="Name23" axis="ch ch" ptType="node node" st="2 1" cnt="1 0" func="cnt" op="equ" val="3">
          <dgm:alg type="composite">
            <dgm:param type="ar" val="1"/>
          </dgm:alg>
        </dgm:if>
        <dgm:else name="Name24">
          <dgm:alg type="composite">
            <dgm:param type="ar" val="1"/>
          </dgm:alg>
        </dgm:else>
      </dgm:choose>
      <dgm:shape xmlns:r="http://schemas.openxmlformats.org/officeDocument/2006/relationships" r:blip="">
        <dgm:adjLst/>
      </dgm:shape>
      <dgm:presOf/>
      <dgm:choose name="Name25">
        <dgm:if name="Name26" axis="ch ch" ptType="node node" st="2 1" cnt="1 0" func="cnt" op="lte" val="1">
          <dgm:constrLst>
            <dgm:constr type="ctrX" for="ch" forName="circ1" refType="w" fact="0.5"/>
            <dgm:constr type="ctrY" for="ch" forName="circ1" refType="h" fact="0.5"/>
            <dgm:constr type="w" for="ch" forName="circ1" refType="w"/>
            <dgm:constr type="h" for="ch" forName="circ1" refType="h"/>
            <dgm:constr type="l" for="ch" forName="circ1Tx" refType="w" fact="0.2"/>
            <dgm:constr type="t" for="ch" forName="circ1Tx" refType="h" fact="0.1"/>
            <dgm:constr type="w" for="ch" forName="circ1Tx" refType="w" fact="0.6"/>
            <dgm:constr type="h" for="ch" forName="circ1Tx" refType="h" fact="0.8"/>
          </dgm:constrLst>
        </dgm:if>
        <dgm:if name="Name27" axis="ch ch" ptType="node node" st="2 1" cnt="1 0" func="cnt" op="equ" val="2">
          <dgm:constrLst>
            <dgm:constr type="ctrX" for="ch" forName="circ1" refType="w" fact="0.3"/>
            <dgm:constr type="ctrY" for="ch" forName="circ1" refType="h" fact="0.5"/>
            <dgm:constr type="w" for="ch" forName="circ1" refType="w" fact="0.555"/>
            <dgm:constr type="h" for="ch" forName="circ1" refType="h" fact="0.99456"/>
            <dgm:constr type="l" for="ch" forName="circ1Tx" refType="w" fact="0.1"/>
            <dgm:constr type="t" for="ch" forName="circ1Tx" refType="h" fact="0.12"/>
            <dgm:constr type="w" for="ch" forName="circ1Tx" refType="w" fact="0.32"/>
            <dgm:constr type="h" for="ch" forName="circ1Tx" refType="h" fact="0.76"/>
            <dgm:constr type="ctrX" for="ch" forName="circ2" refType="w" fact="0.7"/>
            <dgm:constr type="ctrY" for="ch" forName="circ2" refType="h" fact="0.5"/>
            <dgm:constr type="w" for="ch" forName="circ2" refType="w" fact="0.555"/>
            <dgm:constr type="h" for="ch" forName="circ2" refType="h" fact="0.99456"/>
            <dgm:constr type="l" for="ch" forName="circ2Tx" refType="w" fact="0.58"/>
            <dgm:constr type="t" for="ch" forName="circ2Tx" refType="h" fact="0.12"/>
            <dgm:constr type="w" for="ch" forName="circ2Tx" refType="w" fact="0.32"/>
            <dgm:constr type="h" for="ch" forName="circ2Tx" refType="h" fact="0.76"/>
          </dgm:constrLst>
        </dgm:if>
        <dgm:if name="Name28" axis="ch ch" ptType="node node" st="2 1" cnt="1 0" func="cnt" op="equ" val="3">
          <dgm:constrLst>
            <dgm:constr type="ctrX" for="ch" forName="circ1" refType="w" fact="0.5"/>
            <dgm:constr type="ctrY" for="ch" forName="circ1" refType="w" fact="0.25"/>
            <dgm:constr type="w" for="ch" forName="circ1" refType="w" fact="0.6"/>
            <dgm:constr type="h" for="ch" forName="circ1" refType="h" fact="0.6"/>
            <dgm:constr type="l" for="ch" forName="circ1Tx" refType="w" fact="0.28"/>
            <dgm:constr type="t" for="ch" forName="circ1Tx" refType="h" fact="0.055"/>
            <dgm:constr type="w" for="ch" forName="circ1Tx" refType="w" fact="0.44"/>
            <dgm:constr type="h" for="ch" forName="circ1Tx" refType="h" fact="0.27"/>
            <dgm:constr type="ctrX" for="ch" forName="circ2" refType="w" fact="0.7165"/>
            <dgm:constr type="ctrY" for="ch" forName="circ2" refType="w" fact="0.625"/>
            <dgm:constr type="w" for="ch" forName="circ2" refType="w" fact="0.6"/>
            <dgm:constr type="h" for="ch" forName="circ2" refType="h" fact="0.6"/>
            <dgm:constr type="l" for="ch" forName="circ2Tx" refType="w" fact="0.6"/>
            <dgm:constr type="t" for="ch" forName="circ2Tx" refType="h" fact="0.48"/>
            <dgm:constr type="w" for="ch" forName="circ2Tx" refType="w" fact="0.36"/>
            <dgm:constr type="h" for="ch" forName="circ2Tx" refType="h" fact="0.33"/>
            <dgm:constr type="ctrX" for="ch" forName="circ3" refType="w" fact="0.2835"/>
            <dgm:constr type="ctrY" for="ch" forName="circ3" refType="w" fact="0.625"/>
            <dgm:constr type="w" for="ch" forName="circ3" refType="w" fact="0.6"/>
            <dgm:constr type="h" for="ch" forName="circ3" refType="h" fact="0.6"/>
            <dgm:constr type="l" for="ch" forName="circ3Tx" refType="w" fact="0.04"/>
            <dgm:constr type="t" for="ch" forName="circ3Tx" refType="h" fact="0.48"/>
            <dgm:constr type="w" for="ch" forName="circ3Tx" refType="w" fact="0.36"/>
            <dgm:constr type="h" for="ch" forName="circ3Tx" refType="h" fact="0.33"/>
          </dgm:constrLst>
        </dgm:if>
        <dgm:else name="Name29">
          <dgm:constrLst>
            <dgm:constr type="ctrX" for="ch" forName="circ1" refType="w" fact="0.5"/>
            <dgm:constr type="ctrY" for="ch" forName="circ1" refType="w" fact="0.27"/>
            <dgm:constr type="w" for="ch" forName="circ1" refType="w" fact="0.52"/>
            <dgm:constr type="h" for="ch" forName="circ1" refType="h" fact="0.52"/>
            <dgm:constr type="l" for="ch" forName="circ1Tx" refType="w" fact="0.3"/>
            <dgm:constr type="t" for="ch" forName="circ1Tx" refType="h" fact="0.08"/>
            <dgm:constr type="w" for="ch" forName="circ1Tx" refType="w" fact="0.4"/>
            <dgm:constr type="h" for="ch" forName="circ1Tx" refType="h" fact="0.165"/>
            <dgm:constr type="ctrX" for="ch" forName="circ2" refType="w" fact="0.73"/>
            <dgm:constr type="ctrY" for="ch" forName="circ2" refType="w" fact="0.5"/>
            <dgm:constr type="w" for="ch" forName="circ2" refType="w" fact="0.52"/>
            <dgm:constr type="h" for="ch" forName="circ2" refType="h" fact="0.52"/>
            <dgm:constr type="r" for="ch" forName="circ2Tx" refType="w" fact="0.95"/>
            <dgm:constr type="t" for="ch" forName="circ2Tx" refType="h" fact="0.3"/>
            <dgm:constr type="w" for="ch" forName="circ2Tx" refType="w" fact="0.2"/>
            <dgm:constr type="h" for="ch" forName="circ2Tx" refType="h" fact="0.4"/>
            <dgm:constr type="ctrX" for="ch" forName="circ3" refType="w" fact="0.5"/>
            <dgm:constr type="ctrY" for="ch" forName="circ3" refType="w" fact="0.73"/>
            <dgm:constr type="w" for="ch" forName="circ3" refType="w" fact="0.52"/>
            <dgm:constr type="h" for="ch" forName="circ3" refType="h" fact="0.52"/>
            <dgm:constr type="l" for="ch" forName="circ3Tx" refType="w" fact="0.3"/>
            <dgm:constr type="b" for="ch" forName="circ3Tx" refType="h" fact="0.92"/>
            <dgm:constr type="w" for="ch" forName="circ3Tx" refType="w" fact="0.4"/>
            <dgm:constr type="h" for="ch" forName="circ3Tx" refType="h" fact="0.165"/>
            <dgm:constr type="ctrX" for="ch" forName="circ4" refType="w" fact="0.27"/>
            <dgm:constr type="ctrY" for="ch" forName="circ4" refType="h" fact="0.5"/>
            <dgm:constr type="w" for="ch" forName="circ4" refType="w" fact="0.52"/>
            <dgm:constr type="h" for="ch" forName="circ4" refType="h" fact="0.52"/>
            <dgm:constr type="l" for="ch" forName="circ4Tx" refType="w" fact="0.05"/>
            <dgm:constr type="t" for="ch" forName="circ4Tx" refType="h" fact="0.3"/>
            <dgm:constr type="w" for="ch" forName="circ4Tx" refType="w" fact="0.2"/>
            <dgm:constr type="h" for="ch" forName="circ4Tx" refType="h" fact="0.4"/>
          </dgm:constrLst>
        </dgm:else>
      </dgm:choose>
      <dgm:ruleLst/>
      <dgm:forEach name="Name30" axis="ch ch" ptType="node node" st="2 1" cnt="1 1">
        <dgm:layoutNode name="circ1" styleLbl="vennNode1">
          <dgm:alg type="sp"/>
          <dgm:shape xmlns:r="http://schemas.openxmlformats.org/officeDocument/2006/relationships" type="ellipse" r:blip="">
            <dgm:adjLst/>
          </dgm:shape>
          <dgm:presOf axis="desOrSelf" ptType="node"/>
          <dgm:constrLst/>
          <dgm:ruleLst/>
        </dgm:layoutNode>
        <dgm:layoutNode name="circ1Tx" styleLbl="revTx">
          <dgm:varLst>
            <dgm:chMax val="0"/>
            <dgm:chPref val="0"/>
          </dgm:varLst>
          <dgm:alg type="tx">
            <dgm:param type="txAnchorHorzCh" val="ctr"/>
            <dgm:param type="txAnchorVertCh" val="mid"/>
          </dgm:alg>
          <dgm:shape xmlns:r="http://schemas.openxmlformats.org/officeDocument/2006/relationships" type="rect" r:blip="" hideGeom="1">
            <dgm:adjLst/>
          </dgm:shape>
          <dgm:presOf axis="desOrSelf" ptType="node"/>
          <dgm:constrLst>
            <dgm:constr type="tMarg"/>
            <dgm:constr type="bMarg"/>
            <dgm:constr type="lMarg"/>
            <dgm:constr type="rMarg"/>
            <dgm:constr type="primFontSz" val="20"/>
          </dgm:constrLst>
          <dgm:ruleLst>
            <dgm:rule type="primFontSz" val="5" fact="NaN" max="NaN"/>
          </dgm:ruleLst>
        </dgm:layoutNode>
      </dgm:forEach>
      <dgm:forEach name="Name31" axis="ch ch" ptType="node node" st="2 2" cnt="1 1">
        <dgm:layoutNode name="circ2" styleLbl="vennNode1">
          <dgm:alg type="sp"/>
          <dgm:shape xmlns:r="http://schemas.openxmlformats.org/officeDocument/2006/relationships" type="ellipse" r:blip="">
            <dgm:adjLst/>
          </dgm:shape>
          <dgm:presOf axis="desOrSelf" ptType="node"/>
          <dgm:constrLst/>
          <dgm:ruleLst/>
        </dgm:layoutNode>
        <dgm:layoutNode name="circ2Tx" styleLbl="revTx">
          <dgm:varLst>
            <dgm:chMax val="0"/>
            <dgm:chPref val="0"/>
          </dgm:varLst>
          <dgm:alg type="tx">
            <dgm:param type="txAnchorHorzCh" val="ctr"/>
            <dgm:param type="txAnchorVertCh" val="mid"/>
          </dgm:alg>
          <dgm:shape xmlns:r="http://schemas.openxmlformats.org/officeDocument/2006/relationships" type="rect" r:blip="" hideGeom="1">
            <dgm:adjLst/>
          </dgm:shape>
          <dgm:presOf axis="desOrSelf" ptType="node"/>
          <dgm:constrLst>
            <dgm:constr type="tMarg"/>
            <dgm:constr type="bMarg"/>
            <dgm:constr type="lMarg"/>
            <dgm:constr type="rMarg"/>
            <dgm:constr type="primFontSz" val="20"/>
          </dgm:constrLst>
          <dgm:ruleLst>
            <dgm:rule type="primFontSz" val="5" fact="NaN" max="NaN"/>
          </dgm:ruleLst>
        </dgm:layoutNode>
      </dgm:forEach>
      <dgm:forEach name="Name32" axis="ch ch" ptType="node node" st="2 3" cnt="1 1">
        <dgm:layoutNode name="circ3" styleLbl="vennNode1">
          <dgm:alg type="sp"/>
          <dgm:shape xmlns:r="http://schemas.openxmlformats.org/officeDocument/2006/relationships" type="ellipse" r:blip="">
            <dgm:adjLst/>
          </dgm:shape>
          <dgm:presOf axis="desOrSelf" ptType="node"/>
          <dgm:constrLst/>
          <dgm:ruleLst/>
        </dgm:layoutNode>
        <dgm:layoutNode name="circ3Tx" styleLbl="revTx">
          <dgm:varLst>
            <dgm:chMax val="0"/>
            <dgm:chPref val="0"/>
          </dgm:varLst>
          <dgm:alg type="tx">
            <dgm:param type="txAnchorHorzCh" val="ctr"/>
            <dgm:param type="txAnchorVertCh" val="mid"/>
          </dgm:alg>
          <dgm:shape xmlns:r="http://schemas.openxmlformats.org/officeDocument/2006/relationships" type="rect" r:blip="" hideGeom="1">
            <dgm:adjLst/>
          </dgm:shape>
          <dgm:presOf axis="desOrSelf" ptType="node"/>
          <dgm:constrLst>
            <dgm:constr type="tMarg"/>
            <dgm:constr type="bMarg"/>
            <dgm:constr type="lMarg"/>
            <dgm:constr type="rMarg"/>
            <dgm:constr type="primFontSz" val="20"/>
          </dgm:constrLst>
          <dgm:ruleLst>
            <dgm:rule type="primFontSz" val="5" fact="NaN" max="NaN"/>
          </dgm:ruleLst>
        </dgm:layoutNode>
      </dgm:forEach>
      <dgm:forEach name="Name33" axis="ch ch" ptType="node node" st="2 4" cnt="1 1">
        <dgm:layoutNode name="circ4" styleLbl="vennNode1">
          <dgm:alg type="sp"/>
          <dgm:shape xmlns:r="http://schemas.openxmlformats.org/officeDocument/2006/relationships" type="ellipse" r:blip="">
            <dgm:adjLst/>
          </dgm:shape>
          <dgm:presOf axis="desOrSelf" ptType="node"/>
          <dgm:constrLst/>
          <dgm:ruleLst/>
        </dgm:layoutNode>
        <dgm:layoutNode name="circ4Tx" styleLbl="revTx">
          <dgm:varLst>
            <dgm:chMax val="0"/>
            <dgm:chPref val="0"/>
            <dgm:bulletEnabled val="1"/>
          </dgm:varLst>
          <dgm:alg type="tx">
            <dgm:param type="txAnchorHorzCh" val="ctr"/>
            <dgm:param type="txAnchorVertCh" val="mid"/>
          </dgm:alg>
          <dgm:shape xmlns:r="http://schemas.openxmlformats.org/officeDocument/2006/relationships" type="rect" r:blip="" hideGeom="1">
            <dgm:adjLst/>
          </dgm:shape>
          <dgm:presOf axis="desOrSelf" ptType="node"/>
          <dgm:constrLst>
            <dgm:constr type="tMarg"/>
            <dgm:constr type="bMarg"/>
            <dgm:constr type="lMarg"/>
            <dgm:constr type="rMarg"/>
            <dgm:constr type="primFontSz" val="20"/>
          </dgm:constrLst>
          <dgm:ruleLst>
            <dgm:rule type="primFontSz" val="5" fact="NaN" max="NaN"/>
          </dgm:ruleLst>
        </dgm:layoutNode>
      </dgm:forEach>
    </dgm:layoutNode>
    <dgm:layoutNode name="leftComposite">
      <dgm:choose name="Name34">
        <dgm:if name="Name35" axis="ch ch" ptType="node node" st="1 1" cnt="1 0" func="cnt" op="lte" val="1">
          <dgm:alg type="composite">
            <dgm:param type="ar" val="1.3085"/>
          </dgm:alg>
          <dgm:constrLst>
            <dgm:constr type="l" for="ch" forName="childText1_1" refType="w" fact="0.2124"/>
            <dgm:constr type="t" for="ch" forName="childText1_1" refType="h" fact="0"/>
            <dgm:constr type="w" for="ch" forName="childText1_1" refType="w" fact="0.5759"/>
            <dgm:constr type="h" for="ch" forName="childText1_1" refType="h" fact="0.7535"/>
            <dgm:constr type="l" for="ch" forName="ellipse1" refType="w" fact="0"/>
            <dgm:constr type="t" for="ch" forName="ellipse1" refType="h" fact="0.63"/>
            <dgm:constr type="w" for="ch" forName="ellipse1" refType="w" fact="0.2828"/>
            <dgm:constr type="h" for="ch" forName="ellipse1" refType="h" fact="0.37"/>
            <dgm:constr type="l" for="ch" forName="ellipse2" refType="w" fact="0.82"/>
            <dgm:constr type="t" for="ch" forName="ellipse2" refType="h" fact="0.17"/>
            <dgm:constr type="w" for="ch" forName="ellipse2" refType="w" fact="0.1645"/>
            <dgm:constr type="h" for="ch" forName="ellipse2" refType="h" fact="0.2153"/>
          </dgm:constrLst>
        </dgm:if>
        <dgm:if name="Name36" axis="ch ch" ptType="node node" st="1 1" cnt="1 0" func="cnt" op="equ" val="2">
          <dgm:alg type="composite">
            <dgm:param type="ar" val="0.8917"/>
          </dgm:alg>
          <dgm:constrLst>
            <dgm:constr type="l" for="ch" forName="childText1_1" refType="w" fact="0.1864"/>
            <dgm:constr type="t" for="ch" forName="childText1_1" refType="h" fact="0"/>
            <dgm:constr type="w" for="ch" forName="childText1_1" refType="w" fact="0.5055"/>
            <dgm:constr type="h" for="ch" forName="childText1_1" refType="h" fact="0.4507"/>
            <dgm:constr type="l" for="ch" forName="childText1_2" refType="w" fact="0.4945"/>
            <dgm:constr type="t" for="ch" forName="childText1_2" refType="h" fact="0.3929"/>
            <dgm:constr type="w" for="ch" forName="childText1_2" refType="w" fact="0.5055"/>
            <dgm:constr type="h" for="ch" forName="childText1_2" refType="h" fact="0.4507"/>
            <dgm:constr type="l" for="ch" forName="ellipse1" refType="w" fact="0"/>
            <dgm:constr type="t" for="ch" forName="ellipse1" refType="h" fact="0.3768"/>
            <dgm:constr type="w" for="ch" forName="ellipse1" refType="w" fact="0.2482"/>
            <dgm:constr type="h" for="ch" forName="ellipse1" refType="h" fact="0.2213"/>
            <dgm:constr type="l" for="ch" forName="ellipse3" refType="w" fact="0.5474"/>
            <dgm:constr type="t" for="ch" forName="ellipse3" refType="h" fact="0.8712"/>
            <dgm:constr type="w" for="ch" forName="ellipse3" refType="w" fact="0.1444"/>
            <dgm:constr type="h" for="ch" forName="ellipse3" refType="h" fact="0.1288"/>
            <dgm:constr type="l" for="ch" forName="ellipse2" refType="w" fact="0.7333"/>
            <dgm:constr type="t" for="ch" forName="ellipse2" refType="h" fact="0.0887"/>
            <dgm:constr type="w" for="ch" forName="ellipse2" refType="w" fact="0.1444"/>
            <dgm:constr type="h" for="ch" forName="ellipse2" refType="h" fact="0.1288"/>
          </dgm:constrLst>
        </dgm:if>
        <dgm:if name="Name37" axis="ch ch" ptType="node node" st="1 1" cnt="1 0" func="cnt" op="equ" val="3">
          <dgm:alg type="composite">
            <dgm:param type="ar" val="1.0811"/>
          </dgm:alg>
          <dgm:constrLst>
            <dgm:constr type="l" for="ch" forName="childText1_3" refType="w" fact="0.1649"/>
            <dgm:constr type="t" for="ch" forName="childText1_3" refType="h" fact="0.5389"/>
            <dgm:constr type="w" for="ch" forName="childText1_3" refType="w" fact="0.4265"/>
            <dgm:constr type="h" for="ch" forName="childText1_3" refType="h" fact="0.4611"/>
            <dgm:constr type="l" for="ch" forName="childText1_1" refType="w" fact="0.1573"/>
            <dgm:constr type="t" for="ch" forName="childText1_1" refType="h" fact="0"/>
            <dgm:constr type="w" for="ch" forName="childText1_1" refType="w" fact="0.4265"/>
            <dgm:constr type="h" for="ch" forName="childText1_1" refType="h" fact="0.4611"/>
            <dgm:constr type="l" for="ch" forName="childText1_2" refType="w" fact="0.5735"/>
            <dgm:constr type="t" for="ch" forName="childText1_2" refType="h" fact="0.2754"/>
            <dgm:constr type="w" for="ch" forName="childText1_2" refType="w" fact="0.4265"/>
            <dgm:constr type="h" for="ch" forName="childText1_2" refType="h" fact="0.4611"/>
            <dgm:constr type="l" for="ch" forName="ellipse1" refType="w" fact="0"/>
            <dgm:constr type="t" for="ch" forName="ellipse1" refType="h" fact="0.3855"/>
            <dgm:constr type="w" for="ch" forName="ellipse1" refType="w" fact="0.2095"/>
            <dgm:constr type="h" for="ch" forName="ellipse1" refType="h" fact="0.2264"/>
            <dgm:constr type="l" for="ch" forName="ellipse3" refType="w" fact="0.6181"/>
            <dgm:constr type="t" for="ch" forName="ellipse3" refType="h" fact="0.7647"/>
            <dgm:constr type="w" for="ch" forName="ellipse3" refType="w" fact="0.1219"/>
            <dgm:constr type="h" for="ch" forName="ellipse3" refType="h" fact="0.1317"/>
            <dgm:constr type="l" for="ch" forName="ellipse2" refType="w" fact="0.6188"/>
            <dgm:constr type="t" for="ch" forName="ellipse2" refType="h" fact="0.0907"/>
            <dgm:constr type="w" for="ch" forName="ellipse2" refType="w" fact="0.1219"/>
            <dgm:constr type="h" for="ch" forName="ellipse2" refType="h" fact="0.1317"/>
          </dgm:constrLst>
        </dgm:if>
        <dgm:else name="Name38">
          <dgm:alg type="composite">
            <dgm:param type="ar" val="0.9472"/>
          </dgm:alg>
          <dgm:constrLst>
            <dgm:constr type="l" for="ch" forName="childText1_3" refType="w" fact="0"/>
            <dgm:constr type="t" for="ch" forName="childText1_3" refType="h" fact="0.6035"/>
            <dgm:constr type="w" for="ch" forName="childText1_3" refType="w" fact="0.4186"/>
            <dgm:constr type="h" for="ch" forName="childText1_3" refType="h" fact="0.3965"/>
            <dgm:constr type="l" for="ch" forName="childText1_1" refType="w" fact="0.0981"/>
            <dgm:constr type="t" for="ch" forName="childText1_1" refType="h" fact="0"/>
            <dgm:constr type="w" for="ch" forName="childText1_1" refType="w" fact="0.4186"/>
            <dgm:constr type="h" for="ch" forName="childText1_1" refType="h" fact="0.3965"/>
            <dgm:constr type="l" for="ch" forName="childText1_2" refType="w" fact="0.5385"/>
            <dgm:constr type="t" for="ch" forName="childText1_2" refType="h" fact="0.1304"/>
            <dgm:constr type="w" for="ch" forName="childText1_2" refType="w" fact="0.4186"/>
            <dgm:constr type="h" for="ch" forName="childText1_2" refType="h" fact="0.3965"/>
            <dgm:constr type="l" for="ch" forName="ellipse4" refType="w" fact="0.3222"/>
            <dgm:constr type="t" for="ch" forName="ellipse4" refType="h" fact="0.4232"/>
            <dgm:constr type="w" for="ch" forName="ellipse4" refType="w" fact="0.2056"/>
            <dgm:constr type="h" for="ch" forName="ellipse4" refType="h" fact="0.1947"/>
            <dgm:constr type="l" for="ch" forName="ellipse1" refType="w" fact="0.1489"/>
            <dgm:constr type="t" for="ch" forName="ellipse1" refType="h" fact="0.4502"/>
            <dgm:constr type="w" for="ch" forName="ellipse1" refType="w" fact="0.1196"/>
            <dgm:constr type="h" for="ch" forName="ellipse1" refType="h" fact="0.1133"/>
            <dgm:constr type="l" for="ch" forName="ellipse2" refType="w" fact="0.5384"/>
            <dgm:constr type="t" for="ch" forName="ellipse2" refType="h" fact="0.0124"/>
            <dgm:constr type="w" for="ch" forName="ellipse2" refType="w" fact="0.1196"/>
            <dgm:constr type="h" for="ch" forName="ellipse2" refType="h" fact="0.1133"/>
            <dgm:constr type="l" for="ch" forName="childText1_4" refType="w" fact="0.4625"/>
            <dgm:constr type="t" for="ch" forName="childText1_4" refType="h" fact="0.5719"/>
            <dgm:constr type="w" for="ch" forName="childText1_4" refType="w" fact="0.4186"/>
            <dgm:constr type="h" for="ch" forName="childText1_4" refType="h" fact="0.3965"/>
            <dgm:constr type="l" for="ch" forName="ellipse3" refType="w" fact="0.8804"/>
            <dgm:constr type="t" for="ch" forName="ellipse3" refType="h" fact="0.5329"/>
            <dgm:constr type="w" for="ch" forName="ellipse3" refType="w" fact="0.1196"/>
            <dgm:constr type="h" for="ch" forName="ellipse3" refType="h" fact="0.1133"/>
            <dgm:constr type="l" for="ch" forName="ellipse5" refType="w" fact="0.0146"/>
            <dgm:constr type="t" for="ch" forName="ellipse5" refType="h" fact="0.5228"/>
            <dgm:constr type="w" for="ch" forName="ellipse5" refType="w" fact="0.0899"/>
            <dgm:constr type="h" for="ch" forName="ellipse5" refType="h" fact="0.0851"/>
          </dgm:constrLst>
        </dgm:else>
      </dgm:choose>
      <dgm:forEach name="Name39" axis="ch ch" ptType="node node" st="1 1" cnt="1 1">
        <dgm:layoutNode name="childText1_1" styleLbl="vennNode1">
          <dgm:varLst>
            <dgm:chMax val="0"/>
            <dgm:chPref val="0"/>
          </dgm:varLst>
          <dgm:alg type="tx"/>
          <dgm:shape xmlns:r="http://schemas.openxmlformats.org/officeDocument/2006/relationships" type="ellipse"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ellipse1" styleLbl="vennNode1">
          <dgm:alg type="sp"/>
          <dgm:shape xmlns:r="http://schemas.openxmlformats.org/officeDocument/2006/relationships" type="ellipse" r:blip="">
            <dgm:adjLst/>
          </dgm:shape>
          <dgm:presOf/>
        </dgm:layoutNode>
        <dgm:layoutNode name="ellipse2" styleLbl="vennNode1">
          <dgm:alg type="sp"/>
          <dgm:shape xmlns:r="http://schemas.openxmlformats.org/officeDocument/2006/relationships" type="ellipse" r:blip="">
            <dgm:adjLst/>
          </dgm:shape>
          <dgm:presOf/>
        </dgm:layoutNode>
      </dgm:forEach>
      <dgm:forEach name="Name40" axis="ch ch" ptType="node node" st="1 2" cnt="1 1">
        <dgm:layoutNode name="childText1_2" styleLbl="vennNode1">
          <dgm:varLst>
            <dgm:chMax val="0"/>
            <dgm:chPref val="0"/>
          </dgm:varLst>
          <dgm:alg type="tx"/>
          <dgm:shape xmlns:r="http://schemas.openxmlformats.org/officeDocument/2006/relationships" type="ellipse"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ellipse3" styleLbl="vennNode1">
          <dgm:alg type="sp"/>
          <dgm:shape xmlns:r="http://schemas.openxmlformats.org/officeDocument/2006/relationships" type="ellipse" r:blip="">
            <dgm:adjLst/>
          </dgm:shape>
          <dgm:presOf/>
        </dgm:layoutNode>
      </dgm:forEach>
      <dgm:forEach name="Name41" axis="ch ch" ptType="node node" st="1 3" cnt="1 1">
        <dgm:layoutNode name="childText1_3" styleLbl="vennNode1">
          <dgm:varLst>
            <dgm:chMax val="0"/>
            <dgm:chPref val="0"/>
          </dgm:varLst>
          <dgm:alg type="tx"/>
          <dgm:shape xmlns:r="http://schemas.openxmlformats.org/officeDocument/2006/relationships" type="ellipse"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forEach name="Name42" axis="ch ch" ptType="node node" st="1 4" cnt="1 1">
        <dgm:layoutNode name="childText1_4" styleLbl="vennNode1">
          <dgm:varLst>
            <dgm:chMax val="0"/>
            <dgm:chPref val="0"/>
          </dgm:varLst>
          <dgm:alg type="tx"/>
          <dgm:shape xmlns:r="http://schemas.openxmlformats.org/officeDocument/2006/relationships" type="ellipse"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ellipse4" styleLbl="vennNode1">
          <dgm:alg type="sp"/>
          <dgm:shape xmlns:r="http://schemas.openxmlformats.org/officeDocument/2006/relationships" type="ellipse" r:blip="">
            <dgm:adjLst/>
          </dgm:shape>
          <dgm:presOf/>
        </dgm:layoutNode>
        <dgm:layoutNode name="ellipse5" styleLbl="vennNode1">
          <dgm:alg type="sp"/>
          <dgm:shape xmlns:r="http://schemas.openxmlformats.org/officeDocument/2006/relationships" type="ellipse" r:blip="">
            <dgm:adjLst/>
          </dgm:shape>
          <dgm:presOf/>
        </dgm:layoutNode>
      </dgm:forEach>
    </dgm:layoutNode>
    <dgm:choose name="Name43">
      <dgm:if name="Name44" axis="ch ch" ptType="node node" st="3 1" cnt="1 0" func="cnt" op="gte" val="1">
        <dgm:layoutNode name="rightChild">
          <dgm:varLst>
            <dgm:chMax val="0"/>
            <dgm:chPref val="0"/>
          </dgm:varLst>
          <dgm:alg type="tx"/>
          <dgm:shape xmlns:r="http://schemas.openxmlformats.org/officeDocument/2006/relationships" type="ellipse" r:blip="">
            <dgm:adjLst/>
          </dgm:shape>
          <dgm:presOf axis="ch des"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45"/>
    </dgm:choose>
    <dgm:layoutNode name="parentText1" styleLbl="revTx">
      <dgm:varLst>
        <dgm:chMax val="4"/>
        <dgm:chPref val="3"/>
        <dgm:bulletEnabled val="1"/>
      </dgm:varLst>
      <dgm:alg type="tx"/>
      <dgm:shape xmlns:r="http://schemas.openxmlformats.org/officeDocument/2006/relationships" type="rect" r:blip="">
        <dgm:adjLst/>
      </dgm:shape>
      <dgm:presOf axis="ch 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Def>
</file>

<file path=ppt/diagrams/layout22.xml><?xml version="1.0" encoding="utf-8"?>
<dgm:layoutDef xmlns:dgm="http://schemas.openxmlformats.org/drawingml/2006/diagram" xmlns:a="http://schemas.openxmlformats.org/drawingml/2006/main" uniqueId="urn:microsoft.com/office/officeart/2009/3/layout/StepUpProcess">
  <dgm:title val=""/>
  <dgm:desc val=""/>
  <dgm:catLst>
    <dgm:cat type="process" pri="1300"/>
  </dgm:catLst>
  <dgm:sampData>
    <dgm:dataModel>
      <dgm:ptLst>
        <dgm:pt modelId="0" type="doc"/>
        <dgm:pt modelId="10">
          <dgm:prSet phldr="1"/>
        </dgm:pt>
        <dgm:pt modelId="20">
          <dgm:prSet phldr="1"/>
        </dgm:pt>
        <dgm:pt modelId="30">
          <dgm:prSet phldr="1"/>
        </dgm:pt>
      </dgm:ptLst>
      <dgm:cxnLst>
        <dgm:cxn modelId="60" srcId="0" destId="10" srcOrd="0" destOrd="0"/>
        <dgm:cxn modelId="70" srcId="0" destId="20" srcOrd="1" destOrd="0"/>
        <dgm:cxn modelId="80" srcId="0" destId="30" srcOrd="2"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rootnode">
    <dgm:varLst>
      <dgm:chMax/>
      <dgm:chPref/>
      <dgm:dir/>
      <dgm:animLvl val="lvl"/>
    </dgm:varLst>
    <dgm:choose name="Name0">
      <dgm:if name="Name1" func="var" arg="dir" op="equ" val="norm">
        <dgm:alg type="snake">
          <dgm:param type="grDir" val="bL"/>
          <dgm:param type="flowDir" val="row"/>
          <dgm:param type="off" val="off"/>
          <dgm:param type="bkpt" val="fixed"/>
          <dgm:param type="bkPtFixedVal" val="1"/>
        </dgm:alg>
      </dgm:if>
      <dgm:else name="Name2">
        <dgm:alg type="snake">
          <dgm:param type="grDir" val="bR"/>
          <dgm:param type="flowDir" val="row"/>
          <dgm:param type="off" val="off"/>
          <dgm:param type="bkpt" val="fixed"/>
          <dgm:param type="bkPtFixedVal" val="1"/>
        </dgm:alg>
      </dgm:else>
    </dgm:choose>
    <dgm:shape xmlns:r="http://schemas.openxmlformats.org/officeDocument/2006/relationships" r:blip="">
      <dgm:adjLst/>
    </dgm:shape>
    <dgm:constrLst>
      <dgm:constr type="alignOff" forName="rootnode" val="1"/>
      <dgm:constr type="primFontSz" for="des" ptType="node" op="equ" val="65"/>
      <dgm:constr type="w" for="ch" forName="composite" refType="w"/>
      <dgm:constr type="h" for="ch" forName="composite" refType="h"/>
      <dgm:constr type="sp" refType="h" refFor="ch" refForName="composite" op="equ" fact="-0.765"/>
      <dgm:constr type="w" for="ch" forName="sibTrans" refType="w" fact="0.103"/>
      <dgm:constr type="h" for="ch" forName="sibTrans" refType="h" fact="0.103"/>
    </dgm:constrLst>
    <dgm:forEach name="nodesForEach" axis="ch" ptType="node">
      <dgm:layoutNode name="composite">
        <dgm:alg type="composite">
          <dgm:param type="ar" val="0.861"/>
        </dgm:alg>
        <dgm:shape xmlns:r="http://schemas.openxmlformats.org/officeDocument/2006/relationships" r:blip="">
          <dgm:adjLst/>
        </dgm:shape>
        <dgm:choose name="Name3">
          <dgm:if name="Name4" func="var" arg="dir" op="equ" val="norm">
            <dgm:constrLst>
              <dgm:constr type="l" for="ch" forName="LShape" refType="w" fact="0"/>
              <dgm:constr type="t" for="ch" forName="LShape" refType="h" fact="0.2347"/>
              <dgm:constr type="w" for="ch" forName="LShape" refType="w" fact="0.998"/>
              <dgm:constr type="h" for="ch" forName="LShape" refType="h" fact="0.5164"/>
              <dgm:constr type="r" for="ch" forName="ParentText" refType="w"/>
              <dgm:constr type="t" for="ch" forName="ParentText" refType="h" fact="0.32"/>
              <dgm:constr type="w" for="ch" forName="ParentText" refType="w" fact="0.901"/>
              <dgm:constr type="h" for="ch" forName="ParentText" refType="h" fact="0.68"/>
              <dgm:constr type="l" for="ch" forName="Triangle" refType="w" fact="0.83"/>
              <dgm:constr type="t" for="ch" forName="Triangle" refType="h" fact="0"/>
              <dgm:constr type="w" for="ch" forName="Triangle" refType="w" fact="0.17"/>
              <dgm:constr type="h" for="ch" forName="Triangle" refType="w" refFor="ch" refForName="Triangle"/>
            </dgm:constrLst>
          </dgm:if>
          <dgm:else name="Name5">
            <dgm:constrLst>
              <dgm:constr type="l" for="ch" forName="LShape" refType="w" fact="0.002"/>
              <dgm:constr type="t" for="ch" forName="LShape" refType="h" fact="0.2347"/>
              <dgm:constr type="w" for="ch" forName="LShape" refType="w"/>
              <dgm:constr type="h" for="ch" forName="LShape" refType="h" fact="0.5164"/>
              <dgm:constr type="l" for="ch" forName="ParentText" refType="w" fact="0"/>
              <dgm:constr type="t" for="ch" forName="ParentText" refType="h" fact="0.32"/>
              <dgm:constr type="w" for="ch" forName="ParentText" refType="w" fact="0.902"/>
              <dgm:constr type="h" for="ch" forName="ParentText" refType="h" fact="0.68"/>
              <dgm:constr type="l" for="ch" forName="Triangle" refType="w" fact="0"/>
              <dgm:constr type="t" for="ch" forName="Triangle" refType="h" fact="0"/>
              <dgm:constr type="w" for="ch" forName="Triangle" refType="w" fact="0.17"/>
              <dgm:constr type="h" for="ch" forName="Triangle" refType="w" refFor="ch" refForName="Triangle"/>
            </dgm:constrLst>
          </dgm:else>
        </dgm:choose>
        <dgm:layoutNode name="LShape" styleLbl="alignNode1">
          <dgm:alg type="sp"/>
          <dgm:choose name="Name6">
            <dgm:if name="Name7" func="var" arg="dir" op="equ" val="norm">
              <dgm:shape xmlns:r="http://schemas.openxmlformats.org/officeDocument/2006/relationships" rot="90" type="corner" r:blip="">
                <dgm:adjLst>
                  <dgm:adj idx="1" val="0.1612"/>
                  <dgm:adj idx="2" val="0.1611"/>
                </dgm:adjLst>
              </dgm:shape>
            </dgm:if>
            <dgm:else name="Name8">
              <dgm:shape xmlns:r="http://schemas.openxmlformats.org/officeDocument/2006/relationships" rot="180" type="corner" r:blip="">
                <dgm:adjLst>
                  <dgm:adj idx="1" val="0.1612"/>
                  <dgm:adj idx="2" val="0.1611"/>
                </dgm:adjLst>
              </dgm:shape>
            </dgm:else>
          </dgm:choose>
          <dgm:presOf/>
        </dgm:layoutNode>
        <dgm:layoutNode name="ParentText" styleLbl="revTx">
          <dgm:varLst>
            <dgm:chMax val="0"/>
            <dgm:chPref val="0"/>
            <dgm:bulletEnabled val="1"/>
          </dgm:varLst>
          <dgm:alg type="tx">
            <dgm:param type="parTxLTRAlign" val="l"/>
            <dgm:param type="txAnchorVert" val="t"/>
          </dgm:alg>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choose name="Name9">
          <dgm:if name="Name10" axis="followSib" ptType="node" func="cnt" op="gte" val="1">
            <dgm:layoutNode name="Triangle" styleLbl="alignNode1">
              <dgm:alg type="sp"/>
              <dgm:choose name="Name11">
                <dgm:if name="Name12" func="var" arg="dir" op="equ" val="norm">
                  <dgm:shape xmlns:r="http://schemas.openxmlformats.org/officeDocument/2006/relationships" type="triangle" r:blip="">
                    <dgm:adjLst>
                      <dgm:adj idx="1" val="1"/>
                    </dgm:adjLst>
                  </dgm:shape>
                </dgm:if>
                <dgm:else name="Name13">
                  <dgm:shape xmlns:r="http://schemas.openxmlformats.org/officeDocument/2006/relationships" rot="90" type="triangle" r:blip="">
                    <dgm:adjLst>
                      <dgm:adj idx="1" val="1"/>
                    </dgm:adjLst>
                  </dgm:shape>
                </dgm:else>
              </dgm:choose>
              <dgm:presOf/>
            </dgm:layoutNode>
          </dgm:if>
          <dgm:else name="Name14"/>
        </dgm:choose>
      </dgm:layoutNode>
      <dgm:forEach name="sibTransForEach" axis="followSib" ptType="sibTrans" cnt="1">
        <dgm:layoutNode name="sibTrans">
          <dgm:alg type="composite">
            <dgm:param type="ar" val="0.861"/>
          </dgm:alg>
          <dgm:constrLst>
            <dgm:constr type="w" for="ch" forName="space" refType="w"/>
            <dgm:constr type="h" for="ch" forName="space" refType="w"/>
          </dgm:constrLst>
          <dgm:layoutNode name="space" styleLbl="alignNode1">
            <dgm:alg type="sp"/>
            <dgm:shape xmlns:r="http://schemas.openxmlformats.org/officeDocument/2006/relationships" r:blip="">
              <dgm:adjLst/>
            </dgm:shape>
            <dgm:presOf/>
          </dgm:layoutNode>
        </dgm:layoutNode>
      </dgm:forEach>
    </dgm:forEach>
  </dgm:layoutNode>
</dgm:layoutDef>
</file>

<file path=ppt/diagrams/layout23.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5.xml><?xml version="1.0" encoding="utf-8"?>
<dgm:layoutDef xmlns:dgm="http://schemas.openxmlformats.org/drawingml/2006/diagram" xmlns:a="http://schemas.openxmlformats.org/drawingml/2006/main" uniqueId="urn:microsoft.com/office/officeart/2005/8/layout/radial5">
  <dgm:title val=""/>
  <dgm:desc val=""/>
  <dgm:catLst>
    <dgm:cat type="relationship" pri="23000"/>
    <dgm:cat type="cycle" pri="1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alg type="cycle">
          <dgm:param type="stAng" val="0"/>
          <dgm:param type="spanAng" val="360"/>
          <dgm:param type="ctrShpMap" val="fNode"/>
        </dgm:alg>
      </dgm:if>
      <dgm:else name="Name3">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parTrans" refType="w" refFor="ch" refForName="centerShape" fact="0.4"/>
      <dgm:constr type="w" for="ch" forName="node" refType="w" refFor="ch" refForName="centerShape" op="equ" fact="1.25"/>
      <dgm:constr type="sp" refType="w" refFor="ch" refForName="centerShape" op="equ" fact="0.4"/>
      <dgm:constr type="sibSp" refType="w" refFor="ch" refForName="node" fact="0.3"/>
      <dgm:constr type="primFontSz" for="ch" forName="centerShape" val="65"/>
      <dgm:constr type="primFontSz" for="des" forName="node" op="equ" val="65"/>
      <dgm:constr type="primFontSz" for="des" forName="node" refType="primFontSz" refFor="ch" refForName="centerShape" op="lte"/>
      <dgm:constr type="primFontSz" for="des" forName="connectorText" op="equ" val="55"/>
      <dgm:constr type="primFontSz" for="des" forName="connectorText" refType="primFontSz" refFor="ch" refForName="centerShape" op="lte" fact="0.8"/>
      <dgm:constr type="primFontSz" for="des" forName="connectorText" refType="primFontSz" refFor="des" refForName="node" op="lte"/>
    </dgm:constrLst>
    <dgm:choose name="Name4">
      <dgm:if name="Name5" axis="ch ch" ptType="node node" st="1 1" cnt="1 0" func="cnt" op="lte" val="6">
        <dgm:ruleLst>
          <dgm:rule type="w" for="ch" forName="node" val="NaN" fact="1" max="NaN"/>
        </dgm:ruleLst>
      </dgm:if>
      <dgm:if name="Name6" axis="ch ch" ptType="node node" st="1 1" cnt="1 0" func="cnt" op="lte" val="8">
        <dgm:ruleLst>
          <dgm:rule type="w" for="ch" forName="node" val="NaN" fact="0.9" max="NaN"/>
        </dgm:ruleLst>
      </dgm:if>
      <dgm:if name="Name7" axis="ch ch" ptType="node node" st="1 1" cnt="1 0" func="cnt" op="lte" val="10">
        <dgm:ruleLst>
          <dgm:rule type="w" for="ch" forName="node" val="NaN" fact="0.8" max="NaN"/>
        </dgm:ruleLst>
      </dgm:if>
      <dgm:if name="Name8" axis="ch ch" ptType="node node" st="1 1" cnt="1 0" func="cnt" op="lte" val="12">
        <dgm:ruleLst>
          <dgm:rule type="w" for="ch" forName="node" val="NaN" fact="0.7" max="NaN"/>
        </dgm:ruleLst>
      </dgm:if>
      <dgm:if name="Name9" axis="ch ch" ptType="node node" st="1 1" cnt="1 0" func="cnt" op="lte" val="14">
        <dgm:ruleLst>
          <dgm:rule type="w" for="ch" forName="node" val="NaN" fact="0.6" max="NaN"/>
        </dgm:ruleLst>
      </dgm:if>
      <dgm:else name="Name10">
        <dgm:ruleLst>
          <dgm:rule type="w" for="ch" forName="node" val="NaN" fact="0.5" max="NaN"/>
        </dgm:ruleLst>
      </dgm:else>
    </dgm:choose>
    <dgm:forEach name="Name11"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2" axis="ch">
        <dgm:forEach name="Name13" axis="self" ptType="parTrans">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h" refType="w" fact="0.85"/>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name="Name14"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w" val="INF" fact="NaN" max="NaN"/>
              <dgm:rule type="primFontSz" val="5" fact="NaN" max="NaN"/>
            </dgm:ruleLst>
          </dgm:layoutNode>
        </dgm:forEach>
      </dgm:forEach>
    </dgm:forEach>
  </dgm:layoutNode>
</dgm:layoutDef>
</file>

<file path=ppt/diagrams/layout26.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27.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9.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0.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3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35.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6.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7.xml><?xml version="1.0" encoding="utf-8"?>
<dgm:layoutDef xmlns:dgm="http://schemas.openxmlformats.org/drawingml/2006/diagram" xmlns:a="http://schemas.openxmlformats.org/drawingml/2006/main" uniqueId="urn:microsoft.com/office/officeart/2008/layout/AccentedPicture">
  <dgm:title val=""/>
  <dgm:desc val=""/>
  <dgm:catLst>
    <dgm:cat type="picture" pri="1000"/>
    <dgm:cat type="pictureconvert" pri="1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varLst>
    <dgm:alg type="composite"/>
    <dgm:shape xmlns:r="http://schemas.openxmlformats.org/officeDocument/2006/relationships" r:blip="">
      <dgm:adjLst/>
    </dgm:shape>
    <dgm:choose name="Name1">
      <dgm:if name="Name2" axis="ch" ptType="node" func="cnt" op="lte" val="1">
        <dgm:constrLst>
          <dgm:constr type="h" for="ch" forName="picture_1" refType="h"/>
          <dgm:constr type="w" for="ch" forName="picture_1" refType="h" refFor="ch" refForName="picture_1" op="equ" fact="0.784"/>
          <dgm:constr type="l" for="ch" forName="picture_1"/>
          <dgm:constr type="t" for="ch" forName="picture_1"/>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
        </dgm:constrLst>
      </dgm:if>
      <dgm:if name="Name3" axis="ch" ptType="node" func="cnt" op="lte" val="5">
        <dgm:choose name="Name4">
          <dgm:if name="Name5" func="var" arg="dir" op="equ" val="norm">
            <dgm:constrLst>
              <dgm:constr type="h" for="ch" forName="picture_1" refType="h" fact="0.909"/>
              <dgm:constr type="w" for="ch" forName="picture_1" refType="h" refFor="ch" refForName="picture_1" op="equ" fact="0.784"/>
              <dgm:constr type="l" for="ch" forName="picture_1"/>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r" refFor="ch" refForName="picture_1"/>
              <dgm:constr type="h" for="des" forName="pair" refType="h" refFor="ch" refForName="picture_1" fact="0.27"/>
              <dgm:constr type="h" for="des" forName="spaceV" refType="h" refFor="ch" refForName="picture_1" fact="0.0486"/>
              <dgm:constr type="l" for="ch" forName="maxNode" refType="r" refFor="ch" refForName="picture_1"/>
              <dgm:constr type="lOff" for="ch" forName="maxNode" refType="h" refFor="des" refForName="pair" fact="0.5"/>
              <dgm:constr type="r" for="ch" forName="maxNode" refType="w"/>
              <dgm:constr type="t" for="ch" forName="maxNode"/>
              <dgm:constr type="h" for="ch" forName="maxNode" val="1"/>
              <dgm:constr type="userW" for="des" forName="desText" refType="w" refFor="ch" refForName="maxNode"/>
            </dgm:constrLst>
          </dgm:if>
          <dgm:else name="Name6">
            <dgm:constrLst>
              <dgm:constr type="h" for="ch" forName="picture_1" refType="h" fact="0.909"/>
              <dgm:constr type="w" for="ch" forName="picture_1" refType="h" refFor="ch" refForName="picture_1" op="equ" fact="0.784"/>
              <dgm:constr type="r" for="ch" forName="picture_1" refType="w"/>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r" for="ch" forName="text_1" refType="w"/>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l" refFor="ch" refForName="picture_1"/>
              <dgm:constr type="h" for="des" forName="pair" refType="h" refFor="ch" refForName="picture_1" fact="0.27"/>
              <dgm:constr type="h" for="des" forName="spaceV" refType="h" refFor="ch" refForName="picture_1" fact="0.0486"/>
              <dgm:constr type="r" for="ch" forName="maxNode" refType="l" refFor="ch" refForName="picture_1"/>
              <dgm:constr type="rOff" for="ch" forName="maxNode" refType="h" refFor="des" refForName="pair" fact="-0.5"/>
              <dgm:constr type="l" for="ch" forName="maxNode"/>
              <dgm:constr type="t" for="ch" forName="maxNode"/>
              <dgm:constr type="h" for="ch" forName="maxNode" val="1"/>
              <dgm:constr type="userW" for="des" forName="desText" refType="w" refFor="ch" refForName="maxNode"/>
            </dgm:constrLst>
          </dgm:else>
        </dgm:choose>
      </dgm:if>
      <dgm:else name="Name7">
        <dgm:choose name="Name8">
          <dgm:if name="Name9" func="var" arg="dir" op="equ" val="norm">
            <dgm:constrLst>
              <dgm:constr type="h" for="ch" forName="picture_1" refType="h" fact="0.909"/>
              <dgm:constr type="w" for="ch" forName="picture_1" refType="h" refFor="ch" refForName="picture_1" op="equ" fact="0.784"/>
              <dgm:constr type="l" for="ch" forName="picture_1"/>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l" for="ch" forName="text_1" refType="w" refFor="ch" refForName="picture_1" fact="0.04"/>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r" refFor="ch" refForName="picture_1"/>
              <dgm:constr type="h" for="des" forName="pair" refType="h" refFor="ch" refForName="picture_1" fact="0.27"/>
              <dgm:constr type="h" for="des" forName="spaceV" refType="h" refFor="ch" refForName="picture_1" fact="0.0486"/>
              <dgm:constr type="l" for="ch" forName="maxNode" refType="r" refFor="ch" refForName="picture_1"/>
              <dgm:constr type="lOff" for="ch" forName="maxNode" refType="h" refFor="des" refForName="pair" fact="0.5"/>
              <dgm:constr type="r" for="ch" forName="maxNode" refType="w"/>
              <dgm:constr type="t" for="ch" forName="maxNode"/>
              <dgm:constr type="h" for="ch" forName="maxNode" val="1"/>
              <dgm:constr type="userW" for="des" forName="desText" refType="w" refFor="ch" refForName="maxNode"/>
            </dgm:constrLst>
          </dgm:if>
          <dgm:else name="Name10">
            <dgm:constrLst>
              <dgm:constr type="h" for="ch" forName="picture_1" refType="h" fact="0.909"/>
              <dgm:constr type="w" for="ch" forName="picture_1" refType="h" refFor="ch" refForName="picture_1" op="equ" fact="0.784"/>
              <dgm:constr type="r" for="ch" forName="picture_1" refType="w"/>
              <dgm:constr type="t" for="ch" forName="picture_1" refType="h" refFor="ch" refForName="picture_1" fact="0.05"/>
              <dgm:constr type="w" for="ch" forName="picture_1" refType="w" op="lte" fact="0.588"/>
              <dgm:constr type="w" for="ch" forName="text_1" refType="w" refFor="ch" refForName="picture_1" fact="0.77"/>
              <dgm:constr type="h" for="ch" forName="text_1" refType="h" refFor="ch" refForName="picture_1" fact="0.6"/>
              <dgm:constr type="r" for="ch" forName="text_1" refType="w"/>
              <dgm:constr type="t" for="ch" forName="text_1" refType="h" refFor="ch" refForName="picture_1" fact="0.41"/>
              <dgm:constr type="w" for="ch" forName="linV" refType="w"/>
              <dgm:constr type="h" for="ch" forName="linV" refType="h" refFor="ch" refForName="picture_1" fact="1.1"/>
              <dgm:constr type="l" for="ch" forName="linV"/>
              <dgm:constr type="t" for="ch" forName="linV"/>
              <dgm:constr type="userC" for="des" forName="pair" refType="l" refFor="ch" refForName="picture_1"/>
              <dgm:constr type="h" for="des" forName="pair" refType="h" refFor="ch" refForName="picture_1" fact="0.27"/>
              <dgm:constr type="h" for="des" forName="spaceV" refType="h" refFor="ch" refForName="picture_1" fact="0.0486"/>
              <dgm:constr type="r" for="ch" forName="maxNode" refType="l" refFor="ch" refForName="picture_1"/>
              <dgm:constr type="rOff" for="ch" forName="maxNode" refType="h" refFor="des" refForName="pair" fact="-0.5"/>
              <dgm:constr type="l" for="ch" forName="maxNode"/>
              <dgm:constr type="t" for="ch" forName="maxNode"/>
              <dgm:constr type="h" for="ch" forName="maxNode" val="1"/>
              <dgm:constr type="userW" for="des" forName="desText" refType="w" refFor="ch" refForName="maxNode"/>
            </dgm:constrLst>
          </dgm:else>
        </dgm:choose>
      </dgm:else>
    </dgm:choose>
    <dgm:forEach name="Name11" axis="ch" ptType="sibTrans" hideLastTrans="0" cnt="1">
      <dgm:layoutNode name="picture_1" styleLbl="bgImgPlace1">
        <dgm:alg type="sp"/>
        <dgm:shape xmlns:r="http://schemas.openxmlformats.org/officeDocument/2006/relationships" type="roundRect" r:blip="" blipPhldr="1">
          <dgm:adjLst/>
        </dgm:shape>
        <dgm:presOf axis="self"/>
      </dgm:layoutNode>
    </dgm:forEach>
    <dgm:forEach name="Name12" axis="ch" ptType="node" cnt="1">
      <dgm:layoutNode name="text_1" styleLbl="node1">
        <dgm:varLst>
          <dgm:bulletEnabled val="1"/>
        </dgm:varLst>
        <dgm:choose name="Name13">
          <dgm:if name="Name14" func="var" arg="dir" op="equ" val="norm">
            <dgm:alg type="tx">
              <dgm:param type="txAnchorVert" val="b"/>
              <dgm:param type="parTxLTRAlign" val="l"/>
              <dgm:param type="shpTxLTRAlignCh" val="l"/>
              <dgm:param type="parTxRTLAlign" val="l"/>
              <dgm:param type="shpTxRTLAlignCh" val="l"/>
            </dgm:alg>
          </dgm:if>
          <dgm:else name="Name15">
            <dgm:alg type="tx">
              <dgm:param type="txAnchorVert" val="b"/>
              <dgm:param type="parTxLTRAlign" val="r"/>
              <dgm:param type="shpTxLTRAlignCh" val="r"/>
              <dgm:param type="parTxRTLAlign" val="r"/>
              <dgm:param type="shpTxRTLAlignCh" val="r"/>
            </dgm:alg>
          </dgm:else>
        </dgm:choose>
        <dgm:shape xmlns:r="http://schemas.openxmlformats.org/officeDocument/2006/relationships" type="rect" r:blip="" hideGeom="1">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forEach>
    <dgm:choose name="Name16">
      <dgm:if name="Name17" axis="ch" ptType="node" func="cnt" op="gte" val="2">
        <dgm:layoutNode name="linV">
          <dgm:choose name="Name18">
            <dgm:if name="Name19" func="var" arg="dir" op="equ" val="norm">
              <dgm:alg type="lin">
                <dgm:param type="linDir" val="fromT"/>
                <dgm:param type="vertAlign" val="t"/>
                <dgm:param type="fallback" val="1D"/>
                <dgm:param type="horzAlign" val="l"/>
                <dgm:param type="nodeHorzAlign" val="l"/>
              </dgm:alg>
            </dgm:if>
            <dgm:else name="Name20">
              <dgm:alg type="lin">
                <dgm:param type="linDir" val="fromT"/>
                <dgm:param type="vertAlign" val="t"/>
                <dgm:param type="fallback" val="1D"/>
                <dgm:param type="horzAlign" val="r"/>
                <dgm:param type="nodeHorzAlign" val="r"/>
              </dgm:alg>
            </dgm:else>
          </dgm:choose>
          <dgm:shape xmlns:r="http://schemas.openxmlformats.org/officeDocument/2006/relationships" r:blip="">
            <dgm:adjLst/>
          </dgm:shape>
          <dgm:constrLst>
            <dgm:constr type="w" for="ch" forName="spaceV" val="1"/>
            <dgm:constr type="w" for="ch" forName="pair" refType="w" op="equ"/>
            <dgm:constr type="w" for="des" forName="desText" op="equ"/>
            <dgm:constr type="primFontSz" for="des" forName="desText" op="equ" val="65"/>
          </dgm:constrLst>
          <dgm:forEach name="Name21" axis="ch" ptType="node" st="2">
            <dgm:layoutNode name="pair">
              <dgm:alg type="composite"/>
              <dgm:shape xmlns:r="http://schemas.openxmlformats.org/officeDocument/2006/relationships" r:blip="">
                <dgm:adjLst/>
              </dgm:shape>
              <dgm:choose name="Name22">
                <dgm:if name="Name23" func="var" arg="dir" op="equ" val="norm">
                  <dgm:constrLst>
                    <dgm:constr type="userC"/>
                    <dgm:constr type="l" for="ch" forName="spaceH"/>
                    <dgm:constr type="r" for="ch" forName="spaceH" refType="userC"/>
                    <dgm:constr type="ctrY" for="ch" forName="spaceH" refType="w" fact="0.5"/>
                    <dgm:constr type="h" for="ch" forName="spaceH" val="1"/>
                    <dgm:constr type="w" for="ch" forName="desPictures" refType="h"/>
                    <dgm:constr type="h" for="ch" forName="desPictures" refType="w" refFor="ch" refForName="desPictures" op="equ"/>
                    <dgm:constr type="ctrX" for="ch" forName="desPictures" refType="userC"/>
                    <dgm:constr type="ctrY" for="ch" forName="desPictures" refType="w" fact="0.5"/>
                    <dgm:constr type="l" for="ch" forName="desTextWrapper" refType="r" refFor="ch" refForName="desPictures"/>
                    <dgm:constr type="ctrY" for="ch" forName="desTextWrapper" refType="w" fact="0.5"/>
                    <dgm:constr type="h" for="ch" forName="desTextWrapper" refType="h"/>
                    <dgm:constr type="h" for="des" forName="desText" refType="h"/>
                  </dgm:constrLst>
                </dgm:if>
                <dgm:else name="Name24">
                  <dgm:constrLst>
                    <dgm:constr type="userC"/>
                    <dgm:constr type="r" for="ch" forName="spaceH" refType="w"/>
                    <dgm:constr type="l" for="ch" forName="spaceH" refType="userC"/>
                    <dgm:constr type="ctrY" for="ch" forName="spaceH" refType="w" fact="0.5"/>
                    <dgm:constr type="h" for="ch" forName="spaceH" val="1"/>
                    <dgm:constr type="w" for="ch" forName="desPictures" refType="h"/>
                    <dgm:constr type="h" for="ch" forName="desPictures" refType="w" refFor="ch" refForName="desPictures" op="equ"/>
                    <dgm:constr type="ctrX" for="ch" forName="desPictures" refType="userC"/>
                    <dgm:constr type="ctrY" for="ch" forName="desPictures" refType="w" fact="0.5"/>
                    <dgm:constr type="r" for="ch" forName="desTextWrapper" refType="l" refFor="ch" refForName="desPictures"/>
                    <dgm:constr type="ctrY" for="ch" forName="desTextWrapper" refType="w" fact="0.5"/>
                    <dgm:constr type="h" for="ch" forName="desTextWrapper" refType="h"/>
                    <dgm:constr type="h" for="des" forName="desText" refType="h"/>
                  </dgm:constrLst>
                </dgm:else>
              </dgm:choose>
              <dgm:layoutNode name="spaceH">
                <dgm:alg type="sp"/>
                <dgm:shape xmlns:r="http://schemas.openxmlformats.org/officeDocument/2006/relationships" type="rect" r:blip="" hideGeom="1">
                  <dgm:adjLst/>
                </dgm:shape>
                <dgm:presOf/>
              </dgm:layoutNode>
              <dgm:layoutNode name="desPictures" styleLbl="alignImgPlace1">
                <dgm:alg type="sp"/>
                <dgm:shape xmlns:r="http://schemas.openxmlformats.org/officeDocument/2006/relationships" type="ellipse" r:blip="" blipPhldr="1">
                  <dgm:adjLst/>
                </dgm:shape>
                <dgm:presOf/>
              </dgm:layoutNode>
              <dgm:layoutNode name="desTextWrapper">
                <dgm:choose name="Name25">
                  <dgm:if name="Name26" func="var" arg="dir" op="equ" val="norm">
                    <dgm:alg type="lin">
                      <dgm:param type="horzAlign" val="l"/>
                    </dgm:alg>
                  </dgm:if>
                  <dgm:else name="Name27">
                    <dgm:alg type="lin">
                      <dgm:param type="horzAlign" val="r"/>
                    </dgm:alg>
                  </dgm:else>
                </dgm:choose>
                <dgm:layoutNode name="desText" styleLbl="revTx">
                  <dgm:varLst>
                    <dgm:bulletEnabled val="1"/>
                  </dgm:varLst>
                  <dgm:choose name="Name28">
                    <dgm:if name="Name29" func="var" arg="dir" op="equ" val="norm">
                      <dgm:alg type="tx">
                        <dgm:param type="parTxLTRAlign" val="l"/>
                        <dgm:param type="shpTxLTRAlignCh" val="l"/>
                        <dgm:param type="parTxRTLAlign" val="r"/>
                        <dgm:param type="shpTxRTLAlignCh" val="r"/>
                      </dgm:alg>
                    </dgm:if>
                    <dgm:else name="Name30">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userW"/>
                    <dgm:constr type="w" refType="userW" fact="0.1"/>
                    <dgm:constr type="lMarg" refType="primFontSz" fact="0.2"/>
                    <dgm:constr type="rMarg" refType="primFontSz" fact="0.2"/>
                    <dgm:constr type="tMarg" refType="primFontSz" fact="0.1"/>
                    <dgm:constr type="bMarg" refType="primFontSz" fact="0.1"/>
                  </dgm:constrLst>
                  <dgm:ruleLst>
                    <dgm:rule type="w" val="NaN" fact="1" max="NaN"/>
                    <dgm:rule type="primFontSz" val="5" fact="NaN" max="NaN"/>
                  </dgm:ruleLst>
                </dgm:layoutNode>
              </dgm:layoutNode>
            </dgm:layoutNode>
            <dgm:forEach name="Name31" axis="followSib" ptType="sibTrans" cnt="1">
              <dgm:layoutNode name="spaceV">
                <dgm:alg type="sp"/>
                <dgm:shape xmlns:r="http://schemas.openxmlformats.org/officeDocument/2006/relationships" r:blip="">
                  <dgm:adjLst/>
                </dgm:shape>
                <dgm:presOf/>
              </dgm:layoutNode>
            </dgm:forEach>
          </dgm:forEach>
        </dgm:layoutNode>
      </dgm:if>
      <dgm:else name="Name32"/>
    </dgm:choose>
    <dgm:layoutNode name="maxNode">
      <dgm:alg type="lin"/>
      <dgm:shape xmlns:r="http://schemas.openxmlformats.org/officeDocument/2006/relationships" r:blip="">
        <dgm:adjLst/>
      </dgm:shape>
      <dgm:presOf/>
      <dgm:constrLst>
        <dgm:constr type="w" for="ch"/>
        <dgm:constr type="h" for="ch"/>
      </dgm:constrLst>
      <dgm:layoutNode name="Name33">
        <dgm:alg type="sp"/>
        <dgm:shape xmlns:r="http://schemas.openxmlformats.org/officeDocument/2006/relationships" r:blip="">
          <dgm:adjLst/>
        </dgm:shape>
        <dgm:presOf/>
      </dgm:layoutNode>
    </dgm:layoutNode>
  </dgm:layoutNode>
</dgm:layoutDef>
</file>

<file path=ppt/diagrams/layout38.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9.xml><?xml version="1.0" encoding="utf-8"?>
<dgm:layoutDef xmlns:dgm="http://schemas.openxmlformats.org/drawingml/2006/diagram" xmlns:a="http://schemas.openxmlformats.org/drawingml/2006/main" uniqueId="urn:microsoft.com/office/officeart/2005/8/layout/vList6">
  <dgm:title val=""/>
  <dgm:desc val=""/>
  <dgm:catLst>
    <dgm:cat type="process" pri="22000"/>
    <dgm:cat type="list" pri="1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dgm:varLst>
    <dgm:alg type="lin">
      <dgm:param type="linDir" val="fromT"/>
    </dgm:alg>
    <dgm:shape xmlns:r="http://schemas.openxmlformats.org/officeDocument/2006/relationships" r:blip="">
      <dgm:adjLst/>
    </dgm:shape>
    <dgm:presOf/>
    <dgm:constrLst>
      <dgm:constr type="w" for="ch" forName="linNode" refType="w"/>
      <dgm:constr type="h" for="ch" forName="linNode" refType="h"/>
      <dgm:constr type="h" for="ch" forName="spacing" refType="h" refFor="ch" refForName="linNode" fact="0.1"/>
      <dgm:constr type="primFontSz" for="des" forName="parentShp" op="equ" val="65"/>
      <dgm:constr type="primFontSz" for="des" forName="childShp" op="equ" val="65"/>
    </dgm:constrLst>
    <dgm:ruleLst/>
    <dgm:forEach name="Name1" axis="ch" ptType="node">
      <dgm:layoutNode name="linNode">
        <dgm:choose name="Name2">
          <dgm:if name="Name3" func="var" arg="dir" op="equ" val="norm">
            <dgm:alg type="lin">
              <dgm:param type="linDir" val="fromL"/>
            </dgm:alg>
          </dgm:if>
          <dgm:else name="Name4">
            <dgm:alg type="lin">
              <dgm:param type="linDir" val="fromR"/>
            </dgm:alg>
          </dgm:else>
        </dgm:choose>
        <dgm:shape xmlns:r="http://schemas.openxmlformats.org/officeDocument/2006/relationships" r:blip="">
          <dgm:adjLst/>
        </dgm:shape>
        <dgm:presOf/>
        <dgm:choose name="Name5">
          <dgm:if name="Name6" func="var" arg="dir" op="equ" val="norm">
            <dgm:constrLst>
              <dgm:constr type="w" for="ch" forName="parentShp" refType="w" fact="0.4"/>
              <dgm:constr type="h" for="ch" forName="parentShp" refType="h"/>
              <dgm:constr type="w" for="ch" forName="childShp" refType="w" fact="0.6"/>
              <dgm:constr type="h" for="ch" forName="childShp" refType="h" refFor="ch" refForName="parentShp"/>
            </dgm:constrLst>
          </dgm:if>
          <dgm:else name="Name7">
            <dgm:constrLst>
              <dgm:constr type="w" for="ch" forName="parentShp" refType="w" fact="0.4"/>
              <dgm:constr type="h" for="ch" forName="parentShp" refType="h"/>
              <dgm:constr type="w" for="ch" forName="childShp" refType="w" fact="0.6"/>
              <dgm:constr type="h" for="ch" forName="childShp" refType="h" refFor="ch" refForName="parentShp"/>
            </dgm:constrLst>
          </dgm:else>
        </dgm:choose>
        <dgm:ruleLst/>
        <dgm:layoutNode name="parentShp" styleLbl="node1">
          <dgm:varLst>
            <dgm:bulletEnabled val="1"/>
          </dgm:varLst>
          <dgm:alg type="tx"/>
          <dgm:shape xmlns:r="http://schemas.openxmlformats.org/officeDocument/2006/relationships" type="roundRect" r:blip="">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layoutNode name="childShp" styleLbl="bgAccFollowNode1">
          <dgm:varLst>
            <dgm:bulletEnabled val="1"/>
          </dgm:varLst>
          <dgm:alg type="tx">
            <dgm:param type="stBulletLvl" val="1"/>
          </dgm:alg>
          <dgm:choose name="Name8">
            <dgm:if name="Name9" func="var" arg="dir" op="equ" val="norm">
              <dgm:shape xmlns:r="http://schemas.openxmlformats.org/officeDocument/2006/relationships" type="rightArrow" r:blip="" zOrderOff="-2">
                <dgm:adjLst>
                  <dgm:adj idx="1" val="0.75"/>
                </dgm:adjLst>
              </dgm:shape>
            </dgm:if>
            <dgm:else name="Name10">
              <dgm:shape xmlns:r="http://schemas.openxmlformats.org/officeDocument/2006/relationships" rot="180" type="rightArrow" r:blip="" zOrderOff="-2">
                <dgm:adjLst>
                  <dgm:adj idx="1" val="0.75"/>
                </dgm:adjLst>
              </dgm:shape>
            </dgm:else>
          </dgm:choose>
          <dgm:presOf axis="des" ptType="node"/>
          <dgm:constrLst>
            <dgm:constr type="secFontSz" refType="primFontSz"/>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dgm:forEach name="Name11" axis="followSib" ptType="sibTrans" cnt="1">
        <dgm:layoutNode name="spacing">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8.xml><?xml version="1.0" encoding="utf-8"?>
<dgm:layoutDef xmlns:dgm="http://schemas.openxmlformats.org/drawingml/2006/diagram" xmlns:a="http://schemas.openxmlformats.org/drawingml/2006/main" uniqueId="urn:microsoft.com/office/officeart/2005/8/layout/vList4">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tr-TR"/>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CE0D724-4904-4CA9-9107-4DFACA066E24}" type="datetimeFigureOut">
              <a:rPr lang="tr-TR" smtClean="0"/>
              <a:t>3.07.2023</a:t>
            </a:fld>
            <a:endParaRPr lang="tr-TR"/>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tr-TR"/>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tr-T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tr-TR"/>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5AED927-E912-4797-BF78-DE44306FA998}" type="slidenum">
              <a:rPr lang="tr-TR" smtClean="0"/>
              <a:t>‹#›</a:t>
            </a:fld>
            <a:endParaRPr lang="tr-TR"/>
          </a:p>
        </p:txBody>
      </p:sp>
    </p:spTree>
    <p:extLst>
      <p:ext uri="{BB962C8B-B14F-4D97-AF65-F5344CB8AC3E}">
        <p14:creationId xmlns:p14="http://schemas.microsoft.com/office/powerpoint/2010/main" val="455532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1</a:t>
            </a:fld>
            <a:endParaRPr lang="tr-TR" dirty="0"/>
          </a:p>
        </p:txBody>
      </p:sp>
    </p:spTree>
    <p:extLst>
      <p:ext uri="{BB962C8B-B14F-4D97-AF65-F5344CB8AC3E}">
        <p14:creationId xmlns:p14="http://schemas.microsoft.com/office/powerpoint/2010/main" val="20129310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10</a:t>
            </a:fld>
            <a:endParaRPr lang="tr-TR" dirty="0"/>
          </a:p>
        </p:txBody>
      </p:sp>
    </p:spTree>
    <p:extLst>
      <p:ext uri="{BB962C8B-B14F-4D97-AF65-F5344CB8AC3E}">
        <p14:creationId xmlns:p14="http://schemas.microsoft.com/office/powerpoint/2010/main" val="2474955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11</a:t>
            </a:fld>
            <a:endParaRPr lang="tr-TR" dirty="0"/>
          </a:p>
        </p:txBody>
      </p:sp>
    </p:spTree>
    <p:extLst>
      <p:ext uri="{BB962C8B-B14F-4D97-AF65-F5344CB8AC3E}">
        <p14:creationId xmlns:p14="http://schemas.microsoft.com/office/powerpoint/2010/main" val="13378256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12</a:t>
            </a:fld>
            <a:endParaRPr lang="tr-TR" dirty="0"/>
          </a:p>
        </p:txBody>
      </p:sp>
    </p:spTree>
    <p:extLst>
      <p:ext uri="{BB962C8B-B14F-4D97-AF65-F5344CB8AC3E}">
        <p14:creationId xmlns:p14="http://schemas.microsoft.com/office/powerpoint/2010/main" val="33052056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13</a:t>
            </a:fld>
            <a:endParaRPr lang="tr-TR" dirty="0"/>
          </a:p>
        </p:txBody>
      </p:sp>
    </p:spTree>
    <p:extLst>
      <p:ext uri="{BB962C8B-B14F-4D97-AF65-F5344CB8AC3E}">
        <p14:creationId xmlns:p14="http://schemas.microsoft.com/office/powerpoint/2010/main" val="262631848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14</a:t>
            </a:fld>
            <a:endParaRPr lang="tr-TR" dirty="0"/>
          </a:p>
        </p:txBody>
      </p:sp>
    </p:spTree>
    <p:extLst>
      <p:ext uri="{BB962C8B-B14F-4D97-AF65-F5344CB8AC3E}">
        <p14:creationId xmlns:p14="http://schemas.microsoft.com/office/powerpoint/2010/main" val="328363191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15</a:t>
            </a:fld>
            <a:endParaRPr lang="tr-TR" dirty="0"/>
          </a:p>
        </p:txBody>
      </p:sp>
    </p:spTree>
    <p:extLst>
      <p:ext uri="{BB962C8B-B14F-4D97-AF65-F5344CB8AC3E}">
        <p14:creationId xmlns:p14="http://schemas.microsoft.com/office/powerpoint/2010/main" val="38667955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16</a:t>
            </a:fld>
            <a:endParaRPr lang="tr-TR" dirty="0"/>
          </a:p>
        </p:txBody>
      </p:sp>
    </p:spTree>
    <p:extLst>
      <p:ext uri="{BB962C8B-B14F-4D97-AF65-F5344CB8AC3E}">
        <p14:creationId xmlns:p14="http://schemas.microsoft.com/office/powerpoint/2010/main" val="234435324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17</a:t>
            </a:fld>
            <a:endParaRPr lang="tr-TR" dirty="0"/>
          </a:p>
        </p:txBody>
      </p:sp>
    </p:spTree>
    <p:extLst>
      <p:ext uri="{BB962C8B-B14F-4D97-AF65-F5344CB8AC3E}">
        <p14:creationId xmlns:p14="http://schemas.microsoft.com/office/powerpoint/2010/main" val="5816438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18</a:t>
            </a:fld>
            <a:endParaRPr lang="tr-TR" dirty="0"/>
          </a:p>
        </p:txBody>
      </p:sp>
    </p:spTree>
    <p:extLst>
      <p:ext uri="{BB962C8B-B14F-4D97-AF65-F5344CB8AC3E}">
        <p14:creationId xmlns:p14="http://schemas.microsoft.com/office/powerpoint/2010/main" val="5397217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19</a:t>
            </a:fld>
            <a:endParaRPr lang="tr-TR" dirty="0"/>
          </a:p>
        </p:txBody>
      </p:sp>
    </p:spTree>
    <p:extLst>
      <p:ext uri="{BB962C8B-B14F-4D97-AF65-F5344CB8AC3E}">
        <p14:creationId xmlns:p14="http://schemas.microsoft.com/office/powerpoint/2010/main" val="23361464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2</a:t>
            </a:fld>
            <a:endParaRPr lang="tr-TR" dirty="0"/>
          </a:p>
        </p:txBody>
      </p:sp>
    </p:spTree>
    <p:extLst>
      <p:ext uri="{BB962C8B-B14F-4D97-AF65-F5344CB8AC3E}">
        <p14:creationId xmlns:p14="http://schemas.microsoft.com/office/powerpoint/2010/main" val="408259399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20</a:t>
            </a:fld>
            <a:endParaRPr lang="tr-TR" dirty="0"/>
          </a:p>
        </p:txBody>
      </p:sp>
    </p:spTree>
    <p:extLst>
      <p:ext uri="{BB962C8B-B14F-4D97-AF65-F5344CB8AC3E}">
        <p14:creationId xmlns:p14="http://schemas.microsoft.com/office/powerpoint/2010/main" val="19337033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21</a:t>
            </a:fld>
            <a:endParaRPr lang="tr-TR" dirty="0"/>
          </a:p>
        </p:txBody>
      </p:sp>
    </p:spTree>
    <p:extLst>
      <p:ext uri="{BB962C8B-B14F-4D97-AF65-F5344CB8AC3E}">
        <p14:creationId xmlns:p14="http://schemas.microsoft.com/office/powerpoint/2010/main" val="40315966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22</a:t>
            </a:fld>
            <a:endParaRPr lang="tr-TR" dirty="0"/>
          </a:p>
        </p:txBody>
      </p:sp>
    </p:spTree>
    <p:extLst>
      <p:ext uri="{BB962C8B-B14F-4D97-AF65-F5344CB8AC3E}">
        <p14:creationId xmlns:p14="http://schemas.microsoft.com/office/powerpoint/2010/main" val="270399081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23</a:t>
            </a:fld>
            <a:endParaRPr lang="tr-TR" dirty="0"/>
          </a:p>
        </p:txBody>
      </p:sp>
    </p:spTree>
    <p:extLst>
      <p:ext uri="{BB962C8B-B14F-4D97-AF65-F5344CB8AC3E}">
        <p14:creationId xmlns:p14="http://schemas.microsoft.com/office/powerpoint/2010/main" val="64128421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24</a:t>
            </a:fld>
            <a:endParaRPr lang="tr-TR" dirty="0"/>
          </a:p>
        </p:txBody>
      </p:sp>
    </p:spTree>
    <p:extLst>
      <p:ext uri="{BB962C8B-B14F-4D97-AF65-F5344CB8AC3E}">
        <p14:creationId xmlns:p14="http://schemas.microsoft.com/office/powerpoint/2010/main" val="8309846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25</a:t>
            </a:fld>
            <a:endParaRPr lang="tr-TR" dirty="0"/>
          </a:p>
        </p:txBody>
      </p:sp>
    </p:spTree>
    <p:extLst>
      <p:ext uri="{BB962C8B-B14F-4D97-AF65-F5344CB8AC3E}">
        <p14:creationId xmlns:p14="http://schemas.microsoft.com/office/powerpoint/2010/main" val="112145199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26</a:t>
            </a:fld>
            <a:endParaRPr lang="tr-TR" dirty="0"/>
          </a:p>
        </p:txBody>
      </p:sp>
    </p:spTree>
    <p:extLst>
      <p:ext uri="{BB962C8B-B14F-4D97-AF65-F5344CB8AC3E}">
        <p14:creationId xmlns:p14="http://schemas.microsoft.com/office/powerpoint/2010/main" val="308056918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27</a:t>
            </a:fld>
            <a:endParaRPr lang="tr-TR" dirty="0"/>
          </a:p>
        </p:txBody>
      </p:sp>
    </p:spTree>
    <p:extLst>
      <p:ext uri="{BB962C8B-B14F-4D97-AF65-F5344CB8AC3E}">
        <p14:creationId xmlns:p14="http://schemas.microsoft.com/office/powerpoint/2010/main" val="43789714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28</a:t>
            </a:fld>
            <a:endParaRPr lang="tr-TR" dirty="0"/>
          </a:p>
        </p:txBody>
      </p:sp>
    </p:spTree>
    <p:extLst>
      <p:ext uri="{BB962C8B-B14F-4D97-AF65-F5344CB8AC3E}">
        <p14:creationId xmlns:p14="http://schemas.microsoft.com/office/powerpoint/2010/main" val="307114950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29</a:t>
            </a:fld>
            <a:endParaRPr lang="tr-TR" dirty="0"/>
          </a:p>
        </p:txBody>
      </p:sp>
    </p:spTree>
    <p:extLst>
      <p:ext uri="{BB962C8B-B14F-4D97-AF65-F5344CB8AC3E}">
        <p14:creationId xmlns:p14="http://schemas.microsoft.com/office/powerpoint/2010/main" val="1236060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3</a:t>
            </a:fld>
            <a:endParaRPr lang="tr-TR" dirty="0"/>
          </a:p>
        </p:txBody>
      </p:sp>
    </p:spTree>
    <p:extLst>
      <p:ext uri="{BB962C8B-B14F-4D97-AF65-F5344CB8AC3E}">
        <p14:creationId xmlns:p14="http://schemas.microsoft.com/office/powerpoint/2010/main" val="25435242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30</a:t>
            </a:fld>
            <a:endParaRPr lang="tr-TR" dirty="0"/>
          </a:p>
        </p:txBody>
      </p:sp>
    </p:spTree>
    <p:extLst>
      <p:ext uri="{BB962C8B-B14F-4D97-AF65-F5344CB8AC3E}">
        <p14:creationId xmlns:p14="http://schemas.microsoft.com/office/powerpoint/2010/main" val="124517570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31</a:t>
            </a:fld>
            <a:endParaRPr lang="tr-TR" dirty="0"/>
          </a:p>
        </p:txBody>
      </p:sp>
    </p:spTree>
    <p:extLst>
      <p:ext uri="{BB962C8B-B14F-4D97-AF65-F5344CB8AC3E}">
        <p14:creationId xmlns:p14="http://schemas.microsoft.com/office/powerpoint/2010/main" val="7956605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32</a:t>
            </a:fld>
            <a:endParaRPr lang="tr-TR" dirty="0"/>
          </a:p>
        </p:txBody>
      </p:sp>
    </p:spTree>
    <p:extLst>
      <p:ext uri="{BB962C8B-B14F-4D97-AF65-F5344CB8AC3E}">
        <p14:creationId xmlns:p14="http://schemas.microsoft.com/office/powerpoint/2010/main" val="110079992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33</a:t>
            </a:fld>
            <a:endParaRPr lang="tr-TR" dirty="0"/>
          </a:p>
        </p:txBody>
      </p:sp>
    </p:spTree>
    <p:extLst>
      <p:ext uri="{BB962C8B-B14F-4D97-AF65-F5344CB8AC3E}">
        <p14:creationId xmlns:p14="http://schemas.microsoft.com/office/powerpoint/2010/main" val="274897674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34</a:t>
            </a:fld>
            <a:endParaRPr lang="tr-TR" dirty="0"/>
          </a:p>
        </p:txBody>
      </p:sp>
    </p:spTree>
    <p:extLst>
      <p:ext uri="{BB962C8B-B14F-4D97-AF65-F5344CB8AC3E}">
        <p14:creationId xmlns:p14="http://schemas.microsoft.com/office/powerpoint/2010/main" val="19235925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35</a:t>
            </a:fld>
            <a:endParaRPr lang="tr-TR" dirty="0"/>
          </a:p>
        </p:txBody>
      </p:sp>
    </p:spTree>
    <p:extLst>
      <p:ext uri="{BB962C8B-B14F-4D97-AF65-F5344CB8AC3E}">
        <p14:creationId xmlns:p14="http://schemas.microsoft.com/office/powerpoint/2010/main" val="219892552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36</a:t>
            </a:fld>
            <a:endParaRPr lang="tr-TR" dirty="0"/>
          </a:p>
        </p:txBody>
      </p:sp>
    </p:spTree>
    <p:extLst>
      <p:ext uri="{BB962C8B-B14F-4D97-AF65-F5344CB8AC3E}">
        <p14:creationId xmlns:p14="http://schemas.microsoft.com/office/powerpoint/2010/main" val="163188201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37</a:t>
            </a:fld>
            <a:endParaRPr lang="tr-TR" dirty="0"/>
          </a:p>
        </p:txBody>
      </p:sp>
    </p:spTree>
    <p:extLst>
      <p:ext uri="{BB962C8B-B14F-4D97-AF65-F5344CB8AC3E}">
        <p14:creationId xmlns:p14="http://schemas.microsoft.com/office/powerpoint/2010/main" val="311840069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38</a:t>
            </a:fld>
            <a:endParaRPr lang="tr-TR" dirty="0"/>
          </a:p>
        </p:txBody>
      </p:sp>
    </p:spTree>
    <p:extLst>
      <p:ext uri="{BB962C8B-B14F-4D97-AF65-F5344CB8AC3E}">
        <p14:creationId xmlns:p14="http://schemas.microsoft.com/office/powerpoint/2010/main" val="123716329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39</a:t>
            </a:fld>
            <a:endParaRPr lang="tr-TR" dirty="0"/>
          </a:p>
        </p:txBody>
      </p:sp>
    </p:spTree>
    <p:extLst>
      <p:ext uri="{BB962C8B-B14F-4D97-AF65-F5344CB8AC3E}">
        <p14:creationId xmlns:p14="http://schemas.microsoft.com/office/powerpoint/2010/main" val="2941253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4</a:t>
            </a:fld>
            <a:endParaRPr lang="tr-TR" dirty="0"/>
          </a:p>
        </p:txBody>
      </p:sp>
    </p:spTree>
    <p:extLst>
      <p:ext uri="{BB962C8B-B14F-4D97-AF65-F5344CB8AC3E}">
        <p14:creationId xmlns:p14="http://schemas.microsoft.com/office/powerpoint/2010/main" val="77159030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40</a:t>
            </a:fld>
            <a:endParaRPr lang="tr-TR" dirty="0"/>
          </a:p>
        </p:txBody>
      </p:sp>
    </p:spTree>
    <p:extLst>
      <p:ext uri="{BB962C8B-B14F-4D97-AF65-F5344CB8AC3E}">
        <p14:creationId xmlns:p14="http://schemas.microsoft.com/office/powerpoint/2010/main" val="318113543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41</a:t>
            </a:fld>
            <a:endParaRPr lang="tr-TR" dirty="0"/>
          </a:p>
        </p:txBody>
      </p:sp>
    </p:spTree>
    <p:extLst>
      <p:ext uri="{BB962C8B-B14F-4D97-AF65-F5344CB8AC3E}">
        <p14:creationId xmlns:p14="http://schemas.microsoft.com/office/powerpoint/2010/main" val="37412203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42</a:t>
            </a:fld>
            <a:endParaRPr lang="tr-TR" dirty="0"/>
          </a:p>
        </p:txBody>
      </p:sp>
    </p:spTree>
    <p:extLst>
      <p:ext uri="{BB962C8B-B14F-4D97-AF65-F5344CB8AC3E}">
        <p14:creationId xmlns:p14="http://schemas.microsoft.com/office/powerpoint/2010/main" val="1257905982"/>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43</a:t>
            </a:fld>
            <a:endParaRPr lang="tr-TR" dirty="0"/>
          </a:p>
        </p:txBody>
      </p:sp>
    </p:spTree>
    <p:extLst>
      <p:ext uri="{BB962C8B-B14F-4D97-AF65-F5344CB8AC3E}">
        <p14:creationId xmlns:p14="http://schemas.microsoft.com/office/powerpoint/2010/main" val="993869041"/>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44</a:t>
            </a:fld>
            <a:endParaRPr lang="tr-TR" dirty="0"/>
          </a:p>
        </p:txBody>
      </p:sp>
    </p:spTree>
    <p:extLst>
      <p:ext uri="{BB962C8B-B14F-4D97-AF65-F5344CB8AC3E}">
        <p14:creationId xmlns:p14="http://schemas.microsoft.com/office/powerpoint/2010/main" val="3733945323"/>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45</a:t>
            </a:fld>
            <a:endParaRPr lang="tr-TR" dirty="0"/>
          </a:p>
        </p:txBody>
      </p:sp>
    </p:spTree>
    <p:extLst>
      <p:ext uri="{BB962C8B-B14F-4D97-AF65-F5344CB8AC3E}">
        <p14:creationId xmlns:p14="http://schemas.microsoft.com/office/powerpoint/2010/main" val="3032644124"/>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46</a:t>
            </a:fld>
            <a:endParaRPr lang="tr-TR" dirty="0"/>
          </a:p>
        </p:txBody>
      </p:sp>
    </p:spTree>
    <p:extLst>
      <p:ext uri="{BB962C8B-B14F-4D97-AF65-F5344CB8AC3E}">
        <p14:creationId xmlns:p14="http://schemas.microsoft.com/office/powerpoint/2010/main" val="336262957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47</a:t>
            </a:fld>
            <a:endParaRPr lang="tr-TR" dirty="0"/>
          </a:p>
        </p:txBody>
      </p:sp>
    </p:spTree>
    <p:extLst>
      <p:ext uri="{BB962C8B-B14F-4D97-AF65-F5344CB8AC3E}">
        <p14:creationId xmlns:p14="http://schemas.microsoft.com/office/powerpoint/2010/main" val="3420597498"/>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48</a:t>
            </a:fld>
            <a:endParaRPr lang="tr-TR" dirty="0"/>
          </a:p>
        </p:txBody>
      </p:sp>
    </p:spTree>
    <p:extLst>
      <p:ext uri="{BB962C8B-B14F-4D97-AF65-F5344CB8AC3E}">
        <p14:creationId xmlns:p14="http://schemas.microsoft.com/office/powerpoint/2010/main" val="1400350330"/>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49</a:t>
            </a:fld>
            <a:endParaRPr lang="tr-TR" dirty="0"/>
          </a:p>
        </p:txBody>
      </p:sp>
    </p:spTree>
    <p:extLst>
      <p:ext uri="{BB962C8B-B14F-4D97-AF65-F5344CB8AC3E}">
        <p14:creationId xmlns:p14="http://schemas.microsoft.com/office/powerpoint/2010/main" val="3148674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5</a:t>
            </a:fld>
            <a:endParaRPr lang="tr-TR" dirty="0"/>
          </a:p>
        </p:txBody>
      </p:sp>
    </p:spTree>
    <p:extLst>
      <p:ext uri="{BB962C8B-B14F-4D97-AF65-F5344CB8AC3E}">
        <p14:creationId xmlns:p14="http://schemas.microsoft.com/office/powerpoint/2010/main" val="102191257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50</a:t>
            </a:fld>
            <a:endParaRPr lang="tr-TR" dirty="0"/>
          </a:p>
        </p:txBody>
      </p:sp>
    </p:spTree>
    <p:extLst>
      <p:ext uri="{BB962C8B-B14F-4D97-AF65-F5344CB8AC3E}">
        <p14:creationId xmlns:p14="http://schemas.microsoft.com/office/powerpoint/2010/main" val="1981284724"/>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51</a:t>
            </a:fld>
            <a:endParaRPr lang="tr-TR" dirty="0"/>
          </a:p>
        </p:txBody>
      </p:sp>
    </p:spTree>
    <p:extLst>
      <p:ext uri="{BB962C8B-B14F-4D97-AF65-F5344CB8AC3E}">
        <p14:creationId xmlns:p14="http://schemas.microsoft.com/office/powerpoint/2010/main" val="9232286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52</a:t>
            </a:fld>
            <a:endParaRPr lang="tr-TR" dirty="0"/>
          </a:p>
        </p:txBody>
      </p:sp>
    </p:spTree>
    <p:extLst>
      <p:ext uri="{BB962C8B-B14F-4D97-AF65-F5344CB8AC3E}">
        <p14:creationId xmlns:p14="http://schemas.microsoft.com/office/powerpoint/2010/main" val="1492483728"/>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53</a:t>
            </a:fld>
            <a:endParaRPr lang="tr-TR" dirty="0"/>
          </a:p>
        </p:txBody>
      </p:sp>
    </p:spTree>
    <p:extLst>
      <p:ext uri="{BB962C8B-B14F-4D97-AF65-F5344CB8AC3E}">
        <p14:creationId xmlns:p14="http://schemas.microsoft.com/office/powerpoint/2010/main" val="3899634889"/>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54</a:t>
            </a:fld>
            <a:endParaRPr lang="tr-TR" dirty="0"/>
          </a:p>
        </p:txBody>
      </p:sp>
    </p:spTree>
    <p:extLst>
      <p:ext uri="{BB962C8B-B14F-4D97-AF65-F5344CB8AC3E}">
        <p14:creationId xmlns:p14="http://schemas.microsoft.com/office/powerpoint/2010/main" val="16446593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55</a:t>
            </a:fld>
            <a:endParaRPr lang="tr-TR" dirty="0"/>
          </a:p>
        </p:txBody>
      </p:sp>
    </p:spTree>
    <p:extLst>
      <p:ext uri="{BB962C8B-B14F-4D97-AF65-F5344CB8AC3E}">
        <p14:creationId xmlns:p14="http://schemas.microsoft.com/office/powerpoint/2010/main" val="46740453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56</a:t>
            </a:fld>
            <a:endParaRPr lang="tr-TR" dirty="0"/>
          </a:p>
        </p:txBody>
      </p:sp>
    </p:spTree>
    <p:extLst>
      <p:ext uri="{BB962C8B-B14F-4D97-AF65-F5344CB8AC3E}">
        <p14:creationId xmlns:p14="http://schemas.microsoft.com/office/powerpoint/2010/main" val="378397657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57</a:t>
            </a:fld>
            <a:endParaRPr lang="tr-TR" dirty="0"/>
          </a:p>
        </p:txBody>
      </p:sp>
    </p:spTree>
    <p:extLst>
      <p:ext uri="{BB962C8B-B14F-4D97-AF65-F5344CB8AC3E}">
        <p14:creationId xmlns:p14="http://schemas.microsoft.com/office/powerpoint/2010/main" val="79312302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58</a:t>
            </a:fld>
            <a:endParaRPr lang="tr-TR" dirty="0"/>
          </a:p>
        </p:txBody>
      </p:sp>
    </p:spTree>
    <p:extLst>
      <p:ext uri="{BB962C8B-B14F-4D97-AF65-F5344CB8AC3E}">
        <p14:creationId xmlns:p14="http://schemas.microsoft.com/office/powerpoint/2010/main" val="335184577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59</a:t>
            </a:fld>
            <a:endParaRPr lang="tr-TR" dirty="0"/>
          </a:p>
        </p:txBody>
      </p:sp>
    </p:spTree>
    <p:extLst>
      <p:ext uri="{BB962C8B-B14F-4D97-AF65-F5344CB8AC3E}">
        <p14:creationId xmlns:p14="http://schemas.microsoft.com/office/powerpoint/2010/main" val="227024709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6</a:t>
            </a:fld>
            <a:endParaRPr lang="tr-TR" dirty="0"/>
          </a:p>
        </p:txBody>
      </p:sp>
    </p:spTree>
    <p:extLst>
      <p:ext uri="{BB962C8B-B14F-4D97-AF65-F5344CB8AC3E}">
        <p14:creationId xmlns:p14="http://schemas.microsoft.com/office/powerpoint/2010/main" val="363544056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60</a:t>
            </a:fld>
            <a:endParaRPr lang="tr-TR" dirty="0"/>
          </a:p>
        </p:txBody>
      </p:sp>
    </p:spTree>
    <p:extLst>
      <p:ext uri="{BB962C8B-B14F-4D97-AF65-F5344CB8AC3E}">
        <p14:creationId xmlns:p14="http://schemas.microsoft.com/office/powerpoint/2010/main" val="415501891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61</a:t>
            </a:fld>
            <a:endParaRPr lang="tr-TR" dirty="0"/>
          </a:p>
        </p:txBody>
      </p:sp>
    </p:spTree>
    <p:extLst>
      <p:ext uri="{BB962C8B-B14F-4D97-AF65-F5344CB8AC3E}">
        <p14:creationId xmlns:p14="http://schemas.microsoft.com/office/powerpoint/2010/main" val="2932055762"/>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62</a:t>
            </a:fld>
            <a:endParaRPr lang="tr-TR" dirty="0"/>
          </a:p>
        </p:txBody>
      </p:sp>
    </p:spTree>
    <p:extLst>
      <p:ext uri="{BB962C8B-B14F-4D97-AF65-F5344CB8AC3E}">
        <p14:creationId xmlns:p14="http://schemas.microsoft.com/office/powerpoint/2010/main" val="87289168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63</a:t>
            </a:fld>
            <a:endParaRPr lang="tr-TR" dirty="0"/>
          </a:p>
        </p:txBody>
      </p:sp>
    </p:spTree>
    <p:extLst>
      <p:ext uri="{BB962C8B-B14F-4D97-AF65-F5344CB8AC3E}">
        <p14:creationId xmlns:p14="http://schemas.microsoft.com/office/powerpoint/2010/main" val="238379068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64</a:t>
            </a:fld>
            <a:endParaRPr lang="tr-TR" dirty="0"/>
          </a:p>
        </p:txBody>
      </p:sp>
    </p:spTree>
    <p:extLst>
      <p:ext uri="{BB962C8B-B14F-4D97-AF65-F5344CB8AC3E}">
        <p14:creationId xmlns:p14="http://schemas.microsoft.com/office/powerpoint/2010/main" val="3090397553"/>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65</a:t>
            </a:fld>
            <a:endParaRPr lang="tr-TR" dirty="0"/>
          </a:p>
        </p:txBody>
      </p:sp>
    </p:spTree>
    <p:extLst>
      <p:ext uri="{BB962C8B-B14F-4D97-AF65-F5344CB8AC3E}">
        <p14:creationId xmlns:p14="http://schemas.microsoft.com/office/powerpoint/2010/main" val="103428122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66</a:t>
            </a:fld>
            <a:endParaRPr lang="tr-TR" dirty="0"/>
          </a:p>
        </p:txBody>
      </p:sp>
    </p:spTree>
    <p:extLst>
      <p:ext uri="{BB962C8B-B14F-4D97-AF65-F5344CB8AC3E}">
        <p14:creationId xmlns:p14="http://schemas.microsoft.com/office/powerpoint/2010/main" val="152786608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67</a:t>
            </a:fld>
            <a:endParaRPr lang="tr-TR" dirty="0"/>
          </a:p>
        </p:txBody>
      </p:sp>
    </p:spTree>
    <p:extLst>
      <p:ext uri="{BB962C8B-B14F-4D97-AF65-F5344CB8AC3E}">
        <p14:creationId xmlns:p14="http://schemas.microsoft.com/office/powerpoint/2010/main" val="1432258107"/>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68</a:t>
            </a:fld>
            <a:endParaRPr lang="tr-TR" dirty="0"/>
          </a:p>
        </p:txBody>
      </p:sp>
    </p:spTree>
    <p:extLst>
      <p:ext uri="{BB962C8B-B14F-4D97-AF65-F5344CB8AC3E}">
        <p14:creationId xmlns:p14="http://schemas.microsoft.com/office/powerpoint/2010/main" val="1719611976"/>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69</a:t>
            </a:fld>
            <a:endParaRPr lang="tr-TR" dirty="0"/>
          </a:p>
        </p:txBody>
      </p:sp>
    </p:spTree>
    <p:extLst>
      <p:ext uri="{BB962C8B-B14F-4D97-AF65-F5344CB8AC3E}">
        <p14:creationId xmlns:p14="http://schemas.microsoft.com/office/powerpoint/2010/main" val="16195277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7</a:t>
            </a:fld>
            <a:endParaRPr lang="tr-TR" dirty="0"/>
          </a:p>
        </p:txBody>
      </p:sp>
    </p:spTree>
    <p:extLst>
      <p:ext uri="{BB962C8B-B14F-4D97-AF65-F5344CB8AC3E}">
        <p14:creationId xmlns:p14="http://schemas.microsoft.com/office/powerpoint/2010/main" val="1947992906"/>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70</a:t>
            </a:fld>
            <a:endParaRPr lang="tr-TR" dirty="0"/>
          </a:p>
        </p:txBody>
      </p:sp>
    </p:spTree>
    <p:extLst>
      <p:ext uri="{BB962C8B-B14F-4D97-AF65-F5344CB8AC3E}">
        <p14:creationId xmlns:p14="http://schemas.microsoft.com/office/powerpoint/2010/main" val="64206715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71</a:t>
            </a:fld>
            <a:endParaRPr lang="tr-TR" dirty="0"/>
          </a:p>
        </p:txBody>
      </p:sp>
    </p:spTree>
    <p:extLst>
      <p:ext uri="{BB962C8B-B14F-4D97-AF65-F5344CB8AC3E}">
        <p14:creationId xmlns:p14="http://schemas.microsoft.com/office/powerpoint/2010/main" val="2239890708"/>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72</a:t>
            </a:fld>
            <a:endParaRPr lang="tr-TR" dirty="0"/>
          </a:p>
        </p:txBody>
      </p:sp>
    </p:spTree>
    <p:extLst>
      <p:ext uri="{BB962C8B-B14F-4D97-AF65-F5344CB8AC3E}">
        <p14:creationId xmlns:p14="http://schemas.microsoft.com/office/powerpoint/2010/main" val="111046025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73</a:t>
            </a:fld>
            <a:endParaRPr lang="tr-TR" dirty="0"/>
          </a:p>
        </p:txBody>
      </p:sp>
    </p:spTree>
    <p:extLst>
      <p:ext uri="{BB962C8B-B14F-4D97-AF65-F5344CB8AC3E}">
        <p14:creationId xmlns:p14="http://schemas.microsoft.com/office/powerpoint/2010/main" val="28460850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74</a:t>
            </a:fld>
            <a:endParaRPr lang="tr-TR" dirty="0"/>
          </a:p>
        </p:txBody>
      </p:sp>
    </p:spTree>
    <p:extLst>
      <p:ext uri="{BB962C8B-B14F-4D97-AF65-F5344CB8AC3E}">
        <p14:creationId xmlns:p14="http://schemas.microsoft.com/office/powerpoint/2010/main" val="4255750126"/>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75</a:t>
            </a:fld>
            <a:endParaRPr lang="tr-TR" dirty="0"/>
          </a:p>
        </p:txBody>
      </p:sp>
    </p:spTree>
    <p:extLst>
      <p:ext uri="{BB962C8B-B14F-4D97-AF65-F5344CB8AC3E}">
        <p14:creationId xmlns:p14="http://schemas.microsoft.com/office/powerpoint/2010/main" val="216102283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76</a:t>
            </a:fld>
            <a:endParaRPr lang="tr-TR" dirty="0"/>
          </a:p>
        </p:txBody>
      </p:sp>
    </p:spTree>
    <p:extLst>
      <p:ext uri="{BB962C8B-B14F-4D97-AF65-F5344CB8AC3E}">
        <p14:creationId xmlns:p14="http://schemas.microsoft.com/office/powerpoint/2010/main" val="3598840165"/>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77</a:t>
            </a:fld>
            <a:endParaRPr lang="tr-TR" dirty="0"/>
          </a:p>
        </p:txBody>
      </p:sp>
    </p:spTree>
    <p:extLst>
      <p:ext uri="{BB962C8B-B14F-4D97-AF65-F5344CB8AC3E}">
        <p14:creationId xmlns:p14="http://schemas.microsoft.com/office/powerpoint/2010/main" val="1161578456"/>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78</a:t>
            </a:fld>
            <a:endParaRPr lang="tr-TR" dirty="0"/>
          </a:p>
        </p:txBody>
      </p:sp>
    </p:spTree>
    <p:extLst>
      <p:ext uri="{BB962C8B-B14F-4D97-AF65-F5344CB8AC3E}">
        <p14:creationId xmlns:p14="http://schemas.microsoft.com/office/powerpoint/2010/main" val="2997700834"/>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79</a:t>
            </a:fld>
            <a:endParaRPr lang="tr-TR" dirty="0"/>
          </a:p>
        </p:txBody>
      </p:sp>
    </p:spTree>
    <p:extLst>
      <p:ext uri="{BB962C8B-B14F-4D97-AF65-F5344CB8AC3E}">
        <p14:creationId xmlns:p14="http://schemas.microsoft.com/office/powerpoint/2010/main" val="33360344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8</a:t>
            </a:fld>
            <a:endParaRPr lang="tr-TR" dirty="0"/>
          </a:p>
        </p:txBody>
      </p:sp>
    </p:spTree>
    <p:extLst>
      <p:ext uri="{BB962C8B-B14F-4D97-AF65-F5344CB8AC3E}">
        <p14:creationId xmlns:p14="http://schemas.microsoft.com/office/powerpoint/2010/main" val="402655270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80</a:t>
            </a:fld>
            <a:endParaRPr lang="tr-TR" dirty="0"/>
          </a:p>
        </p:txBody>
      </p:sp>
    </p:spTree>
    <p:extLst>
      <p:ext uri="{BB962C8B-B14F-4D97-AF65-F5344CB8AC3E}">
        <p14:creationId xmlns:p14="http://schemas.microsoft.com/office/powerpoint/2010/main" val="966667241"/>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81</a:t>
            </a:fld>
            <a:endParaRPr lang="tr-TR" dirty="0"/>
          </a:p>
        </p:txBody>
      </p:sp>
    </p:spTree>
    <p:extLst>
      <p:ext uri="{BB962C8B-B14F-4D97-AF65-F5344CB8AC3E}">
        <p14:creationId xmlns:p14="http://schemas.microsoft.com/office/powerpoint/2010/main" val="2928308932"/>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82</a:t>
            </a:fld>
            <a:endParaRPr lang="tr-TR" dirty="0"/>
          </a:p>
        </p:txBody>
      </p:sp>
    </p:spTree>
    <p:extLst>
      <p:ext uri="{BB962C8B-B14F-4D97-AF65-F5344CB8AC3E}">
        <p14:creationId xmlns:p14="http://schemas.microsoft.com/office/powerpoint/2010/main" val="4192128107"/>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83</a:t>
            </a:fld>
            <a:endParaRPr lang="tr-TR" dirty="0"/>
          </a:p>
        </p:txBody>
      </p:sp>
    </p:spTree>
    <p:extLst>
      <p:ext uri="{BB962C8B-B14F-4D97-AF65-F5344CB8AC3E}">
        <p14:creationId xmlns:p14="http://schemas.microsoft.com/office/powerpoint/2010/main" val="2277525476"/>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84</a:t>
            </a:fld>
            <a:endParaRPr lang="tr-TR" dirty="0"/>
          </a:p>
        </p:txBody>
      </p:sp>
    </p:spTree>
    <p:extLst>
      <p:ext uri="{BB962C8B-B14F-4D97-AF65-F5344CB8AC3E}">
        <p14:creationId xmlns:p14="http://schemas.microsoft.com/office/powerpoint/2010/main" val="37108520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tr-TR" dirty="0"/>
          </a:p>
        </p:txBody>
      </p:sp>
      <p:sp>
        <p:nvSpPr>
          <p:cNvPr id="4" name="Slide Number Placeholder 3"/>
          <p:cNvSpPr>
            <a:spLocks noGrp="1"/>
          </p:cNvSpPr>
          <p:nvPr>
            <p:ph type="sldNum" sz="quarter" idx="5"/>
          </p:nvPr>
        </p:nvSpPr>
        <p:spPr/>
        <p:txBody>
          <a:bodyPr/>
          <a:lstStyle/>
          <a:p>
            <a:fld id="{85AED927-E912-4797-BF78-DE44306FA998}" type="slidenum">
              <a:rPr lang="tr-TR" smtClean="0"/>
              <a:t>9</a:t>
            </a:fld>
            <a:endParaRPr lang="tr-TR" dirty="0"/>
          </a:p>
        </p:txBody>
      </p:sp>
    </p:spTree>
    <p:extLst>
      <p:ext uri="{BB962C8B-B14F-4D97-AF65-F5344CB8AC3E}">
        <p14:creationId xmlns:p14="http://schemas.microsoft.com/office/powerpoint/2010/main" val="24192007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810A3E-EC1B-BE41-AF73-5794AD897AA9}"/>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TR"/>
          </a:p>
        </p:txBody>
      </p:sp>
      <p:sp>
        <p:nvSpPr>
          <p:cNvPr id="3" name="Subtitle 2">
            <a:extLst>
              <a:ext uri="{FF2B5EF4-FFF2-40B4-BE49-F238E27FC236}">
                <a16:creationId xmlns:a16="http://schemas.microsoft.com/office/drawing/2014/main" id="{78112102-F6A1-E647-B542-70150272F470}"/>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TR"/>
          </a:p>
        </p:txBody>
      </p:sp>
      <p:sp>
        <p:nvSpPr>
          <p:cNvPr id="4" name="Date Placeholder 3">
            <a:extLst>
              <a:ext uri="{FF2B5EF4-FFF2-40B4-BE49-F238E27FC236}">
                <a16:creationId xmlns:a16="http://schemas.microsoft.com/office/drawing/2014/main" id="{2862A17F-0944-E34D-875E-617FAF4D8D3C}"/>
              </a:ext>
            </a:extLst>
          </p:cNvPr>
          <p:cNvSpPr>
            <a:spLocks noGrp="1"/>
          </p:cNvSpPr>
          <p:nvPr>
            <p:ph type="dt" sz="half" idx="10"/>
          </p:nvPr>
        </p:nvSpPr>
        <p:spPr/>
        <p:txBody>
          <a:bodyPr/>
          <a:lstStyle/>
          <a:p>
            <a:fld id="{9A6E77E6-B808-DF40-9C53-260D8B1299E3}" type="datetimeFigureOut">
              <a:rPr lang="en-TR" smtClean="0"/>
              <a:t>07/03/2023</a:t>
            </a:fld>
            <a:endParaRPr lang="en-TR"/>
          </a:p>
        </p:txBody>
      </p:sp>
      <p:sp>
        <p:nvSpPr>
          <p:cNvPr id="5" name="Footer Placeholder 4">
            <a:extLst>
              <a:ext uri="{FF2B5EF4-FFF2-40B4-BE49-F238E27FC236}">
                <a16:creationId xmlns:a16="http://schemas.microsoft.com/office/drawing/2014/main" id="{774D4525-0264-E84C-95C8-91CD70E16A70}"/>
              </a:ext>
            </a:extLst>
          </p:cNvPr>
          <p:cNvSpPr>
            <a:spLocks noGrp="1"/>
          </p:cNvSpPr>
          <p:nvPr>
            <p:ph type="ftr" sz="quarter" idx="11"/>
          </p:nvPr>
        </p:nvSpPr>
        <p:spPr/>
        <p:txBody>
          <a:bodyPr/>
          <a:lstStyle/>
          <a:p>
            <a:endParaRPr lang="en-TR"/>
          </a:p>
        </p:txBody>
      </p:sp>
      <p:sp>
        <p:nvSpPr>
          <p:cNvPr id="6" name="Slide Number Placeholder 5">
            <a:extLst>
              <a:ext uri="{FF2B5EF4-FFF2-40B4-BE49-F238E27FC236}">
                <a16:creationId xmlns:a16="http://schemas.microsoft.com/office/drawing/2014/main" id="{94F39F13-1800-6C4B-8C25-F6A9FEDA3A92}"/>
              </a:ext>
            </a:extLst>
          </p:cNvPr>
          <p:cNvSpPr>
            <a:spLocks noGrp="1"/>
          </p:cNvSpPr>
          <p:nvPr>
            <p:ph type="sldNum" sz="quarter" idx="12"/>
          </p:nvPr>
        </p:nvSpPr>
        <p:spPr/>
        <p:txBody>
          <a:bodyPr/>
          <a:lstStyle/>
          <a:p>
            <a:fld id="{FC742DB8-2F9A-1049-91F9-A29E53715864}" type="slidenum">
              <a:rPr lang="en-TR" smtClean="0"/>
              <a:t>‹#›</a:t>
            </a:fld>
            <a:endParaRPr lang="en-TR"/>
          </a:p>
        </p:txBody>
      </p:sp>
    </p:spTree>
    <p:extLst>
      <p:ext uri="{BB962C8B-B14F-4D97-AF65-F5344CB8AC3E}">
        <p14:creationId xmlns:p14="http://schemas.microsoft.com/office/powerpoint/2010/main" val="41118637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50BEA6-1059-0141-A65A-D8D4D68CC603}"/>
              </a:ext>
            </a:extLst>
          </p:cNvPr>
          <p:cNvSpPr>
            <a:spLocks noGrp="1"/>
          </p:cNvSpPr>
          <p:nvPr>
            <p:ph type="title"/>
          </p:nvPr>
        </p:nvSpPr>
        <p:spPr/>
        <p:txBody>
          <a:bodyPr/>
          <a:lstStyle/>
          <a:p>
            <a:r>
              <a:rPr lang="en-US"/>
              <a:t>Click to edit Master title style</a:t>
            </a:r>
            <a:endParaRPr lang="en-TR"/>
          </a:p>
        </p:txBody>
      </p:sp>
      <p:sp>
        <p:nvSpPr>
          <p:cNvPr id="3" name="Vertical Text Placeholder 2">
            <a:extLst>
              <a:ext uri="{FF2B5EF4-FFF2-40B4-BE49-F238E27FC236}">
                <a16:creationId xmlns:a16="http://schemas.microsoft.com/office/drawing/2014/main" id="{FF99AB4F-7B82-D243-A669-E6095786991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R"/>
          </a:p>
        </p:txBody>
      </p:sp>
      <p:sp>
        <p:nvSpPr>
          <p:cNvPr id="4" name="Date Placeholder 3">
            <a:extLst>
              <a:ext uri="{FF2B5EF4-FFF2-40B4-BE49-F238E27FC236}">
                <a16:creationId xmlns:a16="http://schemas.microsoft.com/office/drawing/2014/main" id="{BC9EB214-AB97-AF48-925F-810CB2A36255}"/>
              </a:ext>
            </a:extLst>
          </p:cNvPr>
          <p:cNvSpPr>
            <a:spLocks noGrp="1"/>
          </p:cNvSpPr>
          <p:nvPr>
            <p:ph type="dt" sz="half" idx="10"/>
          </p:nvPr>
        </p:nvSpPr>
        <p:spPr/>
        <p:txBody>
          <a:bodyPr/>
          <a:lstStyle/>
          <a:p>
            <a:fld id="{9A6E77E6-B808-DF40-9C53-260D8B1299E3}" type="datetimeFigureOut">
              <a:rPr lang="en-TR" smtClean="0"/>
              <a:t>07/03/2023</a:t>
            </a:fld>
            <a:endParaRPr lang="en-TR"/>
          </a:p>
        </p:txBody>
      </p:sp>
      <p:sp>
        <p:nvSpPr>
          <p:cNvPr id="5" name="Footer Placeholder 4">
            <a:extLst>
              <a:ext uri="{FF2B5EF4-FFF2-40B4-BE49-F238E27FC236}">
                <a16:creationId xmlns:a16="http://schemas.microsoft.com/office/drawing/2014/main" id="{497FEB19-6087-3443-A321-370F17F2FFCD}"/>
              </a:ext>
            </a:extLst>
          </p:cNvPr>
          <p:cNvSpPr>
            <a:spLocks noGrp="1"/>
          </p:cNvSpPr>
          <p:nvPr>
            <p:ph type="ftr" sz="quarter" idx="11"/>
          </p:nvPr>
        </p:nvSpPr>
        <p:spPr/>
        <p:txBody>
          <a:bodyPr/>
          <a:lstStyle/>
          <a:p>
            <a:endParaRPr lang="en-TR"/>
          </a:p>
        </p:txBody>
      </p:sp>
      <p:sp>
        <p:nvSpPr>
          <p:cNvPr id="6" name="Slide Number Placeholder 5">
            <a:extLst>
              <a:ext uri="{FF2B5EF4-FFF2-40B4-BE49-F238E27FC236}">
                <a16:creationId xmlns:a16="http://schemas.microsoft.com/office/drawing/2014/main" id="{6BA2F263-7B0F-C24F-95F4-30ED3C6C3526}"/>
              </a:ext>
            </a:extLst>
          </p:cNvPr>
          <p:cNvSpPr>
            <a:spLocks noGrp="1"/>
          </p:cNvSpPr>
          <p:nvPr>
            <p:ph type="sldNum" sz="quarter" idx="12"/>
          </p:nvPr>
        </p:nvSpPr>
        <p:spPr/>
        <p:txBody>
          <a:bodyPr/>
          <a:lstStyle/>
          <a:p>
            <a:fld id="{FC742DB8-2F9A-1049-91F9-A29E53715864}" type="slidenum">
              <a:rPr lang="en-TR" smtClean="0"/>
              <a:t>‹#›</a:t>
            </a:fld>
            <a:endParaRPr lang="en-TR"/>
          </a:p>
        </p:txBody>
      </p:sp>
    </p:spTree>
    <p:extLst>
      <p:ext uri="{BB962C8B-B14F-4D97-AF65-F5344CB8AC3E}">
        <p14:creationId xmlns:p14="http://schemas.microsoft.com/office/powerpoint/2010/main" val="18764024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18DE7939-763A-104B-80E3-F3DC837F3F01}"/>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TR"/>
          </a:p>
        </p:txBody>
      </p:sp>
      <p:sp>
        <p:nvSpPr>
          <p:cNvPr id="3" name="Vertical Text Placeholder 2">
            <a:extLst>
              <a:ext uri="{FF2B5EF4-FFF2-40B4-BE49-F238E27FC236}">
                <a16:creationId xmlns:a16="http://schemas.microsoft.com/office/drawing/2014/main" id="{31CDB66A-42A0-6644-B8B4-064A9FF5639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R"/>
          </a:p>
        </p:txBody>
      </p:sp>
      <p:sp>
        <p:nvSpPr>
          <p:cNvPr id="4" name="Date Placeholder 3">
            <a:extLst>
              <a:ext uri="{FF2B5EF4-FFF2-40B4-BE49-F238E27FC236}">
                <a16:creationId xmlns:a16="http://schemas.microsoft.com/office/drawing/2014/main" id="{82462A4B-EC0E-CE4E-A659-C9F79820BDD5}"/>
              </a:ext>
            </a:extLst>
          </p:cNvPr>
          <p:cNvSpPr>
            <a:spLocks noGrp="1"/>
          </p:cNvSpPr>
          <p:nvPr>
            <p:ph type="dt" sz="half" idx="10"/>
          </p:nvPr>
        </p:nvSpPr>
        <p:spPr/>
        <p:txBody>
          <a:bodyPr/>
          <a:lstStyle/>
          <a:p>
            <a:fld id="{9A6E77E6-B808-DF40-9C53-260D8B1299E3}" type="datetimeFigureOut">
              <a:rPr lang="en-TR" smtClean="0"/>
              <a:t>07/03/2023</a:t>
            </a:fld>
            <a:endParaRPr lang="en-TR"/>
          </a:p>
        </p:txBody>
      </p:sp>
      <p:sp>
        <p:nvSpPr>
          <p:cNvPr id="5" name="Footer Placeholder 4">
            <a:extLst>
              <a:ext uri="{FF2B5EF4-FFF2-40B4-BE49-F238E27FC236}">
                <a16:creationId xmlns:a16="http://schemas.microsoft.com/office/drawing/2014/main" id="{EBD48AB8-7787-0740-AF64-C83B6F4FF1FA}"/>
              </a:ext>
            </a:extLst>
          </p:cNvPr>
          <p:cNvSpPr>
            <a:spLocks noGrp="1"/>
          </p:cNvSpPr>
          <p:nvPr>
            <p:ph type="ftr" sz="quarter" idx="11"/>
          </p:nvPr>
        </p:nvSpPr>
        <p:spPr/>
        <p:txBody>
          <a:bodyPr/>
          <a:lstStyle/>
          <a:p>
            <a:endParaRPr lang="en-TR"/>
          </a:p>
        </p:txBody>
      </p:sp>
      <p:sp>
        <p:nvSpPr>
          <p:cNvPr id="6" name="Slide Number Placeholder 5">
            <a:extLst>
              <a:ext uri="{FF2B5EF4-FFF2-40B4-BE49-F238E27FC236}">
                <a16:creationId xmlns:a16="http://schemas.microsoft.com/office/drawing/2014/main" id="{A087C07D-6479-754E-824E-E8B00CF9B381}"/>
              </a:ext>
            </a:extLst>
          </p:cNvPr>
          <p:cNvSpPr>
            <a:spLocks noGrp="1"/>
          </p:cNvSpPr>
          <p:nvPr>
            <p:ph type="sldNum" sz="quarter" idx="12"/>
          </p:nvPr>
        </p:nvSpPr>
        <p:spPr/>
        <p:txBody>
          <a:bodyPr/>
          <a:lstStyle/>
          <a:p>
            <a:fld id="{FC742DB8-2F9A-1049-91F9-A29E53715864}" type="slidenum">
              <a:rPr lang="en-TR" smtClean="0"/>
              <a:t>‹#›</a:t>
            </a:fld>
            <a:endParaRPr lang="en-TR"/>
          </a:p>
        </p:txBody>
      </p:sp>
    </p:spTree>
    <p:extLst>
      <p:ext uri="{BB962C8B-B14F-4D97-AF65-F5344CB8AC3E}">
        <p14:creationId xmlns:p14="http://schemas.microsoft.com/office/powerpoint/2010/main" val="18105866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D05367-F17E-DE47-9929-C42CCAB7F932}"/>
              </a:ext>
            </a:extLst>
          </p:cNvPr>
          <p:cNvSpPr>
            <a:spLocks noGrp="1"/>
          </p:cNvSpPr>
          <p:nvPr>
            <p:ph type="title"/>
          </p:nvPr>
        </p:nvSpPr>
        <p:spPr/>
        <p:txBody>
          <a:bodyPr/>
          <a:lstStyle/>
          <a:p>
            <a:r>
              <a:rPr lang="en-US"/>
              <a:t>Click to edit Master title style</a:t>
            </a:r>
            <a:endParaRPr lang="en-TR"/>
          </a:p>
        </p:txBody>
      </p:sp>
      <p:sp>
        <p:nvSpPr>
          <p:cNvPr id="3" name="Content Placeholder 2">
            <a:extLst>
              <a:ext uri="{FF2B5EF4-FFF2-40B4-BE49-F238E27FC236}">
                <a16:creationId xmlns:a16="http://schemas.microsoft.com/office/drawing/2014/main" id="{90548F11-3DBC-F942-94F1-BE75A2A58089}"/>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R"/>
          </a:p>
        </p:txBody>
      </p:sp>
      <p:sp>
        <p:nvSpPr>
          <p:cNvPr id="4" name="Date Placeholder 3">
            <a:extLst>
              <a:ext uri="{FF2B5EF4-FFF2-40B4-BE49-F238E27FC236}">
                <a16:creationId xmlns:a16="http://schemas.microsoft.com/office/drawing/2014/main" id="{58852A5E-7E78-FC48-BD42-5470DE0EE16A}"/>
              </a:ext>
            </a:extLst>
          </p:cNvPr>
          <p:cNvSpPr>
            <a:spLocks noGrp="1"/>
          </p:cNvSpPr>
          <p:nvPr>
            <p:ph type="dt" sz="half" idx="10"/>
          </p:nvPr>
        </p:nvSpPr>
        <p:spPr/>
        <p:txBody>
          <a:bodyPr/>
          <a:lstStyle/>
          <a:p>
            <a:fld id="{9A6E77E6-B808-DF40-9C53-260D8B1299E3}" type="datetimeFigureOut">
              <a:rPr lang="en-TR" smtClean="0"/>
              <a:t>07/03/2023</a:t>
            </a:fld>
            <a:endParaRPr lang="en-TR"/>
          </a:p>
        </p:txBody>
      </p:sp>
      <p:sp>
        <p:nvSpPr>
          <p:cNvPr id="5" name="Footer Placeholder 4">
            <a:extLst>
              <a:ext uri="{FF2B5EF4-FFF2-40B4-BE49-F238E27FC236}">
                <a16:creationId xmlns:a16="http://schemas.microsoft.com/office/drawing/2014/main" id="{2EFF6358-DF79-AC47-A098-69F4A1F7AF11}"/>
              </a:ext>
            </a:extLst>
          </p:cNvPr>
          <p:cNvSpPr>
            <a:spLocks noGrp="1"/>
          </p:cNvSpPr>
          <p:nvPr>
            <p:ph type="ftr" sz="quarter" idx="11"/>
          </p:nvPr>
        </p:nvSpPr>
        <p:spPr/>
        <p:txBody>
          <a:bodyPr/>
          <a:lstStyle/>
          <a:p>
            <a:endParaRPr lang="en-TR"/>
          </a:p>
        </p:txBody>
      </p:sp>
      <p:sp>
        <p:nvSpPr>
          <p:cNvPr id="6" name="Slide Number Placeholder 5">
            <a:extLst>
              <a:ext uri="{FF2B5EF4-FFF2-40B4-BE49-F238E27FC236}">
                <a16:creationId xmlns:a16="http://schemas.microsoft.com/office/drawing/2014/main" id="{152F7ECC-A9DD-DD4A-A6C8-C6F8F0F9BDCE}"/>
              </a:ext>
            </a:extLst>
          </p:cNvPr>
          <p:cNvSpPr>
            <a:spLocks noGrp="1"/>
          </p:cNvSpPr>
          <p:nvPr>
            <p:ph type="sldNum" sz="quarter" idx="12"/>
          </p:nvPr>
        </p:nvSpPr>
        <p:spPr/>
        <p:txBody>
          <a:bodyPr/>
          <a:lstStyle/>
          <a:p>
            <a:fld id="{FC742DB8-2F9A-1049-91F9-A29E53715864}" type="slidenum">
              <a:rPr lang="en-TR" smtClean="0"/>
              <a:t>‹#›</a:t>
            </a:fld>
            <a:endParaRPr lang="en-TR"/>
          </a:p>
        </p:txBody>
      </p:sp>
    </p:spTree>
    <p:extLst>
      <p:ext uri="{BB962C8B-B14F-4D97-AF65-F5344CB8AC3E}">
        <p14:creationId xmlns:p14="http://schemas.microsoft.com/office/powerpoint/2010/main" val="7264020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8A329D-BED9-C94D-9D83-45D93948320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TR"/>
          </a:p>
        </p:txBody>
      </p:sp>
      <p:sp>
        <p:nvSpPr>
          <p:cNvPr id="3" name="Text Placeholder 2">
            <a:extLst>
              <a:ext uri="{FF2B5EF4-FFF2-40B4-BE49-F238E27FC236}">
                <a16:creationId xmlns:a16="http://schemas.microsoft.com/office/drawing/2014/main" id="{6A19B0F5-7BEF-F74D-BBE3-9050A5D1AC0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19CDCF16-F914-4B44-B8C9-8CC6B181631F}"/>
              </a:ext>
            </a:extLst>
          </p:cNvPr>
          <p:cNvSpPr>
            <a:spLocks noGrp="1"/>
          </p:cNvSpPr>
          <p:nvPr>
            <p:ph type="dt" sz="half" idx="10"/>
          </p:nvPr>
        </p:nvSpPr>
        <p:spPr/>
        <p:txBody>
          <a:bodyPr/>
          <a:lstStyle/>
          <a:p>
            <a:fld id="{9A6E77E6-B808-DF40-9C53-260D8B1299E3}" type="datetimeFigureOut">
              <a:rPr lang="en-TR" smtClean="0"/>
              <a:t>07/03/2023</a:t>
            </a:fld>
            <a:endParaRPr lang="en-TR"/>
          </a:p>
        </p:txBody>
      </p:sp>
      <p:sp>
        <p:nvSpPr>
          <p:cNvPr id="5" name="Footer Placeholder 4">
            <a:extLst>
              <a:ext uri="{FF2B5EF4-FFF2-40B4-BE49-F238E27FC236}">
                <a16:creationId xmlns:a16="http://schemas.microsoft.com/office/drawing/2014/main" id="{E7266344-58E6-B849-9C0B-3B2096680D79}"/>
              </a:ext>
            </a:extLst>
          </p:cNvPr>
          <p:cNvSpPr>
            <a:spLocks noGrp="1"/>
          </p:cNvSpPr>
          <p:nvPr>
            <p:ph type="ftr" sz="quarter" idx="11"/>
          </p:nvPr>
        </p:nvSpPr>
        <p:spPr/>
        <p:txBody>
          <a:bodyPr/>
          <a:lstStyle/>
          <a:p>
            <a:endParaRPr lang="en-TR"/>
          </a:p>
        </p:txBody>
      </p:sp>
      <p:sp>
        <p:nvSpPr>
          <p:cNvPr id="6" name="Slide Number Placeholder 5">
            <a:extLst>
              <a:ext uri="{FF2B5EF4-FFF2-40B4-BE49-F238E27FC236}">
                <a16:creationId xmlns:a16="http://schemas.microsoft.com/office/drawing/2014/main" id="{3E6C2122-B63B-034D-9A45-346F5FB71925}"/>
              </a:ext>
            </a:extLst>
          </p:cNvPr>
          <p:cNvSpPr>
            <a:spLocks noGrp="1"/>
          </p:cNvSpPr>
          <p:nvPr>
            <p:ph type="sldNum" sz="quarter" idx="12"/>
          </p:nvPr>
        </p:nvSpPr>
        <p:spPr/>
        <p:txBody>
          <a:bodyPr/>
          <a:lstStyle/>
          <a:p>
            <a:fld id="{FC742DB8-2F9A-1049-91F9-A29E53715864}" type="slidenum">
              <a:rPr lang="en-TR" smtClean="0"/>
              <a:t>‹#›</a:t>
            </a:fld>
            <a:endParaRPr lang="en-TR"/>
          </a:p>
        </p:txBody>
      </p:sp>
    </p:spTree>
    <p:extLst>
      <p:ext uri="{BB962C8B-B14F-4D97-AF65-F5344CB8AC3E}">
        <p14:creationId xmlns:p14="http://schemas.microsoft.com/office/powerpoint/2010/main" val="7585113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C1884ED-4250-AE40-A721-B058ED9258E1}"/>
              </a:ext>
            </a:extLst>
          </p:cNvPr>
          <p:cNvSpPr>
            <a:spLocks noGrp="1"/>
          </p:cNvSpPr>
          <p:nvPr>
            <p:ph type="title"/>
          </p:nvPr>
        </p:nvSpPr>
        <p:spPr/>
        <p:txBody>
          <a:bodyPr/>
          <a:lstStyle/>
          <a:p>
            <a:r>
              <a:rPr lang="en-US"/>
              <a:t>Click to edit Master title style</a:t>
            </a:r>
            <a:endParaRPr lang="en-TR"/>
          </a:p>
        </p:txBody>
      </p:sp>
      <p:sp>
        <p:nvSpPr>
          <p:cNvPr id="3" name="Content Placeholder 2">
            <a:extLst>
              <a:ext uri="{FF2B5EF4-FFF2-40B4-BE49-F238E27FC236}">
                <a16:creationId xmlns:a16="http://schemas.microsoft.com/office/drawing/2014/main" id="{EFC396A0-197F-4642-AFC2-DD28639703B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R"/>
          </a:p>
        </p:txBody>
      </p:sp>
      <p:sp>
        <p:nvSpPr>
          <p:cNvPr id="4" name="Content Placeholder 3">
            <a:extLst>
              <a:ext uri="{FF2B5EF4-FFF2-40B4-BE49-F238E27FC236}">
                <a16:creationId xmlns:a16="http://schemas.microsoft.com/office/drawing/2014/main" id="{98A86661-2162-7846-B16F-412F3CBAEEC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R"/>
          </a:p>
        </p:txBody>
      </p:sp>
      <p:sp>
        <p:nvSpPr>
          <p:cNvPr id="5" name="Date Placeholder 4">
            <a:extLst>
              <a:ext uri="{FF2B5EF4-FFF2-40B4-BE49-F238E27FC236}">
                <a16:creationId xmlns:a16="http://schemas.microsoft.com/office/drawing/2014/main" id="{AB8B79D1-62C8-024F-B8FF-EF6D76EFE6A8}"/>
              </a:ext>
            </a:extLst>
          </p:cNvPr>
          <p:cNvSpPr>
            <a:spLocks noGrp="1"/>
          </p:cNvSpPr>
          <p:nvPr>
            <p:ph type="dt" sz="half" idx="10"/>
          </p:nvPr>
        </p:nvSpPr>
        <p:spPr/>
        <p:txBody>
          <a:bodyPr/>
          <a:lstStyle/>
          <a:p>
            <a:fld id="{9A6E77E6-B808-DF40-9C53-260D8B1299E3}" type="datetimeFigureOut">
              <a:rPr lang="en-TR" smtClean="0"/>
              <a:t>07/03/2023</a:t>
            </a:fld>
            <a:endParaRPr lang="en-TR"/>
          </a:p>
        </p:txBody>
      </p:sp>
      <p:sp>
        <p:nvSpPr>
          <p:cNvPr id="6" name="Footer Placeholder 5">
            <a:extLst>
              <a:ext uri="{FF2B5EF4-FFF2-40B4-BE49-F238E27FC236}">
                <a16:creationId xmlns:a16="http://schemas.microsoft.com/office/drawing/2014/main" id="{51D6469C-C78F-D541-B843-1B65083FEEED}"/>
              </a:ext>
            </a:extLst>
          </p:cNvPr>
          <p:cNvSpPr>
            <a:spLocks noGrp="1"/>
          </p:cNvSpPr>
          <p:nvPr>
            <p:ph type="ftr" sz="quarter" idx="11"/>
          </p:nvPr>
        </p:nvSpPr>
        <p:spPr/>
        <p:txBody>
          <a:bodyPr/>
          <a:lstStyle/>
          <a:p>
            <a:endParaRPr lang="en-TR"/>
          </a:p>
        </p:txBody>
      </p:sp>
      <p:sp>
        <p:nvSpPr>
          <p:cNvPr id="7" name="Slide Number Placeholder 6">
            <a:extLst>
              <a:ext uri="{FF2B5EF4-FFF2-40B4-BE49-F238E27FC236}">
                <a16:creationId xmlns:a16="http://schemas.microsoft.com/office/drawing/2014/main" id="{80A12CB7-23C5-184A-A074-6666C05A398A}"/>
              </a:ext>
            </a:extLst>
          </p:cNvPr>
          <p:cNvSpPr>
            <a:spLocks noGrp="1"/>
          </p:cNvSpPr>
          <p:nvPr>
            <p:ph type="sldNum" sz="quarter" idx="12"/>
          </p:nvPr>
        </p:nvSpPr>
        <p:spPr/>
        <p:txBody>
          <a:bodyPr/>
          <a:lstStyle/>
          <a:p>
            <a:fld id="{FC742DB8-2F9A-1049-91F9-A29E53715864}" type="slidenum">
              <a:rPr lang="en-TR" smtClean="0"/>
              <a:t>‹#›</a:t>
            </a:fld>
            <a:endParaRPr lang="en-TR"/>
          </a:p>
        </p:txBody>
      </p:sp>
    </p:spTree>
    <p:extLst>
      <p:ext uri="{BB962C8B-B14F-4D97-AF65-F5344CB8AC3E}">
        <p14:creationId xmlns:p14="http://schemas.microsoft.com/office/powerpoint/2010/main" val="113081295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A272FE-474D-4343-8335-30D77B834077}"/>
              </a:ext>
            </a:extLst>
          </p:cNvPr>
          <p:cNvSpPr>
            <a:spLocks noGrp="1"/>
          </p:cNvSpPr>
          <p:nvPr>
            <p:ph type="title"/>
          </p:nvPr>
        </p:nvSpPr>
        <p:spPr>
          <a:xfrm>
            <a:off x="839788" y="365125"/>
            <a:ext cx="10515600" cy="1325563"/>
          </a:xfrm>
        </p:spPr>
        <p:txBody>
          <a:bodyPr/>
          <a:lstStyle/>
          <a:p>
            <a:r>
              <a:rPr lang="en-US"/>
              <a:t>Click to edit Master title style</a:t>
            </a:r>
            <a:endParaRPr lang="en-TR"/>
          </a:p>
        </p:txBody>
      </p:sp>
      <p:sp>
        <p:nvSpPr>
          <p:cNvPr id="3" name="Text Placeholder 2">
            <a:extLst>
              <a:ext uri="{FF2B5EF4-FFF2-40B4-BE49-F238E27FC236}">
                <a16:creationId xmlns:a16="http://schemas.microsoft.com/office/drawing/2014/main" id="{0EFEE049-B393-3C48-A072-41D67B59A11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58FF4ED-A47A-1047-97F0-9C2BA0EE6D24}"/>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R"/>
          </a:p>
        </p:txBody>
      </p:sp>
      <p:sp>
        <p:nvSpPr>
          <p:cNvPr id="5" name="Text Placeholder 4">
            <a:extLst>
              <a:ext uri="{FF2B5EF4-FFF2-40B4-BE49-F238E27FC236}">
                <a16:creationId xmlns:a16="http://schemas.microsoft.com/office/drawing/2014/main" id="{0328CD1C-CB99-244C-9FB1-0F7D09E30BB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C7AEFDF-5A0E-584B-9F10-D456F60C4A1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R"/>
          </a:p>
        </p:txBody>
      </p:sp>
      <p:sp>
        <p:nvSpPr>
          <p:cNvPr id="7" name="Date Placeholder 6">
            <a:extLst>
              <a:ext uri="{FF2B5EF4-FFF2-40B4-BE49-F238E27FC236}">
                <a16:creationId xmlns:a16="http://schemas.microsoft.com/office/drawing/2014/main" id="{22173F5B-2AE3-6A41-ABFC-53B0C8161B56}"/>
              </a:ext>
            </a:extLst>
          </p:cNvPr>
          <p:cNvSpPr>
            <a:spLocks noGrp="1"/>
          </p:cNvSpPr>
          <p:nvPr>
            <p:ph type="dt" sz="half" idx="10"/>
          </p:nvPr>
        </p:nvSpPr>
        <p:spPr/>
        <p:txBody>
          <a:bodyPr/>
          <a:lstStyle/>
          <a:p>
            <a:fld id="{9A6E77E6-B808-DF40-9C53-260D8B1299E3}" type="datetimeFigureOut">
              <a:rPr lang="en-TR" smtClean="0"/>
              <a:t>07/03/2023</a:t>
            </a:fld>
            <a:endParaRPr lang="en-TR"/>
          </a:p>
        </p:txBody>
      </p:sp>
      <p:sp>
        <p:nvSpPr>
          <p:cNvPr id="8" name="Footer Placeholder 7">
            <a:extLst>
              <a:ext uri="{FF2B5EF4-FFF2-40B4-BE49-F238E27FC236}">
                <a16:creationId xmlns:a16="http://schemas.microsoft.com/office/drawing/2014/main" id="{B6C6ACF9-7930-954A-B451-6819E2BC01C1}"/>
              </a:ext>
            </a:extLst>
          </p:cNvPr>
          <p:cNvSpPr>
            <a:spLocks noGrp="1"/>
          </p:cNvSpPr>
          <p:nvPr>
            <p:ph type="ftr" sz="quarter" idx="11"/>
          </p:nvPr>
        </p:nvSpPr>
        <p:spPr/>
        <p:txBody>
          <a:bodyPr/>
          <a:lstStyle/>
          <a:p>
            <a:endParaRPr lang="en-TR"/>
          </a:p>
        </p:txBody>
      </p:sp>
      <p:sp>
        <p:nvSpPr>
          <p:cNvPr id="9" name="Slide Number Placeholder 8">
            <a:extLst>
              <a:ext uri="{FF2B5EF4-FFF2-40B4-BE49-F238E27FC236}">
                <a16:creationId xmlns:a16="http://schemas.microsoft.com/office/drawing/2014/main" id="{F49993D2-18CD-0B42-A913-E8720D4835DA}"/>
              </a:ext>
            </a:extLst>
          </p:cNvPr>
          <p:cNvSpPr>
            <a:spLocks noGrp="1"/>
          </p:cNvSpPr>
          <p:nvPr>
            <p:ph type="sldNum" sz="quarter" idx="12"/>
          </p:nvPr>
        </p:nvSpPr>
        <p:spPr/>
        <p:txBody>
          <a:bodyPr/>
          <a:lstStyle/>
          <a:p>
            <a:fld id="{FC742DB8-2F9A-1049-91F9-A29E53715864}" type="slidenum">
              <a:rPr lang="en-TR" smtClean="0"/>
              <a:t>‹#›</a:t>
            </a:fld>
            <a:endParaRPr lang="en-TR"/>
          </a:p>
        </p:txBody>
      </p:sp>
    </p:spTree>
    <p:extLst>
      <p:ext uri="{BB962C8B-B14F-4D97-AF65-F5344CB8AC3E}">
        <p14:creationId xmlns:p14="http://schemas.microsoft.com/office/powerpoint/2010/main" val="39841937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C7167D-6431-8E41-AB9D-56EA0DBACCF1}"/>
              </a:ext>
            </a:extLst>
          </p:cNvPr>
          <p:cNvSpPr>
            <a:spLocks noGrp="1"/>
          </p:cNvSpPr>
          <p:nvPr>
            <p:ph type="title"/>
          </p:nvPr>
        </p:nvSpPr>
        <p:spPr/>
        <p:txBody>
          <a:bodyPr/>
          <a:lstStyle/>
          <a:p>
            <a:r>
              <a:rPr lang="en-US"/>
              <a:t>Click to edit Master title style</a:t>
            </a:r>
            <a:endParaRPr lang="en-TR"/>
          </a:p>
        </p:txBody>
      </p:sp>
      <p:sp>
        <p:nvSpPr>
          <p:cNvPr id="3" name="Date Placeholder 2">
            <a:extLst>
              <a:ext uri="{FF2B5EF4-FFF2-40B4-BE49-F238E27FC236}">
                <a16:creationId xmlns:a16="http://schemas.microsoft.com/office/drawing/2014/main" id="{0B356DAF-71DC-FB4B-A4F4-B95E287722E4}"/>
              </a:ext>
            </a:extLst>
          </p:cNvPr>
          <p:cNvSpPr>
            <a:spLocks noGrp="1"/>
          </p:cNvSpPr>
          <p:nvPr>
            <p:ph type="dt" sz="half" idx="10"/>
          </p:nvPr>
        </p:nvSpPr>
        <p:spPr/>
        <p:txBody>
          <a:bodyPr/>
          <a:lstStyle/>
          <a:p>
            <a:fld id="{9A6E77E6-B808-DF40-9C53-260D8B1299E3}" type="datetimeFigureOut">
              <a:rPr lang="en-TR" smtClean="0"/>
              <a:t>07/03/2023</a:t>
            </a:fld>
            <a:endParaRPr lang="en-TR"/>
          </a:p>
        </p:txBody>
      </p:sp>
      <p:sp>
        <p:nvSpPr>
          <p:cNvPr id="4" name="Footer Placeholder 3">
            <a:extLst>
              <a:ext uri="{FF2B5EF4-FFF2-40B4-BE49-F238E27FC236}">
                <a16:creationId xmlns:a16="http://schemas.microsoft.com/office/drawing/2014/main" id="{301DA0E9-BF52-714A-BACC-F5EDA29C8F4C}"/>
              </a:ext>
            </a:extLst>
          </p:cNvPr>
          <p:cNvSpPr>
            <a:spLocks noGrp="1"/>
          </p:cNvSpPr>
          <p:nvPr>
            <p:ph type="ftr" sz="quarter" idx="11"/>
          </p:nvPr>
        </p:nvSpPr>
        <p:spPr/>
        <p:txBody>
          <a:bodyPr/>
          <a:lstStyle/>
          <a:p>
            <a:endParaRPr lang="en-TR"/>
          </a:p>
        </p:txBody>
      </p:sp>
      <p:sp>
        <p:nvSpPr>
          <p:cNvPr id="5" name="Slide Number Placeholder 4">
            <a:extLst>
              <a:ext uri="{FF2B5EF4-FFF2-40B4-BE49-F238E27FC236}">
                <a16:creationId xmlns:a16="http://schemas.microsoft.com/office/drawing/2014/main" id="{75EAF1F5-BBED-1B40-9975-F79983A3EBDB}"/>
              </a:ext>
            </a:extLst>
          </p:cNvPr>
          <p:cNvSpPr>
            <a:spLocks noGrp="1"/>
          </p:cNvSpPr>
          <p:nvPr>
            <p:ph type="sldNum" sz="quarter" idx="12"/>
          </p:nvPr>
        </p:nvSpPr>
        <p:spPr/>
        <p:txBody>
          <a:bodyPr/>
          <a:lstStyle/>
          <a:p>
            <a:fld id="{FC742DB8-2F9A-1049-91F9-A29E53715864}" type="slidenum">
              <a:rPr lang="en-TR" smtClean="0"/>
              <a:t>‹#›</a:t>
            </a:fld>
            <a:endParaRPr lang="en-TR"/>
          </a:p>
        </p:txBody>
      </p:sp>
    </p:spTree>
    <p:extLst>
      <p:ext uri="{BB962C8B-B14F-4D97-AF65-F5344CB8AC3E}">
        <p14:creationId xmlns:p14="http://schemas.microsoft.com/office/powerpoint/2010/main" val="6447834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A6C6894-5F1C-6241-B9D7-F5E4E1952F62}"/>
              </a:ext>
            </a:extLst>
          </p:cNvPr>
          <p:cNvSpPr>
            <a:spLocks noGrp="1"/>
          </p:cNvSpPr>
          <p:nvPr>
            <p:ph type="dt" sz="half" idx="10"/>
          </p:nvPr>
        </p:nvSpPr>
        <p:spPr/>
        <p:txBody>
          <a:bodyPr/>
          <a:lstStyle/>
          <a:p>
            <a:fld id="{9A6E77E6-B808-DF40-9C53-260D8B1299E3}" type="datetimeFigureOut">
              <a:rPr lang="en-TR" smtClean="0"/>
              <a:t>07/03/2023</a:t>
            </a:fld>
            <a:endParaRPr lang="en-TR"/>
          </a:p>
        </p:txBody>
      </p:sp>
      <p:sp>
        <p:nvSpPr>
          <p:cNvPr id="3" name="Footer Placeholder 2">
            <a:extLst>
              <a:ext uri="{FF2B5EF4-FFF2-40B4-BE49-F238E27FC236}">
                <a16:creationId xmlns:a16="http://schemas.microsoft.com/office/drawing/2014/main" id="{168774A5-B611-2647-8088-B5327796D63D}"/>
              </a:ext>
            </a:extLst>
          </p:cNvPr>
          <p:cNvSpPr>
            <a:spLocks noGrp="1"/>
          </p:cNvSpPr>
          <p:nvPr>
            <p:ph type="ftr" sz="quarter" idx="11"/>
          </p:nvPr>
        </p:nvSpPr>
        <p:spPr/>
        <p:txBody>
          <a:bodyPr/>
          <a:lstStyle/>
          <a:p>
            <a:endParaRPr lang="en-TR"/>
          </a:p>
        </p:txBody>
      </p:sp>
      <p:sp>
        <p:nvSpPr>
          <p:cNvPr id="4" name="Slide Number Placeholder 3">
            <a:extLst>
              <a:ext uri="{FF2B5EF4-FFF2-40B4-BE49-F238E27FC236}">
                <a16:creationId xmlns:a16="http://schemas.microsoft.com/office/drawing/2014/main" id="{79B8C56E-39BD-EA47-A014-7F22BB7FE78E}"/>
              </a:ext>
            </a:extLst>
          </p:cNvPr>
          <p:cNvSpPr>
            <a:spLocks noGrp="1"/>
          </p:cNvSpPr>
          <p:nvPr>
            <p:ph type="sldNum" sz="quarter" idx="12"/>
          </p:nvPr>
        </p:nvSpPr>
        <p:spPr/>
        <p:txBody>
          <a:bodyPr/>
          <a:lstStyle/>
          <a:p>
            <a:fld id="{FC742DB8-2F9A-1049-91F9-A29E53715864}" type="slidenum">
              <a:rPr lang="en-TR" smtClean="0"/>
              <a:t>‹#›</a:t>
            </a:fld>
            <a:endParaRPr lang="en-TR"/>
          </a:p>
        </p:txBody>
      </p:sp>
    </p:spTree>
    <p:extLst>
      <p:ext uri="{BB962C8B-B14F-4D97-AF65-F5344CB8AC3E}">
        <p14:creationId xmlns:p14="http://schemas.microsoft.com/office/powerpoint/2010/main" val="13287025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6949E8-949A-3C44-AC2F-1448CB05CFC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TR"/>
          </a:p>
        </p:txBody>
      </p:sp>
      <p:sp>
        <p:nvSpPr>
          <p:cNvPr id="3" name="Content Placeholder 2">
            <a:extLst>
              <a:ext uri="{FF2B5EF4-FFF2-40B4-BE49-F238E27FC236}">
                <a16:creationId xmlns:a16="http://schemas.microsoft.com/office/drawing/2014/main" id="{D0B1FF34-468D-B646-987C-56F0A8BB32E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R"/>
          </a:p>
        </p:txBody>
      </p:sp>
      <p:sp>
        <p:nvSpPr>
          <p:cNvPr id="4" name="Text Placeholder 3">
            <a:extLst>
              <a:ext uri="{FF2B5EF4-FFF2-40B4-BE49-F238E27FC236}">
                <a16:creationId xmlns:a16="http://schemas.microsoft.com/office/drawing/2014/main" id="{2920CC0B-4431-1A4E-A2A8-2EBF0227B66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846E810-7AC5-E843-9BF9-6E60E2445E29}"/>
              </a:ext>
            </a:extLst>
          </p:cNvPr>
          <p:cNvSpPr>
            <a:spLocks noGrp="1"/>
          </p:cNvSpPr>
          <p:nvPr>
            <p:ph type="dt" sz="half" idx="10"/>
          </p:nvPr>
        </p:nvSpPr>
        <p:spPr/>
        <p:txBody>
          <a:bodyPr/>
          <a:lstStyle/>
          <a:p>
            <a:fld id="{9A6E77E6-B808-DF40-9C53-260D8B1299E3}" type="datetimeFigureOut">
              <a:rPr lang="en-TR" smtClean="0"/>
              <a:t>07/03/2023</a:t>
            </a:fld>
            <a:endParaRPr lang="en-TR"/>
          </a:p>
        </p:txBody>
      </p:sp>
      <p:sp>
        <p:nvSpPr>
          <p:cNvPr id="6" name="Footer Placeholder 5">
            <a:extLst>
              <a:ext uri="{FF2B5EF4-FFF2-40B4-BE49-F238E27FC236}">
                <a16:creationId xmlns:a16="http://schemas.microsoft.com/office/drawing/2014/main" id="{8284B336-CC9D-804E-AF18-E9EE419C86BD}"/>
              </a:ext>
            </a:extLst>
          </p:cNvPr>
          <p:cNvSpPr>
            <a:spLocks noGrp="1"/>
          </p:cNvSpPr>
          <p:nvPr>
            <p:ph type="ftr" sz="quarter" idx="11"/>
          </p:nvPr>
        </p:nvSpPr>
        <p:spPr/>
        <p:txBody>
          <a:bodyPr/>
          <a:lstStyle/>
          <a:p>
            <a:endParaRPr lang="en-TR"/>
          </a:p>
        </p:txBody>
      </p:sp>
      <p:sp>
        <p:nvSpPr>
          <p:cNvPr id="7" name="Slide Number Placeholder 6">
            <a:extLst>
              <a:ext uri="{FF2B5EF4-FFF2-40B4-BE49-F238E27FC236}">
                <a16:creationId xmlns:a16="http://schemas.microsoft.com/office/drawing/2014/main" id="{D9E28C7E-DA50-5244-BA31-0249CFAB72F4}"/>
              </a:ext>
            </a:extLst>
          </p:cNvPr>
          <p:cNvSpPr>
            <a:spLocks noGrp="1"/>
          </p:cNvSpPr>
          <p:nvPr>
            <p:ph type="sldNum" sz="quarter" idx="12"/>
          </p:nvPr>
        </p:nvSpPr>
        <p:spPr/>
        <p:txBody>
          <a:bodyPr/>
          <a:lstStyle/>
          <a:p>
            <a:fld id="{FC742DB8-2F9A-1049-91F9-A29E53715864}" type="slidenum">
              <a:rPr lang="en-TR" smtClean="0"/>
              <a:t>‹#›</a:t>
            </a:fld>
            <a:endParaRPr lang="en-TR"/>
          </a:p>
        </p:txBody>
      </p:sp>
    </p:spTree>
    <p:extLst>
      <p:ext uri="{BB962C8B-B14F-4D97-AF65-F5344CB8AC3E}">
        <p14:creationId xmlns:p14="http://schemas.microsoft.com/office/powerpoint/2010/main" val="21172388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44CD0B1-A979-D54D-82CA-05513FC9511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TR"/>
          </a:p>
        </p:txBody>
      </p:sp>
      <p:sp>
        <p:nvSpPr>
          <p:cNvPr id="3" name="Picture Placeholder 2">
            <a:extLst>
              <a:ext uri="{FF2B5EF4-FFF2-40B4-BE49-F238E27FC236}">
                <a16:creationId xmlns:a16="http://schemas.microsoft.com/office/drawing/2014/main" id="{8FE043E2-63AA-7D4F-AD01-4159C89A922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TR"/>
          </a:p>
        </p:txBody>
      </p:sp>
      <p:sp>
        <p:nvSpPr>
          <p:cNvPr id="4" name="Text Placeholder 3">
            <a:extLst>
              <a:ext uri="{FF2B5EF4-FFF2-40B4-BE49-F238E27FC236}">
                <a16:creationId xmlns:a16="http://schemas.microsoft.com/office/drawing/2014/main" id="{70DAEC3E-8BAE-5447-A9BC-9433F78875B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7370D9F-C43F-0145-AACD-B2FB700C2F64}"/>
              </a:ext>
            </a:extLst>
          </p:cNvPr>
          <p:cNvSpPr>
            <a:spLocks noGrp="1"/>
          </p:cNvSpPr>
          <p:nvPr>
            <p:ph type="dt" sz="half" idx="10"/>
          </p:nvPr>
        </p:nvSpPr>
        <p:spPr/>
        <p:txBody>
          <a:bodyPr/>
          <a:lstStyle/>
          <a:p>
            <a:fld id="{9A6E77E6-B808-DF40-9C53-260D8B1299E3}" type="datetimeFigureOut">
              <a:rPr lang="en-TR" smtClean="0"/>
              <a:t>07/03/2023</a:t>
            </a:fld>
            <a:endParaRPr lang="en-TR"/>
          </a:p>
        </p:txBody>
      </p:sp>
      <p:sp>
        <p:nvSpPr>
          <p:cNvPr id="6" name="Footer Placeholder 5">
            <a:extLst>
              <a:ext uri="{FF2B5EF4-FFF2-40B4-BE49-F238E27FC236}">
                <a16:creationId xmlns:a16="http://schemas.microsoft.com/office/drawing/2014/main" id="{B7AAD58C-2455-914F-AA32-48B7CED5CBDE}"/>
              </a:ext>
            </a:extLst>
          </p:cNvPr>
          <p:cNvSpPr>
            <a:spLocks noGrp="1"/>
          </p:cNvSpPr>
          <p:nvPr>
            <p:ph type="ftr" sz="quarter" idx="11"/>
          </p:nvPr>
        </p:nvSpPr>
        <p:spPr/>
        <p:txBody>
          <a:bodyPr/>
          <a:lstStyle/>
          <a:p>
            <a:endParaRPr lang="en-TR"/>
          </a:p>
        </p:txBody>
      </p:sp>
      <p:sp>
        <p:nvSpPr>
          <p:cNvPr id="7" name="Slide Number Placeholder 6">
            <a:extLst>
              <a:ext uri="{FF2B5EF4-FFF2-40B4-BE49-F238E27FC236}">
                <a16:creationId xmlns:a16="http://schemas.microsoft.com/office/drawing/2014/main" id="{F091F04A-BB99-814B-90E9-1847649B0D3E}"/>
              </a:ext>
            </a:extLst>
          </p:cNvPr>
          <p:cNvSpPr>
            <a:spLocks noGrp="1"/>
          </p:cNvSpPr>
          <p:nvPr>
            <p:ph type="sldNum" sz="quarter" idx="12"/>
          </p:nvPr>
        </p:nvSpPr>
        <p:spPr/>
        <p:txBody>
          <a:bodyPr/>
          <a:lstStyle/>
          <a:p>
            <a:fld id="{FC742DB8-2F9A-1049-91F9-A29E53715864}" type="slidenum">
              <a:rPr lang="en-TR" smtClean="0"/>
              <a:t>‹#›</a:t>
            </a:fld>
            <a:endParaRPr lang="en-TR"/>
          </a:p>
        </p:txBody>
      </p:sp>
    </p:spTree>
    <p:extLst>
      <p:ext uri="{BB962C8B-B14F-4D97-AF65-F5344CB8AC3E}">
        <p14:creationId xmlns:p14="http://schemas.microsoft.com/office/powerpoint/2010/main" val="23430318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B8CD28A-CC22-8449-8711-93E9A9B6BC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TR"/>
          </a:p>
        </p:txBody>
      </p:sp>
      <p:sp>
        <p:nvSpPr>
          <p:cNvPr id="3" name="Text Placeholder 2">
            <a:extLst>
              <a:ext uri="{FF2B5EF4-FFF2-40B4-BE49-F238E27FC236}">
                <a16:creationId xmlns:a16="http://schemas.microsoft.com/office/drawing/2014/main" id="{2C361017-157D-DD4C-9C82-940383DEFCF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TR"/>
          </a:p>
        </p:txBody>
      </p:sp>
      <p:sp>
        <p:nvSpPr>
          <p:cNvPr id="4" name="Date Placeholder 3">
            <a:extLst>
              <a:ext uri="{FF2B5EF4-FFF2-40B4-BE49-F238E27FC236}">
                <a16:creationId xmlns:a16="http://schemas.microsoft.com/office/drawing/2014/main" id="{98B5FE9B-A464-9E4D-B978-643E1A93F22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A6E77E6-B808-DF40-9C53-260D8B1299E3}" type="datetimeFigureOut">
              <a:rPr lang="en-TR" smtClean="0"/>
              <a:t>07/03/2023</a:t>
            </a:fld>
            <a:endParaRPr lang="en-TR"/>
          </a:p>
        </p:txBody>
      </p:sp>
      <p:sp>
        <p:nvSpPr>
          <p:cNvPr id="5" name="Footer Placeholder 4">
            <a:extLst>
              <a:ext uri="{FF2B5EF4-FFF2-40B4-BE49-F238E27FC236}">
                <a16:creationId xmlns:a16="http://schemas.microsoft.com/office/drawing/2014/main" id="{BC2534A3-5EAA-4443-90A8-EF952E08366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TR"/>
          </a:p>
        </p:txBody>
      </p:sp>
      <p:sp>
        <p:nvSpPr>
          <p:cNvPr id="6" name="Slide Number Placeholder 5">
            <a:extLst>
              <a:ext uri="{FF2B5EF4-FFF2-40B4-BE49-F238E27FC236}">
                <a16:creationId xmlns:a16="http://schemas.microsoft.com/office/drawing/2014/main" id="{79103A30-E365-0E4E-80FF-5535631F8E2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742DB8-2F9A-1049-91F9-A29E53715864}" type="slidenum">
              <a:rPr lang="en-TR" smtClean="0"/>
              <a:t>‹#›</a:t>
            </a:fld>
            <a:endParaRPr lang="en-TR"/>
          </a:p>
        </p:txBody>
      </p:sp>
    </p:spTree>
    <p:extLst>
      <p:ext uri="{BB962C8B-B14F-4D97-AF65-F5344CB8AC3E}">
        <p14:creationId xmlns:p14="http://schemas.microsoft.com/office/powerpoint/2010/main" val="118208260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T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jpg"/><Relationship Id="rId7" Type="http://schemas.openxmlformats.org/officeDocument/2006/relationships/image" Target="../media/image15.jpe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14.jpeg"/><Relationship Id="rId5" Type="http://schemas.openxmlformats.org/officeDocument/2006/relationships/image" Target="../media/image13.png"/><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1.xml"/><Relationship Id="rId1" Type="http://schemas.openxmlformats.org/officeDocument/2006/relationships/slideLayout" Target="../slideLayouts/slideLayout1.xml"/><Relationship Id="rId4" Type="http://schemas.openxmlformats.org/officeDocument/2006/relationships/image" Target="../media/image16.jpeg"/></Relationships>
</file>

<file path=ppt/slides/_rels/slide12.xml.rels><?xml version="1.0" encoding="UTF-8" standalone="yes"?>
<Relationships xmlns="http://schemas.openxmlformats.org/package/2006/relationships"><Relationship Id="rId8" Type="http://schemas.openxmlformats.org/officeDocument/2006/relationships/diagramColors" Target="../diagrams/colors6.xml"/><Relationship Id="rId3" Type="http://schemas.openxmlformats.org/officeDocument/2006/relationships/image" Target="../media/image1.jpg"/><Relationship Id="rId7" Type="http://schemas.openxmlformats.org/officeDocument/2006/relationships/diagramQuickStyle" Target="../diagrams/quickStyle6.xml"/><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diagramLayout" Target="../diagrams/layout6.xml"/><Relationship Id="rId5" Type="http://schemas.openxmlformats.org/officeDocument/2006/relationships/diagramData" Target="../diagrams/data6.xml"/><Relationship Id="rId10" Type="http://schemas.openxmlformats.org/officeDocument/2006/relationships/image" Target="../media/image18.jpeg"/><Relationship Id="rId4" Type="http://schemas.openxmlformats.org/officeDocument/2006/relationships/image" Target="../media/image17.jpeg"/><Relationship Id="rId9" Type="http://schemas.microsoft.com/office/2007/relationships/diagramDrawing" Target="../diagrams/drawing6.xml"/></Relationships>
</file>

<file path=ppt/slides/_rels/slide13.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image" Target="../media/image1.jpg"/><Relationship Id="rId7" Type="http://schemas.openxmlformats.org/officeDocument/2006/relationships/diagramColors" Target="../diagrams/colors7.xml"/><Relationship Id="rId2" Type="http://schemas.openxmlformats.org/officeDocument/2006/relationships/notesSlide" Target="../notesSlides/notesSlide13.xml"/><Relationship Id="rId1" Type="http://schemas.openxmlformats.org/officeDocument/2006/relationships/slideLayout" Target="../slideLayouts/slideLayout1.xml"/><Relationship Id="rId6" Type="http://schemas.openxmlformats.org/officeDocument/2006/relationships/diagramQuickStyle" Target="../diagrams/quickStyle7.xml"/><Relationship Id="rId5" Type="http://schemas.openxmlformats.org/officeDocument/2006/relationships/diagramLayout" Target="../diagrams/layout7.xml"/><Relationship Id="rId10" Type="http://schemas.openxmlformats.org/officeDocument/2006/relationships/image" Target="../media/image20.jpeg"/><Relationship Id="rId4" Type="http://schemas.openxmlformats.org/officeDocument/2006/relationships/diagramData" Target="../diagrams/data7.xml"/><Relationship Id="rId9" Type="http://schemas.openxmlformats.org/officeDocument/2006/relationships/image" Target="../media/image19.jpeg"/></Relationships>
</file>

<file path=ppt/slides/_rels/slide14.xml.rels><?xml version="1.0" encoding="UTF-8" standalone="yes"?>
<Relationships xmlns="http://schemas.openxmlformats.org/package/2006/relationships"><Relationship Id="rId8" Type="http://schemas.openxmlformats.org/officeDocument/2006/relationships/diagramColors" Target="../diagrams/colors8.xml"/><Relationship Id="rId3" Type="http://schemas.openxmlformats.org/officeDocument/2006/relationships/image" Target="../media/image1.jpg"/><Relationship Id="rId7" Type="http://schemas.openxmlformats.org/officeDocument/2006/relationships/diagramQuickStyle" Target="../diagrams/quickStyle8.xml"/><Relationship Id="rId2" Type="http://schemas.openxmlformats.org/officeDocument/2006/relationships/notesSlide" Target="../notesSlides/notesSlide14.xml"/><Relationship Id="rId1" Type="http://schemas.openxmlformats.org/officeDocument/2006/relationships/slideLayout" Target="../slideLayouts/slideLayout1.xml"/><Relationship Id="rId6" Type="http://schemas.openxmlformats.org/officeDocument/2006/relationships/diagramLayout" Target="../diagrams/layout8.xml"/><Relationship Id="rId5" Type="http://schemas.openxmlformats.org/officeDocument/2006/relationships/diagramData" Target="../diagrams/data8.xml"/><Relationship Id="rId4" Type="http://schemas.openxmlformats.org/officeDocument/2006/relationships/image" Target="../media/image21.jpeg"/><Relationship Id="rId9" Type="http://schemas.microsoft.com/office/2007/relationships/diagramDrawing" Target="../diagrams/drawing8.xml"/></Relationships>
</file>

<file path=ppt/slides/_rels/slide15.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5.xml"/><Relationship Id="rId1" Type="http://schemas.openxmlformats.org/officeDocument/2006/relationships/slideLayout" Target="../slideLayouts/slideLayout1.xml"/><Relationship Id="rId4" Type="http://schemas.openxmlformats.org/officeDocument/2006/relationships/image" Target="../media/image25.jpeg"/></Relationships>
</file>

<file path=ppt/slides/_rels/slide16.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6.xml"/><Relationship Id="rId1" Type="http://schemas.openxmlformats.org/officeDocument/2006/relationships/slideLayout" Target="../slideLayouts/slideLayout1.xml"/><Relationship Id="rId5" Type="http://schemas.openxmlformats.org/officeDocument/2006/relationships/image" Target="../media/image27.jpg"/><Relationship Id="rId4" Type="http://schemas.openxmlformats.org/officeDocument/2006/relationships/image" Target="../media/image26.jpg"/></Relationships>
</file>

<file path=ppt/slides/_rels/slide17.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7.xml"/><Relationship Id="rId1" Type="http://schemas.openxmlformats.org/officeDocument/2006/relationships/slideLayout" Target="../slideLayouts/slideLayout1.xml"/><Relationship Id="rId5" Type="http://schemas.openxmlformats.org/officeDocument/2006/relationships/image" Target="../media/image29.png"/><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8.xml"/><Relationship Id="rId1" Type="http://schemas.openxmlformats.org/officeDocument/2006/relationships/slideLayout" Target="../slideLayouts/slideLayout1.xml"/><Relationship Id="rId4" Type="http://schemas.openxmlformats.org/officeDocument/2006/relationships/image" Target="../media/image30.jpeg"/></Relationships>
</file>

<file path=ppt/slides/_rels/slide19.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image" Target="../media/image33.jpeg"/><Relationship Id="rId5" Type="http://schemas.openxmlformats.org/officeDocument/2006/relationships/image" Target="../media/image32.jpeg"/><Relationship Id="rId4" Type="http://schemas.openxmlformats.org/officeDocument/2006/relationships/image" Target="../media/image31.jpeg"/></Relationships>
</file>

<file path=ppt/slides/_rels/slide2.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2.xml"/><Relationship Id="rId1" Type="http://schemas.openxmlformats.org/officeDocument/2006/relationships/slideLayout" Target="../slideLayouts/slideLayout1.xml"/><Relationship Id="rId5" Type="http://schemas.openxmlformats.org/officeDocument/2006/relationships/image" Target="../media/image3.jpeg"/><Relationship Id="rId4" Type="http://schemas.openxmlformats.org/officeDocument/2006/relationships/image" Target="../media/image2.jpeg"/></Relationships>
</file>

<file path=ppt/slides/_rels/slide20.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image" Target="../media/image1.jpg"/><Relationship Id="rId7" Type="http://schemas.openxmlformats.org/officeDocument/2006/relationships/diagramColors" Target="../diagrams/colors9.xml"/><Relationship Id="rId2" Type="http://schemas.openxmlformats.org/officeDocument/2006/relationships/notesSlide" Target="../notesSlides/notesSlide20.xml"/><Relationship Id="rId1" Type="http://schemas.openxmlformats.org/officeDocument/2006/relationships/slideLayout" Target="../slideLayouts/slideLayout1.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2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21.xml"/><Relationship Id="rId1" Type="http://schemas.openxmlformats.org/officeDocument/2006/relationships/slideLayout" Target="../slideLayouts/slideLayout1.xml"/><Relationship Id="rId4" Type="http://schemas.openxmlformats.org/officeDocument/2006/relationships/image" Target="../media/image40.jpeg"/></Relationships>
</file>

<file path=ppt/slides/_rels/slide22.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43.jpeg"/><Relationship Id="rId5" Type="http://schemas.openxmlformats.org/officeDocument/2006/relationships/image" Target="../media/image42.jpeg"/><Relationship Id="rId4" Type="http://schemas.openxmlformats.org/officeDocument/2006/relationships/image" Target="../media/image41.jpeg"/></Relationships>
</file>

<file path=ppt/slides/_rels/slide23.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24.xml"/><Relationship Id="rId1" Type="http://schemas.openxmlformats.org/officeDocument/2006/relationships/slideLayout" Target="../slideLayouts/slideLayout1.xml"/><Relationship Id="rId4" Type="http://schemas.openxmlformats.org/officeDocument/2006/relationships/image" Target="../media/image44.png"/></Relationships>
</file>

<file path=ppt/slides/_rels/slide25.xml.rels><?xml version="1.0" encoding="UTF-8" standalone="yes"?>
<Relationships xmlns="http://schemas.openxmlformats.org/package/2006/relationships"><Relationship Id="rId8" Type="http://schemas.microsoft.com/office/2007/relationships/diagramDrawing" Target="../diagrams/drawing10.xml"/><Relationship Id="rId3" Type="http://schemas.openxmlformats.org/officeDocument/2006/relationships/image" Target="../media/image1.jpg"/><Relationship Id="rId7" Type="http://schemas.openxmlformats.org/officeDocument/2006/relationships/diagramColors" Target="../diagrams/colors10.xml"/><Relationship Id="rId2" Type="http://schemas.openxmlformats.org/officeDocument/2006/relationships/notesSlide" Target="../notesSlides/notesSlide25.xml"/><Relationship Id="rId1" Type="http://schemas.openxmlformats.org/officeDocument/2006/relationships/slideLayout" Target="../slideLayouts/slideLayout1.xml"/><Relationship Id="rId6" Type="http://schemas.openxmlformats.org/officeDocument/2006/relationships/diagramQuickStyle" Target="../diagrams/quickStyle10.xml"/><Relationship Id="rId5" Type="http://schemas.openxmlformats.org/officeDocument/2006/relationships/diagramLayout" Target="../diagrams/layout10.xml"/><Relationship Id="rId4" Type="http://schemas.openxmlformats.org/officeDocument/2006/relationships/diagramData" Target="../diagrams/data10.xml"/></Relationships>
</file>

<file path=ppt/slides/_rels/slide26.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26.xml"/><Relationship Id="rId1" Type="http://schemas.openxmlformats.org/officeDocument/2006/relationships/slideLayout" Target="../slideLayouts/slideLayout1.xml"/><Relationship Id="rId5" Type="http://schemas.openxmlformats.org/officeDocument/2006/relationships/image" Target="../media/image46.jpeg"/><Relationship Id="rId4" Type="http://schemas.openxmlformats.org/officeDocument/2006/relationships/image" Target="../media/image45.jpg"/></Relationships>
</file>

<file path=ppt/slides/_rels/slide27.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27.xml"/><Relationship Id="rId1" Type="http://schemas.openxmlformats.org/officeDocument/2006/relationships/slideLayout" Target="../slideLayouts/slideLayout1.xml"/></Relationships>
</file>

<file path=ppt/slides/_rels/slide28.xml.rels><?xml version="1.0" encoding="UTF-8" standalone="yes"?>
<Relationships xmlns="http://schemas.openxmlformats.org/package/2006/relationships"><Relationship Id="rId8" Type="http://schemas.openxmlformats.org/officeDocument/2006/relationships/image" Target="../media/image51.emf"/><Relationship Id="rId3" Type="http://schemas.openxmlformats.org/officeDocument/2006/relationships/image" Target="../media/image1.jpg"/><Relationship Id="rId7" Type="http://schemas.openxmlformats.org/officeDocument/2006/relationships/image" Target="../media/image50.emf"/><Relationship Id="rId2" Type="http://schemas.openxmlformats.org/officeDocument/2006/relationships/notesSlide" Target="../notesSlides/notesSlide28.xml"/><Relationship Id="rId1" Type="http://schemas.openxmlformats.org/officeDocument/2006/relationships/slideLayout" Target="../slideLayouts/slideLayout1.xml"/><Relationship Id="rId6" Type="http://schemas.openxmlformats.org/officeDocument/2006/relationships/image" Target="../media/image49.emf"/><Relationship Id="rId11" Type="http://schemas.openxmlformats.org/officeDocument/2006/relationships/image" Target="../media/image54.emf"/><Relationship Id="rId5" Type="http://schemas.openxmlformats.org/officeDocument/2006/relationships/image" Target="../media/image48.emf"/><Relationship Id="rId10" Type="http://schemas.openxmlformats.org/officeDocument/2006/relationships/image" Target="../media/image53.emf"/><Relationship Id="rId4" Type="http://schemas.openxmlformats.org/officeDocument/2006/relationships/image" Target="../media/image47.jpeg"/><Relationship Id="rId9" Type="http://schemas.openxmlformats.org/officeDocument/2006/relationships/image" Target="../media/image52.emf"/></Relationships>
</file>

<file path=ppt/slides/_rels/slide29.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29.xml"/><Relationship Id="rId1" Type="http://schemas.openxmlformats.org/officeDocument/2006/relationships/slideLayout" Target="../slideLayouts/slideLayout1.xml"/><Relationship Id="rId4" Type="http://schemas.openxmlformats.org/officeDocument/2006/relationships/image" Target="../media/image55.jpeg"/></Relationships>
</file>

<file path=ppt/slides/_rels/slide3.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4.jpeg"/></Relationships>
</file>

<file path=ppt/slides/_rels/slide30.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31.xml.rels><?xml version="1.0" encoding="UTF-8" standalone="yes"?>
<Relationships xmlns="http://schemas.openxmlformats.org/package/2006/relationships"><Relationship Id="rId8" Type="http://schemas.microsoft.com/office/2007/relationships/diagramDrawing" Target="../diagrams/drawing11.xml"/><Relationship Id="rId3" Type="http://schemas.openxmlformats.org/officeDocument/2006/relationships/image" Target="../media/image1.jpg"/><Relationship Id="rId7" Type="http://schemas.openxmlformats.org/officeDocument/2006/relationships/diagramColors" Target="../diagrams/colors11.xml"/><Relationship Id="rId2" Type="http://schemas.openxmlformats.org/officeDocument/2006/relationships/notesSlide" Target="../notesSlides/notesSlide31.xml"/><Relationship Id="rId1" Type="http://schemas.openxmlformats.org/officeDocument/2006/relationships/slideLayout" Target="../slideLayouts/slideLayout1.xml"/><Relationship Id="rId6" Type="http://schemas.openxmlformats.org/officeDocument/2006/relationships/diagramQuickStyle" Target="../diagrams/quickStyle11.xml"/><Relationship Id="rId5" Type="http://schemas.openxmlformats.org/officeDocument/2006/relationships/diagramLayout" Target="../diagrams/layout11.xml"/><Relationship Id="rId4" Type="http://schemas.openxmlformats.org/officeDocument/2006/relationships/diagramData" Target="../diagrams/data11.xml"/><Relationship Id="rId9" Type="http://schemas.openxmlformats.org/officeDocument/2006/relationships/image" Target="../media/image56.png"/></Relationships>
</file>

<file path=ppt/slides/_rels/slide32.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32.xml"/><Relationship Id="rId1" Type="http://schemas.openxmlformats.org/officeDocument/2006/relationships/slideLayout" Target="../slideLayouts/slideLayout1.xml"/><Relationship Id="rId4" Type="http://schemas.openxmlformats.org/officeDocument/2006/relationships/image" Target="../media/image57.jpg"/></Relationships>
</file>

<file path=ppt/slides/_rels/slide33.xml.rels><?xml version="1.0" encoding="UTF-8" standalone="yes"?>
<Relationships xmlns="http://schemas.openxmlformats.org/package/2006/relationships"><Relationship Id="rId8" Type="http://schemas.microsoft.com/office/2007/relationships/diagramDrawing" Target="../diagrams/drawing12.xml"/><Relationship Id="rId3" Type="http://schemas.openxmlformats.org/officeDocument/2006/relationships/image" Target="../media/image1.jpg"/><Relationship Id="rId7" Type="http://schemas.openxmlformats.org/officeDocument/2006/relationships/diagramColors" Target="../diagrams/colors12.xml"/><Relationship Id="rId2" Type="http://schemas.openxmlformats.org/officeDocument/2006/relationships/notesSlide" Target="../notesSlides/notesSlide33.xml"/><Relationship Id="rId1" Type="http://schemas.openxmlformats.org/officeDocument/2006/relationships/slideLayout" Target="../slideLayouts/slideLayout1.xml"/><Relationship Id="rId6" Type="http://schemas.openxmlformats.org/officeDocument/2006/relationships/diagramQuickStyle" Target="../diagrams/quickStyle12.xml"/><Relationship Id="rId5" Type="http://schemas.openxmlformats.org/officeDocument/2006/relationships/diagramLayout" Target="../diagrams/layout12.xml"/><Relationship Id="rId4" Type="http://schemas.openxmlformats.org/officeDocument/2006/relationships/diagramData" Target="../diagrams/data12.xml"/></Relationships>
</file>

<file path=ppt/slides/_rels/slide34.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tags" Target="../tags/tag3.xml"/><Relationship Id="rId7" Type="http://schemas.openxmlformats.org/officeDocument/2006/relationships/image" Target="../media/image1.jp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34.xml"/><Relationship Id="rId11" Type="http://schemas.openxmlformats.org/officeDocument/2006/relationships/image" Target="../media/image61.png"/><Relationship Id="rId5" Type="http://schemas.openxmlformats.org/officeDocument/2006/relationships/slideLayout" Target="../slideLayouts/slideLayout1.xml"/><Relationship Id="rId10" Type="http://schemas.openxmlformats.org/officeDocument/2006/relationships/image" Target="../media/image60.png"/><Relationship Id="rId4" Type="http://schemas.openxmlformats.org/officeDocument/2006/relationships/tags" Target="../tags/tag4.xml"/><Relationship Id="rId9" Type="http://schemas.openxmlformats.org/officeDocument/2006/relationships/image" Target="../media/image59.jpeg"/></Relationships>
</file>

<file path=ppt/slides/_rels/slide35.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image" Target="../media/image1.jpg"/><Relationship Id="rId7" Type="http://schemas.openxmlformats.org/officeDocument/2006/relationships/image" Target="../media/image65.png"/><Relationship Id="rId2" Type="http://schemas.openxmlformats.org/officeDocument/2006/relationships/notesSlide" Target="../notesSlides/notesSlide35.xml"/><Relationship Id="rId1" Type="http://schemas.openxmlformats.org/officeDocument/2006/relationships/slideLayout" Target="../slideLayouts/slideLayout1.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jpeg"/><Relationship Id="rId9" Type="http://schemas.openxmlformats.org/officeDocument/2006/relationships/image" Target="../media/image67.png"/></Relationships>
</file>

<file path=ppt/slides/_rels/slide36.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36.xml"/><Relationship Id="rId1" Type="http://schemas.openxmlformats.org/officeDocument/2006/relationships/slideLayout" Target="../slideLayouts/slideLayout1.xml"/><Relationship Id="rId5" Type="http://schemas.openxmlformats.org/officeDocument/2006/relationships/image" Target="../media/image69.png"/><Relationship Id="rId4" Type="http://schemas.openxmlformats.org/officeDocument/2006/relationships/image" Target="../media/image68.wmf"/></Relationships>
</file>

<file path=ppt/slides/_rels/slide37.xml.rels><?xml version="1.0" encoding="UTF-8" standalone="yes"?>
<Relationships xmlns="http://schemas.openxmlformats.org/package/2006/relationships"><Relationship Id="rId8" Type="http://schemas.openxmlformats.org/officeDocument/2006/relationships/image" Target="../media/image73.svg"/><Relationship Id="rId3" Type="http://schemas.openxmlformats.org/officeDocument/2006/relationships/image" Target="../media/image1.jpg"/><Relationship Id="rId7" Type="http://schemas.openxmlformats.org/officeDocument/2006/relationships/image" Target="../media/image72.png"/><Relationship Id="rId2" Type="http://schemas.openxmlformats.org/officeDocument/2006/relationships/notesSlide" Target="../notesSlides/notesSlide37.xml"/><Relationship Id="rId1" Type="http://schemas.openxmlformats.org/officeDocument/2006/relationships/slideLayout" Target="../slideLayouts/slideLayout1.xml"/><Relationship Id="rId6" Type="http://schemas.openxmlformats.org/officeDocument/2006/relationships/image" Target="../media/image71.png"/><Relationship Id="rId5" Type="http://schemas.openxmlformats.org/officeDocument/2006/relationships/image" Target="../media/image70.png"/><Relationship Id="rId4" Type="http://schemas.openxmlformats.org/officeDocument/2006/relationships/image" Target="../media/image68.wmf"/></Relationships>
</file>

<file path=ppt/slides/_rels/slide38.xml.rels><?xml version="1.0" encoding="UTF-8" standalone="yes"?>
<Relationships xmlns="http://schemas.openxmlformats.org/package/2006/relationships"><Relationship Id="rId3" Type="http://schemas.openxmlformats.org/officeDocument/2006/relationships/image" Target="../media/image1.jpg"/><Relationship Id="rId7" Type="http://schemas.openxmlformats.org/officeDocument/2006/relationships/image" Target="../media/image75.png"/><Relationship Id="rId2" Type="http://schemas.openxmlformats.org/officeDocument/2006/relationships/notesSlide" Target="../notesSlides/notesSlide38.xml"/><Relationship Id="rId1" Type="http://schemas.openxmlformats.org/officeDocument/2006/relationships/slideLayout" Target="../slideLayouts/slideLayout1.xml"/><Relationship Id="rId6" Type="http://schemas.openxmlformats.org/officeDocument/2006/relationships/image" Target="../media/image74.png"/><Relationship Id="rId5" Type="http://schemas.openxmlformats.org/officeDocument/2006/relationships/image" Target="../media/image68.wmf"/><Relationship Id="rId4" Type="http://schemas.openxmlformats.org/officeDocument/2006/relationships/image" Target="../media/image69.png"/></Relationships>
</file>

<file path=ppt/slides/_rels/slide39.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39.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4.xml"/><Relationship Id="rId1" Type="http://schemas.openxmlformats.org/officeDocument/2006/relationships/slideLayout" Target="../slideLayouts/slideLayout1.xml"/><Relationship Id="rId4" Type="http://schemas.openxmlformats.org/officeDocument/2006/relationships/image" Target="../media/image5.jpg"/></Relationships>
</file>

<file path=ppt/slides/_rels/slide40.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image" Target="../media/image1.jpg"/><Relationship Id="rId7" Type="http://schemas.openxmlformats.org/officeDocument/2006/relationships/image" Target="../media/image79.wmf"/><Relationship Id="rId2" Type="http://schemas.openxmlformats.org/officeDocument/2006/relationships/notesSlide" Target="../notesSlides/notesSlide40.xml"/><Relationship Id="rId1" Type="http://schemas.openxmlformats.org/officeDocument/2006/relationships/slideLayout" Target="../slideLayouts/slideLayout1.xml"/><Relationship Id="rId6" Type="http://schemas.openxmlformats.org/officeDocument/2006/relationships/image" Target="../media/image78.wmf"/><Relationship Id="rId5" Type="http://schemas.openxmlformats.org/officeDocument/2006/relationships/image" Target="../media/image77.png"/><Relationship Id="rId4" Type="http://schemas.openxmlformats.org/officeDocument/2006/relationships/image" Target="../media/image76.png"/></Relationships>
</file>

<file path=ppt/slides/_rels/slide41.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1.jpg"/><Relationship Id="rId7" Type="http://schemas.openxmlformats.org/officeDocument/2006/relationships/image" Target="../media/image84.svg"/><Relationship Id="rId12" Type="http://schemas.openxmlformats.org/officeDocument/2006/relationships/image" Target="../media/image87.png"/><Relationship Id="rId2" Type="http://schemas.openxmlformats.org/officeDocument/2006/relationships/notesSlide" Target="../notesSlides/notesSlide41.xml"/><Relationship Id="rId1" Type="http://schemas.openxmlformats.org/officeDocument/2006/relationships/slideLayout" Target="../slideLayouts/slideLayout1.xml"/><Relationship Id="rId6" Type="http://schemas.openxmlformats.org/officeDocument/2006/relationships/image" Target="../media/image83.png"/><Relationship Id="rId11" Type="http://schemas.openxmlformats.org/officeDocument/2006/relationships/image" Target="../media/image76.png"/><Relationship Id="rId5" Type="http://schemas.openxmlformats.org/officeDocument/2006/relationships/image" Target="../media/image82.svg"/><Relationship Id="rId10" Type="http://schemas.openxmlformats.org/officeDocument/2006/relationships/image" Target="../media/image86.png"/><Relationship Id="rId4" Type="http://schemas.openxmlformats.org/officeDocument/2006/relationships/image" Target="../media/image81.png"/><Relationship Id="rId9" Type="http://schemas.openxmlformats.org/officeDocument/2006/relationships/image" Target="../media/image79.wmf"/></Relationships>
</file>

<file path=ppt/slides/_rels/slide42.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1.jpg"/><Relationship Id="rId7" Type="http://schemas.openxmlformats.org/officeDocument/2006/relationships/image" Target="../media/image84.svg"/><Relationship Id="rId12" Type="http://schemas.openxmlformats.org/officeDocument/2006/relationships/image" Target="../media/image87.png"/><Relationship Id="rId2" Type="http://schemas.openxmlformats.org/officeDocument/2006/relationships/notesSlide" Target="../notesSlides/notesSlide42.xml"/><Relationship Id="rId1" Type="http://schemas.openxmlformats.org/officeDocument/2006/relationships/slideLayout" Target="../slideLayouts/slideLayout1.xml"/><Relationship Id="rId6" Type="http://schemas.openxmlformats.org/officeDocument/2006/relationships/image" Target="../media/image83.png"/><Relationship Id="rId11" Type="http://schemas.openxmlformats.org/officeDocument/2006/relationships/image" Target="../media/image76.png"/><Relationship Id="rId5" Type="http://schemas.openxmlformats.org/officeDocument/2006/relationships/image" Target="../media/image82.svg"/><Relationship Id="rId10" Type="http://schemas.openxmlformats.org/officeDocument/2006/relationships/image" Target="../media/image86.png"/><Relationship Id="rId4" Type="http://schemas.openxmlformats.org/officeDocument/2006/relationships/image" Target="../media/image81.png"/><Relationship Id="rId9" Type="http://schemas.openxmlformats.org/officeDocument/2006/relationships/image" Target="../media/image79.wmf"/></Relationships>
</file>

<file path=ppt/slides/_rels/slide43.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43.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44.xml"/><Relationship Id="rId1" Type="http://schemas.openxmlformats.org/officeDocument/2006/relationships/slideLayout" Target="../slideLayouts/slideLayout1.xml"/><Relationship Id="rId4" Type="http://schemas.openxmlformats.org/officeDocument/2006/relationships/image" Target="../media/image88.png"/></Relationships>
</file>

<file path=ppt/slides/_rels/slide45.xml.rels><?xml version="1.0" encoding="UTF-8" standalone="yes"?>
<Relationships xmlns="http://schemas.openxmlformats.org/package/2006/relationships"><Relationship Id="rId8" Type="http://schemas.microsoft.com/office/2007/relationships/diagramDrawing" Target="../diagrams/drawing13.xml"/><Relationship Id="rId3" Type="http://schemas.openxmlformats.org/officeDocument/2006/relationships/image" Target="../media/image1.jpg"/><Relationship Id="rId7" Type="http://schemas.openxmlformats.org/officeDocument/2006/relationships/diagramColors" Target="../diagrams/colors13.xml"/><Relationship Id="rId2" Type="http://schemas.openxmlformats.org/officeDocument/2006/relationships/notesSlide" Target="../notesSlides/notesSlide45.xml"/><Relationship Id="rId1" Type="http://schemas.openxmlformats.org/officeDocument/2006/relationships/slideLayout" Target="../slideLayouts/slideLayout1.xml"/><Relationship Id="rId6" Type="http://schemas.openxmlformats.org/officeDocument/2006/relationships/diagramQuickStyle" Target="../diagrams/quickStyle13.xml"/><Relationship Id="rId5" Type="http://schemas.openxmlformats.org/officeDocument/2006/relationships/diagramLayout" Target="../diagrams/layout13.xml"/><Relationship Id="rId4" Type="http://schemas.openxmlformats.org/officeDocument/2006/relationships/diagramData" Target="../diagrams/data13.xml"/><Relationship Id="rId9" Type="http://schemas.openxmlformats.org/officeDocument/2006/relationships/image" Target="../media/image89.jpeg"/></Relationships>
</file>

<file path=ppt/slides/_rels/slide46.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46.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47.xml"/><Relationship Id="rId1" Type="http://schemas.openxmlformats.org/officeDocument/2006/relationships/slideLayout" Target="../slideLayouts/slideLayout1.xml"/><Relationship Id="rId5" Type="http://schemas.openxmlformats.org/officeDocument/2006/relationships/image" Target="../media/image91.jpeg"/><Relationship Id="rId4" Type="http://schemas.openxmlformats.org/officeDocument/2006/relationships/image" Target="../media/image90.jpeg"/></Relationships>
</file>

<file path=ppt/slides/_rels/slide48.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48.xml"/><Relationship Id="rId1" Type="http://schemas.openxmlformats.org/officeDocument/2006/relationships/slideLayout" Target="../slideLayouts/slideLayout1.xml"/><Relationship Id="rId4" Type="http://schemas.openxmlformats.org/officeDocument/2006/relationships/image" Target="../media/image92.jpeg"/></Relationships>
</file>

<file path=ppt/slides/_rels/slide49.xml.rels><?xml version="1.0" encoding="UTF-8" standalone="yes"?>
<Relationships xmlns="http://schemas.openxmlformats.org/package/2006/relationships"><Relationship Id="rId8" Type="http://schemas.microsoft.com/office/2007/relationships/diagramDrawing" Target="../diagrams/drawing14.xml"/><Relationship Id="rId3" Type="http://schemas.openxmlformats.org/officeDocument/2006/relationships/image" Target="../media/image1.jpg"/><Relationship Id="rId7" Type="http://schemas.openxmlformats.org/officeDocument/2006/relationships/diagramColors" Target="../diagrams/colors14.xml"/><Relationship Id="rId2" Type="http://schemas.openxmlformats.org/officeDocument/2006/relationships/notesSlide" Target="../notesSlides/notesSlide49.xml"/><Relationship Id="rId1" Type="http://schemas.openxmlformats.org/officeDocument/2006/relationships/slideLayout" Target="../slideLayouts/slideLayout1.xml"/><Relationship Id="rId6" Type="http://schemas.openxmlformats.org/officeDocument/2006/relationships/diagramQuickStyle" Target="../diagrams/quickStyle14.xml"/><Relationship Id="rId5" Type="http://schemas.openxmlformats.org/officeDocument/2006/relationships/diagramLayout" Target="../diagrams/layout14.xml"/><Relationship Id="rId4" Type="http://schemas.openxmlformats.org/officeDocument/2006/relationships/diagramData" Target="../diagrams/data14.xml"/></Relationships>
</file>

<file path=ppt/slides/_rels/slide5.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5.xml"/><Relationship Id="rId1" Type="http://schemas.openxmlformats.org/officeDocument/2006/relationships/slideLayout" Target="../slideLayouts/slideLayout1.xml"/><Relationship Id="rId4" Type="http://schemas.openxmlformats.org/officeDocument/2006/relationships/image" Target="../media/image6.png"/></Relationships>
</file>

<file path=ppt/slides/_rels/slide50.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50.xml"/><Relationship Id="rId1" Type="http://schemas.openxmlformats.org/officeDocument/2006/relationships/slideLayout" Target="../slideLayouts/slideLayout1.xml"/></Relationships>
</file>

<file path=ppt/slides/_rels/slide51.xml.rels><?xml version="1.0" encoding="UTF-8" standalone="yes"?>
<Relationships xmlns="http://schemas.openxmlformats.org/package/2006/relationships"><Relationship Id="rId8" Type="http://schemas.openxmlformats.org/officeDocument/2006/relationships/diagramColors" Target="../diagrams/colors15.xml"/><Relationship Id="rId3" Type="http://schemas.openxmlformats.org/officeDocument/2006/relationships/image" Target="../media/image1.jpg"/><Relationship Id="rId7" Type="http://schemas.openxmlformats.org/officeDocument/2006/relationships/diagramQuickStyle" Target="../diagrams/quickStyle15.xml"/><Relationship Id="rId2" Type="http://schemas.openxmlformats.org/officeDocument/2006/relationships/notesSlide" Target="../notesSlides/notesSlide51.xml"/><Relationship Id="rId1" Type="http://schemas.openxmlformats.org/officeDocument/2006/relationships/slideLayout" Target="../slideLayouts/slideLayout1.xml"/><Relationship Id="rId6" Type="http://schemas.openxmlformats.org/officeDocument/2006/relationships/diagramLayout" Target="../diagrams/layout15.xml"/><Relationship Id="rId5" Type="http://schemas.openxmlformats.org/officeDocument/2006/relationships/diagramData" Target="../diagrams/data15.xml"/><Relationship Id="rId4" Type="http://schemas.openxmlformats.org/officeDocument/2006/relationships/image" Target="../media/image93.jpeg"/><Relationship Id="rId9" Type="http://schemas.microsoft.com/office/2007/relationships/diagramDrawing" Target="../diagrams/drawing15.xml"/></Relationships>
</file>

<file path=ppt/slides/_rels/slide52.xml.rels><?xml version="1.0" encoding="UTF-8" standalone="yes"?>
<Relationships xmlns="http://schemas.openxmlformats.org/package/2006/relationships"><Relationship Id="rId8" Type="http://schemas.openxmlformats.org/officeDocument/2006/relationships/diagramQuickStyle" Target="../diagrams/quickStyle16.xml"/><Relationship Id="rId3" Type="http://schemas.openxmlformats.org/officeDocument/2006/relationships/image" Target="../media/image1.jpg"/><Relationship Id="rId7" Type="http://schemas.openxmlformats.org/officeDocument/2006/relationships/diagramLayout" Target="../diagrams/layout16.xml"/><Relationship Id="rId2" Type="http://schemas.openxmlformats.org/officeDocument/2006/relationships/notesSlide" Target="../notesSlides/notesSlide52.xml"/><Relationship Id="rId1" Type="http://schemas.openxmlformats.org/officeDocument/2006/relationships/slideLayout" Target="../slideLayouts/slideLayout1.xml"/><Relationship Id="rId6" Type="http://schemas.openxmlformats.org/officeDocument/2006/relationships/diagramData" Target="../diagrams/data16.xml"/><Relationship Id="rId5" Type="http://schemas.openxmlformats.org/officeDocument/2006/relationships/image" Target="../media/image95.jpeg"/><Relationship Id="rId10" Type="http://schemas.microsoft.com/office/2007/relationships/diagramDrawing" Target="../diagrams/drawing16.xml"/><Relationship Id="rId4" Type="http://schemas.openxmlformats.org/officeDocument/2006/relationships/image" Target="../media/image94.jpeg"/><Relationship Id="rId9" Type="http://schemas.openxmlformats.org/officeDocument/2006/relationships/diagramColors" Target="../diagrams/colors16.xml"/></Relationships>
</file>

<file path=ppt/slides/_rels/slide53.xml.rels><?xml version="1.0" encoding="UTF-8" standalone="yes"?>
<Relationships xmlns="http://schemas.openxmlformats.org/package/2006/relationships"><Relationship Id="rId8" Type="http://schemas.microsoft.com/office/2007/relationships/diagramDrawing" Target="../diagrams/drawing17.xml"/><Relationship Id="rId3" Type="http://schemas.openxmlformats.org/officeDocument/2006/relationships/image" Target="../media/image1.jpg"/><Relationship Id="rId7" Type="http://schemas.openxmlformats.org/officeDocument/2006/relationships/diagramColors" Target="../diagrams/colors17.xml"/><Relationship Id="rId2" Type="http://schemas.openxmlformats.org/officeDocument/2006/relationships/notesSlide" Target="../notesSlides/notesSlide53.xml"/><Relationship Id="rId1" Type="http://schemas.openxmlformats.org/officeDocument/2006/relationships/slideLayout" Target="../slideLayouts/slideLayout1.xml"/><Relationship Id="rId6" Type="http://schemas.openxmlformats.org/officeDocument/2006/relationships/diagramQuickStyle" Target="../diagrams/quickStyle17.xml"/><Relationship Id="rId5" Type="http://schemas.openxmlformats.org/officeDocument/2006/relationships/diagramLayout" Target="../diagrams/layout17.xml"/><Relationship Id="rId10" Type="http://schemas.openxmlformats.org/officeDocument/2006/relationships/image" Target="../media/image103.jpg"/><Relationship Id="rId4" Type="http://schemas.openxmlformats.org/officeDocument/2006/relationships/diagramData" Target="../diagrams/data17.xml"/><Relationship Id="rId9" Type="http://schemas.openxmlformats.org/officeDocument/2006/relationships/image" Target="../media/image102.jpeg"/></Relationships>
</file>

<file path=ppt/slides/_rels/slide54.xml.rels><?xml version="1.0" encoding="UTF-8" standalone="yes"?>
<Relationships xmlns="http://schemas.openxmlformats.org/package/2006/relationships"><Relationship Id="rId8" Type="http://schemas.microsoft.com/office/2007/relationships/diagramDrawing" Target="../diagrams/drawing18.xml"/><Relationship Id="rId13" Type="http://schemas.microsoft.com/office/2007/relationships/diagramDrawing" Target="../diagrams/drawing19.xml"/><Relationship Id="rId3" Type="http://schemas.openxmlformats.org/officeDocument/2006/relationships/image" Target="../media/image1.jpg"/><Relationship Id="rId7" Type="http://schemas.openxmlformats.org/officeDocument/2006/relationships/diagramColors" Target="../diagrams/colors18.xml"/><Relationship Id="rId12" Type="http://schemas.openxmlformats.org/officeDocument/2006/relationships/diagramColors" Target="../diagrams/colors19.xml"/><Relationship Id="rId2" Type="http://schemas.openxmlformats.org/officeDocument/2006/relationships/notesSlide" Target="../notesSlides/notesSlide54.xml"/><Relationship Id="rId1" Type="http://schemas.openxmlformats.org/officeDocument/2006/relationships/slideLayout" Target="../slideLayouts/slideLayout1.xml"/><Relationship Id="rId6" Type="http://schemas.openxmlformats.org/officeDocument/2006/relationships/diagramQuickStyle" Target="../diagrams/quickStyle18.xml"/><Relationship Id="rId11" Type="http://schemas.openxmlformats.org/officeDocument/2006/relationships/diagramQuickStyle" Target="../diagrams/quickStyle19.xml"/><Relationship Id="rId5" Type="http://schemas.openxmlformats.org/officeDocument/2006/relationships/diagramLayout" Target="../diagrams/layout18.xml"/><Relationship Id="rId10" Type="http://schemas.openxmlformats.org/officeDocument/2006/relationships/diagramLayout" Target="../diagrams/layout19.xml"/><Relationship Id="rId4" Type="http://schemas.openxmlformats.org/officeDocument/2006/relationships/diagramData" Target="../diagrams/data18.xml"/><Relationship Id="rId9" Type="http://schemas.openxmlformats.org/officeDocument/2006/relationships/diagramData" Target="../diagrams/data19.xml"/><Relationship Id="rId14" Type="http://schemas.openxmlformats.org/officeDocument/2006/relationships/image" Target="../media/image105.jpeg"/></Relationships>
</file>

<file path=ppt/slides/_rels/slide55.xml.rels><?xml version="1.0" encoding="UTF-8" standalone="yes"?>
<Relationships xmlns="http://schemas.openxmlformats.org/package/2006/relationships"><Relationship Id="rId8" Type="http://schemas.openxmlformats.org/officeDocument/2006/relationships/diagramQuickStyle" Target="../diagrams/quickStyle20.xml"/><Relationship Id="rId3" Type="http://schemas.openxmlformats.org/officeDocument/2006/relationships/image" Target="../media/image1.jpg"/><Relationship Id="rId7" Type="http://schemas.openxmlformats.org/officeDocument/2006/relationships/diagramLayout" Target="../diagrams/layout20.xml"/><Relationship Id="rId2" Type="http://schemas.openxmlformats.org/officeDocument/2006/relationships/notesSlide" Target="../notesSlides/notesSlide55.xml"/><Relationship Id="rId1" Type="http://schemas.openxmlformats.org/officeDocument/2006/relationships/slideLayout" Target="../slideLayouts/slideLayout1.xml"/><Relationship Id="rId6" Type="http://schemas.openxmlformats.org/officeDocument/2006/relationships/diagramData" Target="../diagrams/data20.xml"/><Relationship Id="rId5" Type="http://schemas.openxmlformats.org/officeDocument/2006/relationships/image" Target="../media/image107.png"/><Relationship Id="rId10" Type="http://schemas.microsoft.com/office/2007/relationships/diagramDrawing" Target="../diagrams/drawing20.xml"/><Relationship Id="rId4" Type="http://schemas.openxmlformats.org/officeDocument/2006/relationships/image" Target="../media/image106.jpeg"/><Relationship Id="rId9" Type="http://schemas.openxmlformats.org/officeDocument/2006/relationships/diagramColors" Target="../diagrams/colors20.xml"/></Relationships>
</file>

<file path=ppt/slides/_rels/slide56.xml.rels><?xml version="1.0" encoding="UTF-8" standalone="yes"?>
<Relationships xmlns="http://schemas.openxmlformats.org/package/2006/relationships"><Relationship Id="rId8" Type="http://schemas.microsoft.com/office/2007/relationships/diagramDrawing" Target="../diagrams/drawing21.xml"/><Relationship Id="rId3" Type="http://schemas.openxmlformats.org/officeDocument/2006/relationships/image" Target="../media/image1.jpg"/><Relationship Id="rId7" Type="http://schemas.openxmlformats.org/officeDocument/2006/relationships/diagramColors" Target="../diagrams/colors21.xml"/><Relationship Id="rId2" Type="http://schemas.openxmlformats.org/officeDocument/2006/relationships/notesSlide" Target="../notesSlides/notesSlide56.xml"/><Relationship Id="rId1" Type="http://schemas.openxmlformats.org/officeDocument/2006/relationships/slideLayout" Target="../slideLayouts/slideLayout1.xml"/><Relationship Id="rId6" Type="http://schemas.openxmlformats.org/officeDocument/2006/relationships/diagramQuickStyle" Target="../diagrams/quickStyle21.xml"/><Relationship Id="rId5" Type="http://schemas.openxmlformats.org/officeDocument/2006/relationships/diagramLayout" Target="../diagrams/layout21.xml"/><Relationship Id="rId4" Type="http://schemas.openxmlformats.org/officeDocument/2006/relationships/diagramData" Target="../diagrams/data21.xml"/><Relationship Id="rId9" Type="http://schemas.openxmlformats.org/officeDocument/2006/relationships/image" Target="../media/image108.jpeg"/></Relationships>
</file>

<file path=ppt/slides/_rels/slide57.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57.xml"/><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8" Type="http://schemas.microsoft.com/office/2007/relationships/diagramDrawing" Target="../diagrams/drawing22.xml"/><Relationship Id="rId3" Type="http://schemas.openxmlformats.org/officeDocument/2006/relationships/image" Target="../media/image1.jpg"/><Relationship Id="rId7" Type="http://schemas.openxmlformats.org/officeDocument/2006/relationships/diagramColors" Target="../diagrams/colors22.xml"/><Relationship Id="rId2" Type="http://schemas.openxmlformats.org/officeDocument/2006/relationships/notesSlide" Target="../notesSlides/notesSlide58.xml"/><Relationship Id="rId1" Type="http://schemas.openxmlformats.org/officeDocument/2006/relationships/slideLayout" Target="../slideLayouts/slideLayout1.xml"/><Relationship Id="rId6" Type="http://schemas.openxmlformats.org/officeDocument/2006/relationships/diagramQuickStyle" Target="../diagrams/quickStyle22.xml"/><Relationship Id="rId11" Type="http://schemas.openxmlformats.org/officeDocument/2006/relationships/image" Target="../media/image17.jpeg"/><Relationship Id="rId5" Type="http://schemas.openxmlformats.org/officeDocument/2006/relationships/diagramLayout" Target="../diagrams/layout22.xml"/><Relationship Id="rId10" Type="http://schemas.openxmlformats.org/officeDocument/2006/relationships/image" Target="../media/image110.jpg"/><Relationship Id="rId4" Type="http://schemas.openxmlformats.org/officeDocument/2006/relationships/diagramData" Target="../diagrams/data22.xml"/><Relationship Id="rId9" Type="http://schemas.openxmlformats.org/officeDocument/2006/relationships/image" Target="../media/image109.jpeg"/></Relationships>
</file>

<file path=ppt/slides/_rels/slide59.xml.rels><?xml version="1.0" encoding="UTF-8" standalone="yes"?>
<Relationships xmlns="http://schemas.openxmlformats.org/package/2006/relationships"><Relationship Id="rId8" Type="http://schemas.microsoft.com/office/2007/relationships/diagramDrawing" Target="../diagrams/drawing23.xml"/><Relationship Id="rId3" Type="http://schemas.openxmlformats.org/officeDocument/2006/relationships/image" Target="../media/image1.jpg"/><Relationship Id="rId7" Type="http://schemas.openxmlformats.org/officeDocument/2006/relationships/diagramColors" Target="../diagrams/colors23.xml"/><Relationship Id="rId2" Type="http://schemas.openxmlformats.org/officeDocument/2006/relationships/notesSlide" Target="../notesSlides/notesSlide59.xml"/><Relationship Id="rId1" Type="http://schemas.openxmlformats.org/officeDocument/2006/relationships/slideLayout" Target="../slideLayouts/slideLayout1.xml"/><Relationship Id="rId6" Type="http://schemas.openxmlformats.org/officeDocument/2006/relationships/diagramQuickStyle" Target="../diagrams/quickStyle23.xml"/><Relationship Id="rId5" Type="http://schemas.openxmlformats.org/officeDocument/2006/relationships/diagramLayout" Target="../diagrams/layout23.xml"/><Relationship Id="rId10" Type="http://schemas.openxmlformats.org/officeDocument/2006/relationships/image" Target="../media/image112.jpg"/><Relationship Id="rId4" Type="http://schemas.openxmlformats.org/officeDocument/2006/relationships/diagramData" Target="../diagrams/data23.xml"/><Relationship Id="rId9" Type="http://schemas.openxmlformats.org/officeDocument/2006/relationships/image" Target="../media/image111.jpeg"/></Relationships>
</file>

<file path=ppt/slides/_rels/slide6.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7.jpeg"/></Relationships>
</file>

<file path=ppt/slides/_rels/slide60.xml.rels><?xml version="1.0" encoding="UTF-8" standalone="yes"?>
<Relationships xmlns="http://schemas.openxmlformats.org/package/2006/relationships"><Relationship Id="rId8" Type="http://schemas.microsoft.com/office/2007/relationships/diagramDrawing" Target="../diagrams/drawing24.xml"/><Relationship Id="rId3" Type="http://schemas.openxmlformats.org/officeDocument/2006/relationships/image" Target="../media/image1.jpg"/><Relationship Id="rId7" Type="http://schemas.openxmlformats.org/officeDocument/2006/relationships/diagramColors" Target="../diagrams/colors24.xml"/><Relationship Id="rId2" Type="http://schemas.openxmlformats.org/officeDocument/2006/relationships/notesSlide" Target="../notesSlides/notesSlide60.xml"/><Relationship Id="rId1" Type="http://schemas.openxmlformats.org/officeDocument/2006/relationships/slideLayout" Target="../slideLayouts/slideLayout1.xml"/><Relationship Id="rId6" Type="http://schemas.openxmlformats.org/officeDocument/2006/relationships/diagramQuickStyle" Target="../diagrams/quickStyle24.xml"/><Relationship Id="rId5" Type="http://schemas.openxmlformats.org/officeDocument/2006/relationships/diagramLayout" Target="../diagrams/layout24.xml"/><Relationship Id="rId4" Type="http://schemas.openxmlformats.org/officeDocument/2006/relationships/diagramData" Target="../diagrams/data24.xml"/><Relationship Id="rId9" Type="http://schemas.openxmlformats.org/officeDocument/2006/relationships/image" Target="../media/image16.jpeg"/></Relationships>
</file>

<file path=ppt/slides/_rels/slide6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61.xml"/><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62.xml"/><Relationship Id="rId1" Type="http://schemas.openxmlformats.org/officeDocument/2006/relationships/slideLayout" Target="../slideLayouts/slideLayout1.xml"/><Relationship Id="rId4" Type="http://schemas.openxmlformats.org/officeDocument/2006/relationships/image" Target="../media/image113.jpeg"/></Relationships>
</file>

<file path=ppt/slides/_rels/slide63.xml.rels><?xml version="1.0" encoding="UTF-8" standalone="yes"?>
<Relationships xmlns="http://schemas.openxmlformats.org/package/2006/relationships"><Relationship Id="rId8" Type="http://schemas.microsoft.com/office/2007/relationships/diagramDrawing" Target="../diagrams/drawing25.xml"/><Relationship Id="rId3" Type="http://schemas.openxmlformats.org/officeDocument/2006/relationships/image" Target="../media/image1.jpg"/><Relationship Id="rId7" Type="http://schemas.openxmlformats.org/officeDocument/2006/relationships/diagramColors" Target="../diagrams/colors25.xml"/><Relationship Id="rId2" Type="http://schemas.openxmlformats.org/officeDocument/2006/relationships/notesSlide" Target="../notesSlides/notesSlide63.xml"/><Relationship Id="rId1" Type="http://schemas.openxmlformats.org/officeDocument/2006/relationships/slideLayout" Target="../slideLayouts/slideLayout1.xml"/><Relationship Id="rId6" Type="http://schemas.openxmlformats.org/officeDocument/2006/relationships/diagramQuickStyle" Target="../diagrams/quickStyle25.xml"/><Relationship Id="rId5" Type="http://schemas.openxmlformats.org/officeDocument/2006/relationships/diagramLayout" Target="../diagrams/layout25.xml"/><Relationship Id="rId4" Type="http://schemas.openxmlformats.org/officeDocument/2006/relationships/diagramData" Target="../diagrams/data25.xml"/><Relationship Id="rId9" Type="http://schemas.openxmlformats.org/officeDocument/2006/relationships/image" Target="../media/image114.jpeg"/></Relationships>
</file>

<file path=ppt/slides/_rels/slide64.xml.rels><?xml version="1.0" encoding="UTF-8" standalone="yes"?>
<Relationships xmlns="http://schemas.openxmlformats.org/package/2006/relationships"><Relationship Id="rId8" Type="http://schemas.microsoft.com/office/2007/relationships/diagramDrawing" Target="../diagrams/drawing26.xml"/><Relationship Id="rId3" Type="http://schemas.openxmlformats.org/officeDocument/2006/relationships/image" Target="../media/image1.jpg"/><Relationship Id="rId7" Type="http://schemas.openxmlformats.org/officeDocument/2006/relationships/diagramColors" Target="../diagrams/colors26.xml"/><Relationship Id="rId12" Type="http://schemas.openxmlformats.org/officeDocument/2006/relationships/image" Target="../media/image118.jpeg"/><Relationship Id="rId2" Type="http://schemas.openxmlformats.org/officeDocument/2006/relationships/notesSlide" Target="../notesSlides/notesSlide64.xml"/><Relationship Id="rId1" Type="http://schemas.openxmlformats.org/officeDocument/2006/relationships/slideLayout" Target="../slideLayouts/slideLayout1.xml"/><Relationship Id="rId6" Type="http://schemas.openxmlformats.org/officeDocument/2006/relationships/diagramQuickStyle" Target="../diagrams/quickStyle26.xml"/><Relationship Id="rId11" Type="http://schemas.openxmlformats.org/officeDocument/2006/relationships/image" Target="../media/image117.jpeg"/><Relationship Id="rId5" Type="http://schemas.openxmlformats.org/officeDocument/2006/relationships/diagramLayout" Target="../diagrams/layout26.xml"/><Relationship Id="rId10" Type="http://schemas.openxmlformats.org/officeDocument/2006/relationships/image" Target="../media/image116.jpeg"/><Relationship Id="rId4" Type="http://schemas.openxmlformats.org/officeDocument/2006/relationships/diagramData" Target="../diagrams/data26.xml"/><Relationship Id="rId9" Type="http://schemas.openxmlformats.org/officeDocument/2006/relationships/image" Target="../media/image115.jpeg"/></Relationships>
</file>

<file path=ppt/slides/_rels/slide65.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65.xml"/><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8" Type="http://schemas.microsoft.com/office/2007/relationships/diagramDrawing" Target="../diagrams/drawing27.xml"/><Relationship Id="rId3" Type="http://schemas.openxmlformats.org/officeDocument/2006/relationships/image" Target="../media/image1.jpg"/><Relationship Id="rId7" Type="http://schemas.openxmlformats.org/officeDocument/2006/relationships/diagramColors" Target="../diagrams/colors27.xml"/><Relationship Id="rId2" Type="http://schemas.openxmlformats.org/officeDocument/2006/relationships/notesSlide" Target="../notesSlides/notesSlide66.xml"/><Relationship Id="rId1" Type="http://schemas.openxmlformats.org/officeDocument/2006/relationships/slideLayout" Target="../slideLayouts/slideLayout1.xml"/><Relationship Id="rId6" Type="http://schemas.openxmlformats.org/officeDocument/2006/relationships/diagramQuickStyle" Target="../diagrams/quickStyle27.xml"/><Relationship Id="rId5" Type="http://schemas.openxmlformats.org/officeDocument/2006/relationships/diagramLayout" Target="../diagrams/layout27.xml"/><Relationship Id="rId10" Type="http://schemas.openxmlformats.org/officeDocument/2006/relationships/image" Target="../media/image120.jpeg"/><Relationship Id="rId4" Type="http://schemas.openxmlformats.org/officeDocument/2006/relationships/diagramData" Target="../diagrams/data27.xml"/><Relationship Id="rId9" Type="http://schemas.openxmlformats.org/officeDocument/2006/relationships/image" Target="../media/image119.jpeg"/></Relationships>
</file>

<file path=ppt/slides/_rels/slide67.xml.rels><?xml version="1.0" encoding="UTF-8" standalone="yes"?>
<Relationships xmlns="http://schemas.openxmlformats.org/package/2006/relationships"><Relationship Id="rId8" Type="http://schemas.openxmlformats.org/officeDocument/2006/relationships/diagramColors" Target="../diagrams/colors28.xml"/><Relationship Id="rId3" Type="http://schemas.openxmlformats.org/officeDocument/2006/relationships/image" Target="../media/image1.jpg"/><Relationship Id="rId7" Type="http://schemas.openxmlformats.org/officeDocument/2006/relationships/diagramQuickStyle" Target="../diagrams/quickStyle28.xml"/><Relationship Id="rId2" Type="http://schemas.openxmlformats.org/officeDocument/2006/relationships/notesSlide" Target="../notesSlides/notesSlide67.xml"/><Relationship Id="rId1" Type="http://schemas.openxmlformats.org/officeDocument/2006/relationships/slideLayout" Target="../slideLayouts/slideLayout1.xml"/><Relationship Id="rId6" Type="http://schemas.openxmlformats.org/officeDocument/2006/relationships/diagramLayout" Target="../diagrams/layout28.xml"/><Relationship Id="rId11" Type="http://schemas.openxmlformats.org/officeDocument/2006/relationships/image" Target="../media/image123.jpeg"/><Relationship Id="rId5" Type="http://schemas.openxmlformats.org/officeDocument/2006/relationships/diagramData" Target="../diagrams/data28.xml"/><Relationship Id="rId10" Type="http://schemas.openxmlformats.org/officeDocument/2006/relationships/image" Target="../media/image122.jpeg"/><Relationship Id="rId4" Type="http://schemas.openxmlformats.org/officeDocument/2006/relationships/image" Target="../media/image121.jpeg"/><Relationship Id="rId9" Type="http://schemas.microsoft.com/office/2007/relationships/diagramDrawing" Target="../diagrams/drawing28.xml"/></Relationships>
</file>

<file path=ppt/slides/_rels/slide68.xml.rels><?xml version="1.0" encoding="UTF-8" standalone="yes"?>
<Relationships xmlns="http://schemas.openxmlformats.org/package/2006/relationships"><Relationship Id="rId8" Type="http://schemas.openxmlformats.org/officeDocument/2006/relationships/diagramQuickStyle" Target="../diagrams/quickStyle29.xml"/><Relationship Id="rId3" Type="http://schemas.openxmlformats.org/officeDocument/2006/relationships/image" Target="../media/image1.jpg"/><Relationship Id="rId7" Type="http://schemas.openxmlformats.org/officeDocument/2006/relationships/diagramLayout" Target="../diagrams/layout29.xml"/><Relationship Id="rId2" Type="http://schemas.openxmlformats.org/officeDocument/2006/relationships/notesSlide" Target="../notesSlides/notesSlide68.xml"/><Relationship Id="rId1" Type="http://schemas.openxmlformats.org/officeDocument/2006/relationships/slideLayout" Target="../slideLayouts/slideLayout1.xml"/><Relationship Id="rId6" Type="http://schemas.openxmlformats.org/officeDocument/2006/relationships/diagramData" Target="../diagrams/data29.xml"/><Relationship Id="rId5" Type="http://schemas.openxmlformats.org/officeDocument/2006/relationships/image" Target="../media/image125.jpeg"/><Relationship Id="rId10" Type="http://schemas.microsoft.com/office/2007/relationships/diagramDrawing" Target="../diagrams/drawing29.xml"/><Relationship Id="rId4" Type="http://schemas.openxmlformats.org/officeDocument/2006/relationships/image" Target="../media/image124.jpeg"/><Relationship Id="rId9" Type="http://schemas.openxmlformats.org/officeDocument/2006/relationships/diagramColors" Target="../diagrams/colors29.xml"/></Relationships>
</file>

<file path=ppt/slides/_rels/slide69.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69.xml"/><Relationship Id="rId1" Type="http://schemas.openxmlformats.org/officeDocument/2006/relationships/slideLayout" Target="../slideLayouts/slideLayout1.xml"/><Relationship Id="rId6" Type="http://schemas.openxmlformats.org/officeDocument/2006/relationships/image" Target="../media/image128.jpeg"/><Relationship Id="rId5" Type="http://schemas.openxmlformats.org/officeDocument/2006/relationships/image" Target="../media/image127.jpeg"/><Relationship Id="rId4" Type="http://schemas.openxmlformats.org/officeDocument/2006/relationships/image" Target="../media/image126.jpeg"/></Relationships>
</file>

<file path=ppt/slides/_rels/slide7.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7.xml"/><Relationship Id="rId1" Type="http://schemas.openxmlformats.org/officeDocument/2006/relationships/slideLayout" Target="../slideLayouts/slideLayout1.xml"/><Relationship Id="rId4" Type="http://schemas.openxmlformats.org/officeDocument/2006/relationships/image" Target="../media/image8.jpg"/></Relationships>
</file>

<file path=ppt/slides/_rels/slide70.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70.xml"/><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8" Type="http://schemas.microsoft.com/office/2007/relationships/diagramDrawing" Target="../diagrams/drawing30.xml"/><Relationship Id="rId3" Type="http://schemas.openxmlformats.org/officeDocument/2006/relationships/image" Target="../media/image1.jpg"/><Relationship Id="rId7" Type="http://schemas.openxmlformats.org/officeDocument/2006/relationships/diagramColors" Target="../diagrams/colors30.xml"/><Relationship Id="rId2" Type="http://schemas.openxmlformats.org/officeDocument/2006/relationships/notesSlide" Target="../notesSlides/notesSlide71.xml"/><Relationship Id="rId1" Type="http://schemas.openxmlformats.org/officeDocument/2006/relationships/slideLayout" Target="../slideLayouts/slideLayout1.xml"/><Relationship Id="rId6" Type="http://schemas.openxmlformats.org/officeDocument/2006/relationships/diagramQuickStyle" Target="../diagrams/quickStyle30.xml"/><Relationship Id="rId11" Type="http://schemas.openxmlformats.org/officeDocument/2006/relationships/image" Target="../media/image131.jpeg"/><Relationship Id="rId5" Type="http://schemas.openxmlformats.org/officeDocument/2006/relationships/diagramLayout" Target="../diagrams/layout30.xml"/><Relationship Id="rId10" Type="http://schemas.openxmlformats.org/officeDocument/2006/relationships/image" Target="../media/image130.jpeg"/><Relationship Id="rId4" Type="http://schemas.openxmlformats.org/officeDocument/2006/relationships/diagramData" Target="../diagrams/data30.xml"/><Relationship Id="rId9" Type="http://schemas.openxmlformats.org/officeDocument/2006/relationships/image" Target="../media/image129.jpeg"/></Relationships>
</file>

<file path=ppt/slides/_rels/slide72.xml.rels><?xml version="1.0" encoding="UTF-8" standalone="yes"?>
<Relationships xmlns="http://schemas.openxmlformats.org/package/2006/relationships"><Relationship Id="rId8" Type="http://schemas.openxmlformats.org/officeDocument/2006/relationships/diagramColors" Target="../diagrams/colors31.xml"/><Relationship Id="rId3" Type="http://schemas.openxmlformats.org/officeDocument/2006/relationships/image" Target="../media/image1.jpg"/><Relationship Id="rId7" Type="http://schemas.openxmlformats.org/officeDocument/2006/relationships/diagramQuickStyle" Target="../diagrams/quickStyle31.xml"/><Relationship Id="rId2" Type="http://schemas.openxmlformats.org/officeDocument/2006/relationships/notesSlide" Target="../notesSlides/notesSlide72.xml"/><Relationship Id="rId1" Type="http://schemas.openxmlformats.org/officeDocument/2006/relationships/slideLayout" Target="../slideLayouts/slideLayout1.xml"/><Relationship Id="rId6" Type="http://schemas.openxmlformats.org/officeDocument/2006/relationships/diagramLayout" Target="../diagrams/layout31.xml"/><Relationship Id="rId5" Type="http://schemas.openxmlformats.org/officeDocument/2006/relationships/diagramData" Target="../diagrams/data31.xml"/><Relationship Id="rId4" Type="http://schemas.openxmlformats.org/officeDocument/2006/relationships/image" Target="../media/image132.jpeg"/><Relationship Id="rId9" Type="http://schemas.microsoft.com/office/2007/relationships/diagramDrawing" Target="../diagrams/drawing31.xml"/></Relationships>
</file>

<file path=ppt/slides/_rels/slide73.xml.rels><?xml version="1.0" encoding="UTF-8" standalone="yes"?>
<Relationships xmlns="http://schemas.openxmlformats.org/package/2006/relationships"><Relationship Id="rId8" Type="http://schemas.microsoft.com/office/2007/relationships/diagramDrawing" Target="../diagrams/drawing32.xml"/><Relationship Id="rId3" Type="http://schemas.openxmlformats.org/officeDocument/2006/relationships/image" Target="../media/image1.jpg"/><Relationship Id="rId7" Type="http://schemas.openxmlformats.org/officeDocument/2006/relationships/diagramColors" Target="../diagrams/colors32.xml"/><Relationship Id="rId2" Type="http://schemas.openxmlformats.org/officeDocument/2006/relationships/notesSlide" Target="../notesSlides/notesSlide73.xml"/><Relationship Id="rId1" Type="http://schemas.openxmlformats.org/officeDocument/2006/relationships/slideLayout" Target="../slideLayouts/slideLayout1.xml"/><Relationship Id="rId6" Type="http://schemas.openxmlformats.org/officeDocument/2006/relationships/diagramQuickStyle" Target="../diagrams/quickStyle32.xml"/><Relationship Id="rId5" Type="http://schemas.openxmlformats.org/officeDocument/2006/relationships/diagramLayout" Target="../diagrams/layout32.xml"/><Relationship Id="rId4" Type="http://schemas.openxmlformats.org/officeDocument/2006/relationships/diagramData" Target="../diagrams/data32.xml"/></Relationships>
</file>

<file path=ppt/slides/_rels/slide74.xml.rels><?xml version="1.0" encoding="UTF-8" standalone="yes"?>
<Relationships xmlns="http://schemas.openxmlformats.org/package/2006/relationships"><Relationship Id="rId8" Type="http://schemas.microsoft.com/office/2007/relationships/diagramDrawing" Target="../diagrams/drawing33.xml"/><Relationship Id="rId3" Type="http://schemas.openxmlformats.org/officeDocument/2006/relationships/image" Target="../media/image1.jpg"/><Relationship Id="rId7" Type="http://schemas.openxmlformats.org/officeDocument/2006/relationships/diagramColors" Target="../diagrams/colors33.xml"/><Relationship Id="rId2" Type="http://schemas.openxmlformats.org/officeDocument/2006/relationships/notesSlide" Target="../notesSlides/notesSlide74.xml"/><Relationship Id="rId1" Type="http://schemas.openxmlformats.org/officeDocument/2006/relationships/slideLayout" Target="../slideLayouts/slideLayout1.xml"/><Relationship Id="rId6" Type="http://schemas.openxmlformats.org/officeDocument/2006/relationships/diagramQuickStyle" Target="../diagrams/quickStyle33.xml"/><Relationship Id="rId5" Type="http://schemas.openxmlformats.org/officeDocument/2006/relationships/diagramLayout" Target="../diagrams/layout33.xml"/><Relationship Id="rId10" Type="http://schemas.openxmlformats.org/officeDocument/2006/relationships/image" Target="../media/image9.jpeg"/><Relationship Id="rId4" Type="http://schemas.openxmlformats.org/officeDocument/2006/relationships/diagramData" Target="../diagrams/data33.xml"/><Relationship Id="rId9" Type="http://schemas.openxmlformats.org/officeDocument/2006/relationships/image" Target="../media/image133.jpeg"/></Relationships>
</file>

<file path=ppt/slides/_rels/slide75.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75.xml"/><Relationship Id="rId1" Type="http://schemas.openxmlformats.org/officeDocument/2006/relationships/slideLayout" Target="../slideLayouts/slideLayout1.xml"/></Relationships>
</file>

<file path=ppt/slides/_rels/slide76.xml.rels><?xml version="1.0" encoding="UTF-8" standalone="yes"?>
<Relationships xmlns="http://schemas.openxmlformats.org/package/2006/relationships"><Relationship Id="rId8" Type="http://schemas.microsoft.com/office/2007/relationships/diagramDrawing" Target="../diagrams/drawing34.xml"/><Relationship Id="rId3" Type="http://schemas.openxmlformats.org/officeDocument/2006/relationships/image" Target="../media/image1.jpg"/><Relationship Id="rId7" Type="http://schemas.openxmlformats.org/officeDocument/2006/relationships/diagramColors" Target="../diagrams/colors34.xml"/><Relationship Id="rId2" Type="http://schemas.openxmlformats.org/officeDocument/2006/relationships/notesSlide" Target="../notesSlides/notesSlide76.xml"/><Relationship Id="rId1" Type="http://schemas.openxmlformats.org/officeDocument/2006/relationships/slideLayout" Target="../slideLayouts/slideLayout1.xml"/><Relationship Id="rId6" Type="http://schemas.openxmlformats.org/officeDocument/2006/relationships/diagramQuickStyle" Target="../diagrams/quickStyle34.xml"/><Relationship Id="rId5" Type="http://schemas.openxmlformats.org/officeDocument/2006/relationships/diagramLayout" Target="../diagrams/layout34.xml"/><Relationship Id="rId10" Type="http://schemas.openxmlformats.org/officeDocument/2006/relationships/image" Target="../media/image135.jpg"/><Relationship Id="rId4" Type="http://schemas.openxmlformats.org/officeDocument/2006/relationships/diagramData" Target="../diagrams/data34.xml"/><Relationship Id="rId9" Type="http://schemas.openxmlformats.org/officeDocument/2006/relationships/image" Target="../media/image134.jpg"/></Relationships>
</file>

<file path=ppt/slides/_rels/slide77.xml.rels><?xml version="1.0" encoding="UTF-8" standalone="yes"?>
<Relationships xmlns="http://schemas.openxmlformats.org/package/2006/relationships"><Relationship Id="rId8" Type="http://schemas.openxmlformats.org/officeDocument/2006/relationships/diagramQuickStyle" Target="../diagrams/quickStyle35.xml"/><Relationship Id="rId3" Type="http://schemas.openxmlformats.org/officeDocument/2006/relationships/image" Target="../media/image1.jpg"/><Relationship Id="rId7" Type="http://schemas.openxmlformats.org/officeDocument/2006/relationships/diagramLayout" Target="../diagrams/layout35.xml"/><Relationship Id="rId2" Type="http://schemas.openxmlformats.org/officeDocument/2006/relationships/notesSlide" Target="../notesSlides/notesSlide77.xml"/><Relationship Id="rId1" Type="http://schemas.openxmlformats.org/officeDocument/2006/relationships/slideLayout" Target="../slideLayouts/slideLayout1.xml"/><Relationship Id="rId6" Type="http://schemas.openxmlformats.org/officeDocument/2006/relationships/diagramData" Target="../diagrams/data35.xml"/><Relationship Id="rId5" Type="http://schemas.openxmlformats.org/officeDocument/2006/relationships/image" Target="../media/image137.jpg"/><Relationship Id="rId10" Type="http://schemas.microsoft.com/office/2007/relationships/diagramDrawing" Target="../diagrams/drawing35.xml"/><Relationship Id="rId4" Type="http://schemas.openxmlformats.org/officeDocument/2006/relationships/image" Target="../media/image136.jpeg"/><Relationship Id="rId9" Type="http://schemas.openxmlformats.org/officeDocument/2006/relationships/diagramColors" Target="../diagrams/colors35.xml"/></Relationships>
</file>

<file path=ppt/slides/_rels/slide78.xml.rels><?xml version="1.0" encoding="UTF-8" standalone="yes"?>
<Relationships xmlns="http://schemas.openxmlformats.org/package/2006/relationships"><Relationship Id="rId8" Type="http://schemas.microsoft.com/office/2007/relationships/diagramDrawing" Target="../diagrams/drawing36.xml"/><Relationship Id="rId13" Type="http://schemas.microsoft.com/office/2007/relationships/diagramDrawing" Target="../diagrams/drawing37.xml"/><Relationship Id="rId3" Type="http://schemas.openxmlformats.org/officeDocument/2006/relationships/image" Target="../media/image1.jpg"/><Relationship Id="rId7" Type="http://schemas.openxmlformats.org/officeDocument/2006/relationships/diagramColors" Target="../diagrams/colors36.xml"/><Relationship Id="rId12" Type="http://schemas.openxmlformats.org/officeDocument/2006/relationships/diagramColors" Target="../diagrams/colors37.xml"/><Relationship Id="rId2" Type="http://schemas.openxmlformats.org/officeDocument/2006/relationships/notesSlide" Target="../notesSlides/notesSlide78.xml"/><Relationship Id="rId1" Type="http://schemas.openxmlformats.org/officeDocument/2006/relationships/slideLayout" Target="../slideLayouts/slideLayout1.xml"/><Relationship Id="rId6" Type="http://schemas.openxmlformats.org/officeDocument/2006/relationships/diagramQuickStyle" Target="../diagrams/quickStyle36.xml"/><Relationship Id="rId11" Type="http://schemas.openxmlformats.org/officeDocument/2006/relationships/diagramQuickStyle" Target="../diagrams/quickStyle37.xml"/><Relationship Id="rId5" Type="http://schemas.openxmlformats.org/officeDocument/2006/relationships/diagramLayout" Target="../diagrams/layout36.xml"/><Relationship Id="rId10" Type="http://schemas.openxmlformats.org/officeDocument/2006/relationships/diagramLayout" Target="../diagrams/layout37.xml"/><Relationship Id="rId4" Type="http://schemas.openxmlformats.org/officeDocument/2006/relationships/diagramData" Target="../diagrams/data36.xml"/><Relationship Id="rId9" Type="http://schemas.openxmlformats.org/officeDocument/2006/relationships/diagramData" Target="../diagrams/data37.xml"/></Relationships>
</file>

<file path=ppt/slides/_rels/slide79.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79.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8.xml"/><Relationship Id="rId1" Type="http://schemas.openxmlformats.org/officeDocument/2006/relationships/slideLayout" Target="../slideLayouts/slideLayout1.xml"/><Relationship Id="rId4" Type="http://schemas.openxmlformats.org/officeDocument/2006/relationships/image" Target="../media/image9.jpeg"/></Relationships>
</file>

<file path=ppt/slides/_rels/slide80.xml.rels><?xml version="1.0" encoding="UTF-8" standalone="yes"?>
<Relationships xmlns="http://schemas.openxmlformats.org/package/2006/relationships"><Relationship Id="rId8" Type="http://schemas.microsoft.com/office/2007/relationships/diagramDrawing" Target="../diagrams/drawing38.xml"/><Relationship Id="rId3" Type="http://schemas.openxmlformats.org/officeDocument/2006/relationships/image" Target="../media/image1.jpg"/><Relationship Id="rId7" Type="http://schemas.openxmlformats.org/officeDocument/2006/relationships/diagramColors" Target="../diagrams/colors38.xml"/><Relationship Id="rId2" Type="http://schemas.openxmlformats.org/officeDocument/2006/relationships/notesSlide" Target="../notesSlides/notesSlide80.xml"/><Relationship Id="rId1" Type="http://schemas.openxmlformats.org/officeDocument/2006/relationships/slideLayout" Target="../slideLayouts/slideLayout1.xml"/><Relationship Id="rId6" Type="http://schemas.openxmlformats.org/officeDocument/2006/relationships/diagramQuickStyle" Target="../diagrams/quickStyle38.xml"/><Relationship Id="rId5" Type="http://schemas.openxmlformats.org/officeDocument/2006/relationships/diagramLayout" Target="../diagrams/layout38.xml"/><Relationship Id="rId10" Type="http://schemas.openxmlformats.org/officeDocument/2006/relationships/image" Target="../media/image141.png"/><Relationship Id="rId4" Type="http://schemas.openxmlformats.org/officeDocument/2006/relationships/diagramData" Target="../diagrams/data38.xml"/><Relationship Id="rId9" Type="http://schemas.openxmlformats.org/officeDocument/2006/relationships/image" Target="../media/image140.jpg"/></Relationships>
</file>

<file path=ppt/slides/_rels/slide81.xml.rels><?xml version="1.0" encoding="UTF-8" standalone="yes"?>
<Relationships xmlns="http://schemas.openxmlformats.org/package/2006/relationships"><Relationship Id="rId8" Type="http://schemas.microsoft.com/office/2007/relationships/diagramDrawing" Target="../diagrams/drawing39.xml"/><Relationship Id="rId3" Type="http://schemas.openxmlformats.org/officeDocument/2006/relationships/image" Target="../media/image1.jpg"/><Relationship Id="rId7" Type="http://schemas.openxmlformats.org/officeDocument/2006/relationships/diagramColors" Target="../diagrams/colors39.xml"/><Relationship Id="rId2" Type="http://schemas.openxmlformats.org/officeDocument/2006/relationships/notesSlide" Target="../notesSlides/notesSlide81.xml"/><Relationship Id="rId1" Type="http://schemas.openxmlformats.org/officeDocument/2006/relationships/slideLayout" Target="../slideLayouts/slideLayout1.xml"/><Relationship Id="rId6" Type="http://schemas.openxmlformats.org/officeDocument/2006/relationships/diagramQuickStyle" Target="../diagrams/quickStyle39.xml"/><Relationship Id="rId5" Type="http://schemas.openxmlformats.org/officeDocument/2006/relationships/diagramLayout" Target="../diagrams/layout39.xml"/><Relationship Id="rId4" Type="http://schemas.openxmlformats.org/officeDocument/2006/relationships/diagramData" Target="../diagrams/data39.xml"/><Relationship Id="rId9" Type="http://schemas.openxmlformats.org/officeDocument/2006/relationships/image" Target="../media/image142.png"/></Relationships>
</file>

<file path=ppt/slides/_rels/slide82.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82.xml"/><Relationship Id="rId1" Type="http://schemas.openxmlformats.org/officeDocument/2006/relationships/slideLayout" Target="../slideLayouts/slideLayout1.xml"/><Relationship Id="rId5" Type="http://schemas.openxmlformats.org/officeDocument/2006/relationships/image" Target="../media/image144.png"/><Relationship Id="rId4" Type="http://schemas.openxmlformats.org/officeDocument/2006/relationships/image" Target="../media/image143.png"/></Relationships>
</file>

<file path=ppt/slides/_rels/slide83.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83.xml"/><Relationship Id="rId1" Type="http://schemas.openxmlformats.org/officeDocument/2006/relationships/slideLayout" Target="../slideLayouts/slideLayout1.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3.jpeg"/></Relationships>
</file>

<file path=ppt/slides/_rels/slide84.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notesSlide" Target="../notesSlides/notesSlide84.xml"/><Relationship Id="rId1" Type="http://schemas.openxmlformats.org/officeDocument/2006/relationships/slideLayout" Target="../slideLayouts/slideLayout1.xml"/><Relationship Id="rId6" Type="http://schemas.openxmlformats.org/officeDocument/2006/relationships/image" Target="../media/image147.jpeg"/><Relationship Id="rId5" Type="http://schemas.openxmlformats.org/officeDocument/2006/relationships/image" Target="../media/image146.jpeg"/><Relationship Id="rId4" Type="http://schemas.openxmlformats.org/officeDocument/2006/relationships/image" Target="../media/image145.jpg"/></Relationships>
</file>

<file path=ppt/slides/_rels/slide9.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18" Type="http://schemas.microsoft.com/office/2007/relationships/diagramDrawing" Target="../diagrams/drawing3.xml"/><Relationship Id="rId26" Type="http://schemas.openxmlformats.org/officeDocument/2006/relationships/diagramQuickStyle" Target="../diagrams/quickStyle5.xml"/><Relationship Id="rId3" Type="http://schemas.openxmlformats.org/officeDocument/2006/relationships/image" Target="../media/image1.jpg"/><Relationship Id="rId21" Type="http://schemas.openxmlformats.org/officeDocument/2006/relationships/diagramQuickStyle" Target="../diagrams/quickStyle4.xml"/><Relationship Id="rId7" Type="http://schemas.openxmlformats.org/officeDocument/2006/relationships/diagramColors" Target="../diagrams/colors1.xml"/><Relationship Id="rId12" Type="http://schemas.openxmlformats.org/officeDocument/2006/relationships/diagramColors" Target="../diagrams/colors2.xml"/><Relationship Id="rId17" Type="http://schemas.openxmlformats.org/officeDocument/2006/relationships/diagramColors" Target="../diagrams/colors3.xml"/><Relationship Id="rId25" Type="http://schemas.openxmlformats.org/officeDocument/2006/relationships/diagramLayout" Target="../diagrams/layout5.xml"/><Relationship Id="rId2" Type="http://schemas.openxmlformats.org/officeDocument/2006/relationships/notesSlide" Target="../notesSlides/notesSlide9.xml"/><Relationship Id="rId16" Type="http://schemas.openxmlformats.org/officeDocument/2006/relationships/diagramQuickStyle" Target="../diagrams/quickStyle3.xml"/><Relationship Id="rId20" Type="http://schemas.openxmlformats.org/officeDocument/2006/relationships/diagramLayout" Target="../diagrams/layout4.xml"/><Relationship Id="rId29" Type="http://schemas.openxmlformats.org/officeDocument/2006/relationships/image" Target="../media/image10.png"/><Relationship Id="rId1" Type="http://schemas.openxmlformats.org/officeDocument/2006/relationships/slideLayout" Target="../slideLayouts/slideLayout1.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24" Type="http://schemas.openxmlformats.org/officeDocument/2006/relationships/diagramData" Target="../diagrams/data5.xml"/><Relationship Id="rId5" Type="http://schemas.openxmlformats.org/officeDocument/2006/relationships/diagramLayout" Target="../diagrams/layout1.xml"/><Relationship Id="rId15" Type="http://schemas.openxmlformats.org/officeDocument/2006/relationships/diagramLayout" Target="../diagrams/layout3.xml"/><Relationship Id="rId23" Type="http://schemas.microsoft.com/office/2007/relationships/diagramDrawing" Target="../diagrams/drawing4.xml"/><Relationship Id="rId28" Type="http://schemas.microsoft.com/office/2007/relationships/diagramDrawing" Target="../diagrams/drawing5.xml"/><Relationship Id="rId10" Type="http://schemas.openxmlformats.org/officeDocument/2006/relationships/diagramLayout" Target="../diagrams/layout2.xml"/><Relationship Id="rId19" Type="http://schemas.openxmlformats.org/officeDocument/2006/relationships/diagramData" Target="../diagrams/data4.xml"/><Relationship Id="rId4" Type="http://schemas.openxmlformats.org/officeDocument/2006/relationships/diagramData" Target="../diagrams/data1.xml"/><Relationship Id="rId9" Type="http://schemas.openxmlformats.org/officeDocument/2006/relationships/diagramData" Target="../diagrams/data2.xml"/><Relationship Id="rId14" Type="http://schemas.openxmlformats.org/officeDocument/2006/relationships/diagramData" Target="../diagrams/data3.xml"/><Relationship Id="rId22" Type="http://schemas.openxmlformats.org/officeDocument/2006/relationships/diagramColors" Target="../diagrams/colors4.xml"/><Relationship Id="rId27" Type="http://schemas.openxmlformats.org/officeDocument/2006/relationships/diagramColors" Target="../diagrams/colors5.xml"/><Relationship Id="rId30" Type="http://schemas.openxmlformats.org/officeDocument/2006/relationships/image" Target="../media/image11.jpe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2AC51CAE-C13D-73FB-0528-99D968B0F9F8}"/>
              </a:ext>
            </a:extLst>
          </p:cNvPr>
          <p:cNvSpPr>
            <a:spLocks noGrp="1"/>
          </p:cNvSpPr>
          <p:nvPr>
            <p:ph type="ctrTitle"/>
          </p:nvPr>
        </p:nvSpPr>
        <p:spPr>
          <a:xfrm>
            <a:off x="1524000" y="1871720"/>
            <a:ext cx="9144000" cy="1579871"/>
          </a:xfrm>
        </p:spPr>
        <p:txBody>
          <a:bodyPr>
            <a:normAutofit fontScale="90000"/>
          </a:bodyPr>
          <a:lstStyle/>
          <a:p>
            <a:pPr>
              <a:defRPr sz="4000" b="1">
                <a:effectLst/>
                <a:latin typeface="Myriad Pro" panose="020B0503030403020204" pitchFamily="34" charset="0"/>
                <a:ea typeface="MS Mincho" panose="02020609040205080304" pitchFamily="49" charset="-128"/>
                <a:cs typeface="Calibri" panose="020F0502020204030204" pitchFamily="34" charset="0"/>
              </a:defRPr>
            </a:pPr>
            <a:r>
              <a:rPr dirty="0"/>
              <a:t>SMART Ankara Sürdürülebilir Kentsel Ulaşım Planı</a:t>
            </a:r>
            <a:br>
              <a:rPr lang="hr-HR" sz="3600" dirty="0">
                <a:effectLst/>
                <a:latin typeface="Myriad Pro" panose="020B0503030403020204" pitchFamily="34" charset="0"/>
                <a:ea typeface="MS Mincho" panose="02020609040205080304" pitchFamily="49" charset="-128"/>
                <a:cs typeface="Microsoft Uighur" panose="02000000000000000000" pitchFamily="2" charset="-78"/>
              </a:rPr>
            </a:br>
            <a:endParaRPr lang="en-TR" sz="4000" b="1" dirty="0">
              <a:latin typeface="Myriad Pro" panose="020B0503030403020204" pitchFamily="34" charset="0"/>
            </a:endParaRPr>
          </a:p>
        </p:txBody>
      </p:sp>
      <p:sp>
        <p:nvSpPr>
          <p:cNvPr id="6" name="TextBox 5">
            <a:extLst>
              <a:ext uri="{FF2B5EF4-FFF2-40B4-BE49-F238E27FC236}">
                <a16:creationId xmlns:a16="http://schemas.microsoft.com/office/drawing/2014/main" id="{EB32C6EC-BA92-167A-A513-4BDA9552414D}"/>
              </a:ext>
            </a:extLst>
          </p:cNvPr>
          <p:cNvSpPr txBox="1"/>
          <p:nvPr/>
        </p:nvSpPr>
        <p:spPr>
          <a:xfrm>
            <a:off x="2704687" y="3840651"/>
            <a:ext cx="6719970" cy="461665"/>
          </a:xfrm>
          <a:prstGeom prst="rect">
            <a:avLst/>
          </a:prstGeom>
          <a:noFill/>
        </p:spPr>
        <p:txBody>
          <a:bodyPr wrap="square">
            <a:spAutoFit/>
          </a:bodyPr>
          <a:lstStyle/>
          <a:p>
            <a:pPr algn="ctr">
              <a:defRPr sz="24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defRPr>
            </a:pPr>
            <a:r>
              <a:rPr dirty="0"/>
              <a:t>Ulaşım </a:t>
            </a:r>
            <a:r>
              <a:rPr lang="tr-TR" dirty="0"/>
              <a:t>Planlamasının</a:t>
            </a:r>
            <a:r>
              <a:rPr dirty="0"/>
              <a:t> </a:t>
            </a:r>
            <a:r>
              <a:rPr dirty="0" err="1"/>
              <a:t>Temel</a:t>
            </a:r>
            <a:r>
              <a:rPr dirty="0"/>
              <a:t> </a:t>
            </a:r>
            <a:r>
              <a:rPr dirty="0" err="1"/>
              <a:t>İlkeleri</a:t>
            </a:r>
            <a:r>
              <a:rPr dirty="0"/>
              <a:t> </a:t>
            </a:r>
            <a:endParaRPr lang="en-US" sz="2400" dirty="0"/>
          </a:p>
        </p:txBody>
      </p:sp>
    </p:spTree>
    <p:extLst>
      <p:ext uri="{BB962C8B-B14F-4D97-AF65-F5344CB8AC3E}">
        <p14:creationId xmlns:p14="http://schemas.microsoft.com/office/powerpoint/2010/main" val="262981040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ekstniOkvir 3">
            <a:extLst>
              <a:ext uri="{FF2B5EF4-FFF2-40B4-BE49-F238E27FC236}">
                <a16:creationId xmlns:a16="http://schemas.microsoft.com/office/drawing/2014/main" id="{559A8F87-380B-19B1-9C88-445E991D12A7}"/>
              </a:ext>
            </a:extLst>
          </p:cNvPr>
          <p:cNvSpPr txBox="1"/>
          <p:nvPr/>
        </p:nvSpPr>
        <p:spPr>
          <a:xfrm>
            <a:off x="3031449" y="1463882"/>
            <a:ext cx="6129102" cy="1077218"/>
          </a:xfrm>
          <a:prstGeom prst="rect">
            <a:avLst/>
          </a:prstGeom>
          <a:noFill/>
        </p:spPr>
        <p:txBody>
          <a:bodyPr wrap="square">
            <a:spAutoFit/>
          </a:bodyPr>
          <a:lstStyle/>
          <a:p>
            <a:pPr algn="ctr">
              <a:defRPr sz="3200" b="1"/>
            </a:pPr>
            <a:r>
              <a:t>Çevresel Hususların Ulaşım Planlamasındaki Yeri</a:t>
            </a:r>
            <a:endParaRPr lang="hr-HR" sz="3200" b="1" dirty="0">
              <a:ea typeface="MS Mincho" panose="02020609040205080304" pitchFamily="49" charset="-128"/>
              <a:cs typeface="Calibri" panose="020F0502020204030204" pitchFamily="34" charset="0"/>
            </a:endParaRPr>
          </a:p>
        </p:txBody>
      </p:sp>
      <p:sp>
        <p:nvSpPr>
          <p:cNvPr id="3" name="Rectangle 2">
            <a:extLst>
              <a:ext uri="{FF2B5EF4-FFF2-40B4-BE49-F238E27FC236}">
                <a16:creationId xmlns:a16="http://schemas.microsoft.com/office/drawing/2014/main" id="{F4998E69-B431-E329-61D5-19535B4D6896}"/>
              </a:ext>
            </a:extLst>
          </p:cNvPr>
          <p:cNvSpPr>
            <a:spLocks noChangeArrowheads="1"/>
          </p:cNvSpPr>
          <p:nvPr/>
        </p:nvSpPr>
        <p:spPr bwMode="auto">
          <a:xfrm>
            <a:off x="2082792" y="2564336"/>
            <a:ext cx="8026416" cy="369331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285750" indent="-285750" algn="just">
              <a:buFont typeface="Arial" panose="020B0604020202020204" pitchFamily="34" charset="0"/>
              <a:buChar char="•"/>
            </a:pPr>
            <a:r>
              <a:rPr dirty="0" err="1"/>
              <a:t>Çevresel</a:t>
            </a:r>
            <a:r>
              <a:rPr dirty="0"/>
              <a:t> </a:t>
            </a:r>
            <a:r>
              <a:rPr dirty="0" err="1"/>
              <a:t>hususlar</a:t>
            </a:r>
            <a:r>
              <a:rPr dirty="0"/>
              <a:t>, </a:t>
            </a:r>
            <a:r>
              <a:rPr dirty="0" err="1"/>
              <a:t>sürdürülebilir</a:t>
            </a:r>
            <a:r>
              <a:rPr dirty="0"/>
              <a:t> </a:t>
            </a:r>
            <a:r>
              <a:rPr dirty="0" err="1"/>
              <a:t>ulaşım</a:t>
            </a:r>
            <a:r>
              <a:rPr dirty="0"/>
              <a:t> </a:t>
            </a:r>
            <a:r>
              <a:rPr dirty="0" err="1"/>
              <a:t>sistemlerinin</a:t>
            </a:r>
            <a:r>
              <a:rPr dirty="0"/>
              <a:t> </a:t>
            </a:r>
            <a:r>
              <a:rPr dirty="0" err="1"/>
              <a:t>şekillendirilmesinde</a:t>
            </a:r>
            <a:r>
              <a:rPr dirty="0"/>
              <a:t> </a:t>
            </a:r>
            <a:r>
              <a:rPr dirty="0" err="1"/>
              <a:t>hayati</a:t>
            </a:r>
            <a:r>
              <a:rPr dirty="0"/>
              <a:t> </a:t>
            </a:r>
            <a:r>
              <a:rPr dirty="0" err="1"/>
              <a:t>bir</a:t>
            </a:r>
            <a:r>
              <a:rPr dirty="0"/>
              <a:t> </a:t>
            </a:r>
            <a:r>
              <a:rPr dirty="0" err="1"/>
              <a:t>rol</a:t>
            </a:r>
            <a:r>
              <a:rPr dirty="0"/>
              <a:t> </a:t>
            </a:r>
            <a:r>
              <a:rPr dirty="0" err="1"/>
              <a:t>oynamaktadır</a:t>
            </a:r>
            <a:r>
              <a:rPr dirty="0"/>
              <a:t>. Ulaşım, </a:t>
            </a:r>
            <a:r>
              <a:rPr dirty="0" err="1"/>
              <a:t>halk</a:t>
            </a:r>
            <a:r>
              <a:rPr dirty="0"/>
              <a:t> </a:t>
            </a:r>
            <a:r>
              <a:rPr dirty="0" err="1"/>
              <a:t>sağlığı</a:t>
            </a:r>
            <a:r>
              <a:rPr dirty="0"/>
              <a:t> </a:t>
            </a:r>
            <a:r>
              <a:rPr dirty="0" err="1"/>
              <a:t>ve</a:t>
            </a:r>
            <a:r>
              <a:rPr dirty="0"/>
              <a:t> </a:t>
            </a:r>
            <a:r>
              <a:rPr dirty="0" err="1"/>
              <a:t>çevre</a:t>
            </a:r>
            <a:r>
              <a:rPr dirty="0"/>
              <a:t> </a:t>
            </a:r>
            <a:r>
              <a:rPr dirty="0" err="1"/>
              <a:t>üzerinde</a:t>
            </a:r>
            <a:r>
              <a:rPr dirty="0"/>
              <a:t> </a:t>
            </a:r>
            <a:r>
              <a:rPr dirty="0" err="1"/>
              <a:t>olumsuz</a:t>
            </a:r>
            <a:r>
              <a:rPr dirty="0"/>
              <a:t> </a:t>
            </a:r>
            <a:r>
              <a:rPr dirty="0" err="1"/>
              <a:t>etkileri</a:t>
            </a:r>
            <a:r>
              <a:rPr dirty="0"/>
              <a:t> </a:t>
            </a:r>
            <a:r>
              <a:rPr dirty="0" err="1"/>
              <a:t>olan</a:t>
            </a:r>
            <a:r>
              <a:rPr dirty="0"/>
              <a:t> </a:t>
            </a:r>
            <a:r>
              <a:rPr dirty="0" err="1"/>
              <a:t>hava</a:t>
            </a:r>
            <a:r>
              <a:rPr dirty="0"/>
              <a:t> </a:t>
            </a:r>
            <a:r>
              <a:rPr dirty="0" err="1"/>
              <a:t>kirliliği</a:t>
            </a:r>
            <a:r>
              <a:rPr dirty="0"/>
              <a:t>, </a:t>
            </a:r>
            <a:r>
              <a:rPr dirty="0" err="1"/>
              <a:t>gürültü</a:t>
            </a:r>
            <a:r>
              <a:rPr dirty="0"/>
              <a:t> </a:t>
            </a:r>
            <a:r>
              <a:rPr dirty="0" err="1"/>
              <a:t>kirliliği</a:t>
            </a:r>
            <a:r>
              <a:rPr dirty="0"/>
              <a:t> </a:t>
            </a:r>
            <a:r>
              <a:rPr dirty="0" err="1"/>
              <a:t>ve</a:t>
            </a:r>
            <a:r>
              <a:rPr dirty="0"/>
              <a:t> sera </a:t>
            </a:r>
            <a:r>
              <a:rPr dirty="0" err="1"/>
              <a:t>gazı</a:t>
            </a:r>
            <a:r>
              <a:rPr dirty="0"/>
              <a:t> </a:t>
            </a:r>
            <a:r>
              <a:rPr dirty="0" err="1"/>
              <a:t>emisyonlarına</a:t>
            </a:r>
            <a:r>
              <a:rPr dirty="0"/>
              <a:t> </a:t>
            </a:r>
            <a:r>
              <a:rPr dirty="0" err="1"/>
              <a:t>önemli</a:t>
            </a:r>
            <a:r>
              <a:rPr dirty="0"/>
              <a:t> </a:t>
            </a:r>
            <a:r>
              <a:rPr dirty="0" err="1"/>
              <a:t>bir</a:t>
            </a:r>
            <a:r>
              <a:rPr dirty="0"/>
              <a:t> </a:t>
            </a:r>
            <a:r>
              <a:rPr dirty="0" err="1"/>
              <a:t>katkı</a:t>
            </a:r>
            <a:r>
              <a:rPr dirty="0"/>
              <a:t> </a:t>
            </a:r>
            <a:r>
              <a:rPr dirty="0" err="1"/>
              <a:t>sağlamaktadır</a:t>
            </a:r>
            <a:r>
              <a:rPr dirty="0"/>
              <a:t>.</a:t>
            </a:r>
            <a:endParaRPr lang="hr-HR" dirty="0"/>
          </a:p>
          <a:p>
            <a:pPr marL="285750" indent="-285750" algn="just">
              <a:buFont typeface="Arial" panose="020B0604020202020204" pitchFamily="34" charset="0"/>
              <a:buChar char="•"/>
            </a:pPr>
            <a:r>
              <a:rPr dirty="0"/>
              <a:t>Ulaşım </a:t>
            </a:r>
            <a:r>
              <a:rPr dirty="0" err="1"/>
              <a:t>planlamasında</a:t>
            </a:r>
            <a:r>
              <a:rPr dirty="0"/>
              <a:t>, </a:t>
            </a:r>
            <a:r>
              <a:rPr dirty="0" err="1"/>
              <a:t>ulaşım</a:t>
            </a:r>
            <a:r>
              <a:rPr dirty="0"/>
              <a:t> </a:t>
            </a:r>
            <a:r>
              <a:rPr dirty="0" err="1"/>
              <a:t>sistemlerinin</a:t>
            </a:r>
            <a:r>
              <a:rPr dirty="0"/>
              <a:t> </a:t>
            </a:r>
            <a:r>
              <a:rPr dirty="0" err="1"/>
              <a:t>çevresel</a:t>
            </a:r>
            <a:r>
              <a:rPr dirty="0"/>
              <a:t> </a:t>
            </a:r>
            <a:r>
              <a:rPr dirty="0" err="1"/>
              <a:t>ayak</a:t>
            </a:r>
            <a:r>
              <a:rPr dirty="0"/>
              <a:t> </a:t>
            </a:r>
            <a:r>
              <a:rPr dirty="0" err="1"/>
              <a:t>izini</a:t>
            </a:r>
            <a:r>
              <a:rPr dirty="0"/>
              <a:t> </a:t>
            </a:r>
            <a:r>
              <a:rPr dirty="0" err="1"/>
              <a:t>azaltmaya</a:t>
            </a:r>
            <a:r>
              <a:rPr dirty="0"/>
              <a:t> </a:t>
            </a:r>
            <a:r>
              <a:rPr dirty="0" err="1"/>
              <a:t>yönelik</a:t>
            </a:r>
            <a:r>
              <a:rPr dirty="0"/>
              <a:t> </a:t>
            </a:r>
            <a:r>
              <a:rPr dirty="0" err="1"/>
              <a:t>artan</a:t>
            </a:r>
            <a:r>
              <a:rPr dirty="0"/>
              <a:t> </a:t>
            </a:r>
            <a:r>
              <a:rPr dirty="0" err="1"/>
              <a:t>bir</a:t>
            </a:r>
            <a:r>
              <a:rPr dirty="0"/>
              <a:t> </a:t>
            </a:r>
            <a:r>
              <a:rPr dirty="0" err="1"/>
              <a:t>vurgu</a:t>
            </a:r>
            <a:r>
              <a:rPr dirty="0"/>
              <a:t> </a:t>
            </a:r>
            <a:r>
              <a:rPr dirty="0" err="1"/>
              <a:t>vardır</a:t>
            </a:r>
            <a:r>
              <a:rPr dirty="0"/>
              <a:t>. Sürdürülebilir </a:t>
            </a:r>
            <a:r>
              <a:rPr dirty="0" err="1"/>
              <a:t>ulaşım</a:t>
            </a:r>
            <a:r>
              <a:rPr dirty="0"/>
              <a:t> </a:t>
            </a:r>
            <a:r>
              <a:rPr dirty="0" err="1"/>
              <a:t>yöntemleri</a:t>
            </a:r>
            <a:r>
              <a:rPr dirty="0"/>
              <a:t> </a:t>
            </a:r>
            <a:r>
              <a:rPr dirty="0" err="1"/>
              <a:t>arasında</a:t>
            </a:r>
            <a:r>
              <a:rPr dirty="0"/>
              <a:t> </a:t>
            </a:r>
            <a:r>
              <a:rPr dirty="0" err="1"/>
              <a:t>toplu</a:t>
            </a:r>
            <a:r>
              <a:rPr dirty="0"/>
              <a:t> </a:t>
            </a:r>
            <a:r>
              <a:rPr dirty="0" err="1"/>
              <a:t>taşıma</a:t>
            </a:r>
            <a:r>
              <a:rPr dirty="0"/>
              <a:t>, </a:t>
            </a:r>
            <a:r>
              <a:rPr dirty="0" err="1"/>
              <a:t>yürüyüş</a:t>
            </a:r>
            <a:r>
              <a:rPr dirty="0"/>
              <a:t> </a:t>
            </a:r>
            <a:r>
              <a:rPr dirty="0" err="1"/>
              <a:t>ve</a:t>
            </a:r>
            <a:r>
              <a:rPr dirty="0"/>
              <a:t> </a:t>
            </a:r>
            <a:r>
              <a:rPr dirty="0" err="1"/>
              <a:t>bisikletin</a:t>
            </a:r>
            <a:r>
              <a:rPr dirty="0"/>
              <a:t> </a:t>
            </a:r>
            <a:r>
              <a:rPr dirty="0" err="1"/>
              <a:t>teşvik</a:t>
            </a:r>
            <a:r>
              <a:rPr dirty="0"/>
              <a:t> </a:t>
            </a:r>
            <a:r>
              <a:rPr dirty="0" err="1"/>
              <a:t>edilmesi</a:t>
            </a:r>
            <a:r>
              <a:rPr dirty="0"/>
              <a:t> </a:t>
            </a:r>
            <a:r>
              <a:rPr dirty="0" err="1"/>
              <a:t>ile</a:t>
            </a:r>
            <a:r>
              <a:rPr dirty="0"/>
              <a:t> </a:t>
            </a:r>
            <a:r>
              <a:rPr dirty="0" err="1"/>
              <a:t>birlikte</a:t>
            </a:r>
            <a:r>
              <a:rPr dirty="0"/>
              <a:t> </a:t>
            </a:r>
            <a:r>
              <a:rPr dirty="0" err="1"/>
              <a:t>elektrikli</a:t>
            </a:r>
            <a:r>
              <a:rPr dirty="0"/>
              <a:t> </a:t>
            </a:r>
            <a:r>
              <a:rPr dirty="0" err="1"/>
              <a:t>araçlar</a:t>
            </a:r>
            <a:r>
              <a:rPr dirty="0"/>
              <a:t> </a:t>
            </a:r>
            <a:r>
              <a:rPr dirty="0" err="1"/>
              <a:t>ve</a:t>
            </a:r>
            <a:r>
              <a:rPr dirty="0"/>
              <a:t> </a:t>
            </a:r>
            <a:r>
              <a:rPr dirty="0" err="1"/>
              <a:t>yenilenebilir</a:t>
            </a:r>
            <a:r>
              <a:rPr dirty="0"/>
              <a:t> </a:t>
            </a:r>
            <a:r>
              <a:rPr dirty="0" err="1"/>
              <a:t>enerji</a:t>
            </a:r>
            <a:r>
              <a:rPr dirty="0"/>
              <a:t> </a:t>
            </a:r>
            <a:r>
              <a:rPr dirty="0" err="1"/>
              <a:t>kaynakları</a:t>
            </a:r>
            <a:r>
              <a:rPr dirty="0"/>
              <a:t> </a:t>
            </a:r>
            <a:r>
              <a:rPr dirty="0" err="1"/>
              <a:t>gibi</a:t>
            </a:r>
            <a:r>
              <a:rPr dirty="0"/>
              <a:t> </a:t>
            </a:r>
            <a:r>
              <a:rPr dirty="0" err="1"/>
              <a:t>temiz</a:t>
            </a:r>
            <a:r>
              <a:rPr dirty="0"/>
              <a:t> </a:t>
            </a:r>
            <a:r>
              <a:rPr dirty="0" err="1"/>
              <a:t>enerji</a:t>
            </a:r>
            <a:r>
              <a:rPr dirty="0"/>
              <a:t> </a:t>
            </a:r>
            <a:r>
              <a:rPr dirty="0" err="1"/>
              <a:t>teknolojilerinin</a:t>
            </a:r>
            <a:r>
              <a:rPr dirty="0"/>
              <a:t> </a:t>
            </a:r>
            <a:r>
              <a:rPr dirty="0" err="1"/>
              <a:t>benimsenmesi</a:t>
            </a:r>
            <a:r>
              <a:rPr dirty="0"/>
              <a:t> de </a:t>
            </a:r>
            <a:r>
              <a:rPr dirty="0" err="1"/>
              <a:t>bulunmaktadır</a:t>
            </a:r>
            <a:r>
              <a:rPr dirty="0"/>
              <a:t>.</a:t>
            </a:r>
            <a:endParaRPr lang="hr-HR" dirty="0"/>
          </a:p>
          <a:p>
            <a:pPr marL="285750" indent="-285750" algn="just">
              <a:buFont typeface="Arial" panose="020B0604020202020204" pitchFamily="34" charset="0"/>
              <a:buChar char="•"/>
            </a:pPr>
            <a:r>
              <a:rPr dirty="0" err="1"/>
              <a:t>Şehirler</a:t>
            </a:r>
            <a:r>
              <a:rPr dirty="0"/>
              <a:t>, </a:t>
            </a:r>
            <a:r>
              <a:rPr dirty="0" err="1"/>
              <a:t>ulaşım</a:t>
            </a:r>
            <a:r>
              <a:rPr dirty="0"/>
              <a:t> </a:t>
            </a:r>
            <a:r>
              <a:rPr dirty="0" err="1"/>
              <a:t>planlamalarında</a:t>
            </a:r>
            <a:r>
              <a:rPr dirty="0"/>
              <a:t> </a:t>
            </a:r>
            <a:r>
              <a:rPr dirty="0" err="1"/>
              <a:t>çevresel</a:t>
            </a:r>
            <a:r>
              <a:rPr dirty="0"/>
              <a:t> </a:t>
            </a:r>
            <a:r>
              <a:rPr dirty="0" err="1"/>
              <a:t>etkileri</a:t>
            </a:r>
            <a:r>
              <a:rPr dirty="0"/>
              <a:t> </a:t>
            </a:r>
            <a:r>
              <a:rPr dirty="0" err="1"/>
              <a:t>hesaba</a:t>
            </a:r>
            <a:r>
              <a:rPr dirty="0"/>
              <a:t> </a:t>
            </a:r>
            <a:r>
              <a:rPr dirty="0" err="1"/>
              <a:t>katarak</a:t>
            </a:r>
            <a:r>
              <a:rPr dirty="0"/>
              <a:t> </a:t>
            </a:r>
            <a:r>
              <a:rPr dirty="0" err="1"/>
              <a:t>hava</a:t>
            </a:r>
            <a:r>
              <a:rPr dirty="0"/>
              <a:t> </a:t>
            </a:r>
            <a:r>
              <a:rPr dirty="0" err="1"/>
              <a:t>kalitesini</a:t>
            </a:r>
            <a:r>
              <a:rPr dirty="0"/>
              <a:t> </a:t>
            </a:r>
            <a:r>
              <a:rPr dirty="0" err="1"/>
              <a:t>iyileştirme</a:t>
            </a:r>
            <a:r>
              <a:rPr dirty="0"/>
              <a:t>, </a:t>
            </a:r>
            <a:r>
              <a:rPr dirty="0" err="1"/>
              <a:t>karbon</a:t>
            </a:r>
            <a:r>
              <a:rPr dirty="0"/>
              <a:t> </a:t>
            </a:r>
            <a:r>
              <a:rPr dirty="0" err="1"/>
              <a:t>salımlarını</a:t>
            </a:r>
            <a:r>
              <a:rPr dirty="0"/>
              <a:t> </a:t>
            </a:r>
            <a:r>
              <a:rPr dirty="0" err="1"/>
              <a:t>azaltma</a:t>
            </a:r>
            <a:r>
              <a:rPr dirty="0"/>
              <a:t>, </a:t>
            </a:r>
            <a:r>
              <a:rPr dirty="0" err="1"/>
              <a:t>gürültü</a:t>
            </a:r>
            <a:r>
              <a:rPr dirty="0"/>
              <a:t> </a:t>
            </a:r>
            <a:r>
              <a:rPr dirty="0" err="1"/>
              <a:t>kirliliğini</a:t>
            </a:r>
            <a:r>
              <a:rPr dirty="0"/>
              <a:t> </a:t>
            </a:r>
            <a:r>
              <a:rPr dirty="0" err="1"/>
              <a:t>azaltma</a:t>
            </a:r>
            <a:r>
              <a:rPr dirty="0"/>
              <a:t> </a:t>
            </a:r>
            <a:r>
              <a:rPr dirty="0" err="1"/>
              <a:t>ve</a:t>
            </a:r>
            <a:r>
              <a:rPr dirty="0"/>
              <a:t> </a:t>
            </a:r>
            <a:r>
              <a:rPr dirty="0" err="1"/>
              <a:t>ulaşım</a:t>
            </a:r>
            <a:r>
              <a:rPr dirty="0"/>
              <a:t> </a:t>
            </a:r>
            <a:r>
              <a:rPr dirty="0" err="1"/>
              <a:t>sistemlerinin</a:t>
            </a:r>
            <a:r>
              <a:rPr dirty="0"/>
              <a:t> </a:t>
            </a:r>
            <a:r>
              <a:rPr dirty="0" err="1"/>
              <a:t>genel</a:t>
            </a:r>
            <a:r>
              <a:rPr dirty="0"/>
              <a:t> </a:t>
            </a:r>
            <a:r>
              <a:rPr dirty="0" err="1"/>
              <a:t>sürdürülebilirliğini</a:t>
            </a:r>
            <a:r>
              <a:rPr dirty="0"/>
              <a:t> </a:t>
            </a:r>
            <a:r>
              <a:rPr dirty="0" err="1"/>
              <a:t>güçlendirme</a:t>
            </a:r>
            <a:r>
              <a:rPr dirty="0"/>
              <a:t> </a:t>
            </a:r>
            <a:r>
              <a:rPr dirty="0" err="1"/>
              <a:t>gibi</a:t>
            </a:r>
            <a:r>
              <a:rPr dirty="0"/>
              <a:t> </a:t>
            </a:r>
            <a:r>
              <a:rPr dirty="0" err="1"/>
              <a:t>bir</a:t>
            </a:r>
            <a:r>
              <a:rPr dirty="0"/>
              <a:t> dizi </a:t>
            </a:r>
            <a:r>
              <a:rPr dirty="0" err="1"/>
              <a:t>olumlu</a:t>
            </a:r>
            <a:r>
              <a:rPr dirty="0"/>
              <a:t> </a:t>
            </a:r>
            <a:r>
              <a:rPr dirty="0" err="1"/>
              <a:t>sonuç</a:t>
            </a:r>
            <a:r>
              <a:rPr dirty="0"/>
              <a:t> </a:t>
            </a:r>
            <a:r>
              <a:rPr dirty="0" err="1"/>
              <a:t>elde</a:t>
            </a:r>
            <a:r>
              <a:rPr dirty="0"/>
              <a:t> </a:t>
            </a:r>
            <a:r>
              <a:rPr dirty="0" err="1"/>
              <a:t>edebilirler</a:t>
            </a:r>
            <a:r>
              <a:rPr dirty="0"/>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pic>
        <p:nvPicPr>
          <p:cNvPr id="4" name="Picture 3" descr="A picture containing land vehicle, wheel, vehicle, bicycle  Description automatically generated">
            <a:extLst>
              <a:ext uri="{FF2B5EF4-FFF2-40B4-BE49-F238E27FC236}">
                <a16:creationId xmlns:a16="http://schemas.microsoft.com/office/drawing/2014/main" id="{7BCBA21A-FEC5-8DF7-D681-759DCFB85A78}"/>
              </a:ext>
            </a:extLst>
          </p:cNvPr>
          <p:cNvPicPr>
            <a:picLocks noChangeAspect="1"/>
          </p:cNvPicPr>
          <p:nvPr/>
        </p:nvPicPr>
        <p:blipFill>
          <a:blip r:embed="rId4"/>
          <a:stretch>
            <a:fillRect/>
          </a:stretch>
        </p:blipFill>
        <p:spPr>
          <a:xfrm>
            <a:off x="-515986" y="2982884"/>
            <a:ext cx="2986967" cy="2953216"/>
          </a:xfrm>
          <a:prstGeom prst="rect">
            <a:avLst/>
          </a:prstGeom>
          <a:effectLst>
            <a:softEdge rad="635000"/>
          </a:effectLst>
        </p:spPr>
      </p:pic>
      <p:pic>
        <p:nvPicPr>
          <p:cNvPr id="5" name="Picture 4" descr="A person and person riding a bicycle and running in a park  Description automatically generated with low confidence">
            <a:extLst>
              <a:ext uri="{FF2B5EF4-FFF2-40B4-BE49-F238E27FC236}">
                <a16:creationId xmlns:a16="http://schemas.microsoft.com/office/drawing/2014/main" id="{240E22C7-FAF1-1A2E-054C-C7F0A032ADFB}"/>
              </a:ext>
            </a:extLst>
          </p:cNvPr>
          <p:cNvPicPr>
            <a:picLocks noChangeAspect="1"/>
          </p:cNvPicPr>
          <p:nvPr/>
        </p:nvPicPr>
        <p:blipFill>
          <a:blip r:embed="rId5"/>
          <a:stretch>
            <a:fillRect/>
          </a:stretch>
        </p:blipFill>
        <p:spPr>
          <a:xfrm>
            <a:off x="92337" y="970397"/>
            <a:ext cx="2600064" cy="1495870"/>
          </a:xfrm>
          <a:prstGeom prst="rect">
            <a:avLst/>
          </a:prstGeom>
          <a:effectLst>
            <a:softEdge rad="63500"/>
          </a:effectLst>
        </p:spPr>
      </p:pic>
      <p:pic>
        <p:nvPicPr>
          <p:cNvPr id="6" name="Picture 5" descr="A picture containing animation, cartoon  Description automatically generated">
            <a:extLst>
              <a:ext uri="{FF2B5EF4-FFF2-40B4-BE49-F238E27FC236}">
                <a16:creationId xmlns:a16="http://schemas.microsoft.com/office/drawing/2014/main" id="{0C9D6FD0-B196-96C0-73A7-C05B470CD867}"/>
              </a:ext>
            </a:extLst>
          </p:cNvPr>
          <p:cNvPicPr>
            <a:picLocks noChangeAspect="1"/>
          </p:cNvPicPr>
          <p:nvPr/>
        </p:nvPicPr>
        <p:blipFill rotWithShape="1">
          <a:blip r:embed="rId6"/>
          <a:srcRect l="5956" r="7599" b="-2"/>
          <a:stretch/>
        </p:blipFill>
        <p:spPr>
          <a:xfrm>
            <a:off x="9160551" y="600345"/>
            <a:ext cx="3824503" cy="2953216"/>
          </a:xfrm>
          <a:custGeom>
            <a:avLst/>
            <a:gdLst/>
            <a:ahLst/>
            <a:cxnLst/>
            <a:rect l="l" t="t" r="r" b="b"/>
            <a:pathLst>
              <a:path w="4579876" h="3536502">
                <a:moveTo>
                  <a:pt x="457312" y="0"/>
                </a:moveTo>
                <a:lnTo>
                  <a:pt x="4579876" y="0"/>
                </a:lnTo>
                <a:lnTo>
                  <a:pt x="4579876" y="3057029"/>
                </a:lnTo>
                <a:lnTo>
                  <a:pt x="4508441" y="3086568"/>
                </a:lnTo>
                <a:cubicBezTo>
                  <a:pt x="4391572" y="3126663"/>
                  <a:pt x="4301124" y="3221848"/>
                  <a:pt x="4183947" y="3271738"/>
                </a:cubicBezTo>
                <a:cubicBezTo>
                  <a:pt x="4099090" y="3307854"/>
                  <a:pt x="4017967" y="3354374"/>
                  <a:pt x="3930625" y="3387123"/>
                </a:cubicBezTo>
                <a:cubicBezTo>
                  <a:pt x="3723932" y="3464557"/>
                  <a:pt x="3513195" y="3526689"/>
                  <a:pt x="3290337" y="3535564"/>
                </a:cubicBezTo>
                <a:cubicBezTo>
                  <a:pt x="3106332" y="3542605"/>
                  <a:pt x="1510274" y="3535872"/>
                  <a:pt x="861903" y="2528615"/>
                </a:cubicBezTo>
                <a:cubicBezTo>
                  <a:pt x="849470" y="2523717"/>
                  <a:pt x="835485" y="2510862"/>
                  <a:pt x="831133" y="2498619"/>
                </a:cubicBezTo>
                <a:cubicBezTo>
                  <a:pt x="810307" y="2441385"/>
                  <a:pt x="759333" y="2416594"/>
                  <a:pt x="713333" y="2385682"/>
                </a:cubicBezTo>
                <a:cubicBezTo>
                  <a:pt x="672925" y="2358442"/>
                  <a:pt x="630030" y="2329978"/>
                  <a:pt x="613246" y="2284067"/>
                </a:cubicBezTo>
                <a:cubicBezTo>
                  <a:pt x="591179" y="2222855"/>
                  <a:pt x="653963" y="2273050"/>
                  <a:pt x="665465" y="2249789"/>
                </a:cubicBezTo>
                <a:cubicBezTo>
                  <a:pt x="641532" y="2217960"/>
                  <a:pt x="604543" y="2188882"/>
                  <a:pt x="594908" y="2152767"/>
                </a:cubicBezTo>
                <a:cubicBezTo>
                  <a:pt x="559787" y="2022383"/>
                  <a:pt x="483946" y="1927503"/>
                  <a:pt x="370497" y="1853742"/>
                </a:cubicBezTo>
                <a:cubicBezTo>
                  <a:pt x="337861" y="1832624"/>
                  <a:pt x="316415" y="1794059"/>
                  <a:pt x="271969" y="1787940"/>
                </a:cubicBezTo>
                <a:cubicBezTo>
                  <a:pt x="173127" y="1774472"/>
                  <a:pt x="204209" y="1669186"/>
                  <a:pt x="151990" y="1622358"/>
                </a:cubicBezTo>
                <a:cubicBezTo>
                  <a:pt x="142044" y="1613481"/>
                  <a:pt x="133031" y="1596037"/>
                  <a:pt x="134895" y="1584102"/>
                </a:cubicBezTo>
                <a:cubicBezTo>
                  <a:pt x="137691" y="1566959"/>
                  <a:pt x="149504" y="1550739"/>
                  <a:pt x="159450" y="1535435"/>
                </a:cubicBezTo>
                <a:cubicBezTo>
                  <a:pt x="169708" y="1520133"/>
                  <a:pt x="185247" y="1506664"/>
                  <a:pt x="177788" y="1486465"/>
                </a:cubicBezTo>
                <a:cubicBezTo>
                  <a:pt x="174683" y="1478202"/>
                  <a:pt x="176855" y="1449432"/>
                  <a:pt x="153856" y="1472079"/>
                </a:cubicBezTo>
                <a:cubicBezTo>
                  <a:pt x="90760" y="1534212"/>
                  <a:pt x="54082" y="1475449"/>
                  <a:pt x="0" y="1447289"/>
                </a:cubicBezTo>
                <a:cubicBezTo>
                  <a:pt x="43515" y="1418212"/>
                  <a:pt x="82677" y="1397707"/>
                  <a:pt x="89205" y="1354247"/>
                </a:cubicBezTo>
                <a:cubicBezTo>
                  <a:pt x="102570" y="1264569"/>
                  <a:pt x="159758" y="1223557"/>
                  <a:pt x="246479" y="1215599"/>
                </a:cubicBezTo>
                <a:cubicBezTo>
                  <a:pt x="214465" y="1128983"/>
                  <a:pt x="214465" y="1128983"/>
                  <a:pt x="317968" y="1117045"/>
                </a:cubicBezTo>
                <a:cubicBezTo>
                  <a:pt x="278183" y="1061955"/>
                  <a:pt x="278183" y="1047876"/>
                  <a:pt x="326362" y="1028900"/>
                </a:cubicBezTo>
                <a:cubicBezTo>
                  <a:pt x="372673" y="1010841"/>
                  <a:pt x="423957" y="1004720"/>
                  <a:pt x="466852" y="976870"/>
                </a:cubicBezTo>
                <a:cubicBezTo>
                  <a:pt x="427377" y="906475"/>
                  <a:pt x="416188" y="824756"/>
                  <a:pt x="334754" y="790475"/>
                </a:cubicBezTo>
                <a:cubicBezTo>
                  <a:pt x="322010" y="785272"/>
                  <a:pt x="313307" y="764154"/>
                  <a:pt x="321386" y="751912"/>
                </a:cubicBezTo>
                <a:cubicBezTo>
                  <a:pt x="350915" y="707534"/>
                  <a:pt x="308644" y="623365"/>
                  <a:pt x="400645" y="613877"/>
                </a:cubicBezTo>
                <a:cubicBezTo>
                  <a:pt x="412147" y="612959"/>
                  <a:pt x="422716" y="603776"/>
                  <a:pt x="413701" y="591839"/>
                </a:cubicBezTo>
                <a:cubicBezTo>
                  <a:pt x="382618" y="550216"/>
                  <a:pt x="420228" y="552969"/>
                  <a:pt x="442917" y="547767"/>
                </a:cubicBezTo>
                <a:cubicBezTo>
                  <a:pt x="470271" y="541341"/>
                  <a:pt x="501353" y="559703"/>
                  <a:pt x="526840" y="537055"/>
                </a:cubicBezTo>
                <a:cubicBezTo>
                  <a:pt x="520932" y="513181"/>
                  <a:pt x="498866" y="513487"/>
                  <a:pt x="483325" y="505836"/>
                </a:cubicBezTo>
                <a:cubicBezTo>
                  <a:pt x="437946" y="483799"/>
                  <a:pt x="400956" y="457479"/>
                  <a:pt x="398780" y="400243"/>
                </a:cubicBezTo>
                <a:cubicBezTo>
                  <a:pt x="397229" y="354028"/>
                  <a:pt x="392255" y="313323"/>
                  <a:pt x="455041" y="299242"/>
                </a:cubicBezTo>
                <a:cubicBezTo>
                  <a:pt x="481149" y="293426"/>
                  <a:pt x="473687" y="260067"/>
                  <a:pt x="458769" y="243538"/>
                </a:cubicBezTo>
                <a:cubicBezTo>
                  <a:pt x="432038" y="214157"/>
                  <a:pt x="409972" y="174981"/>
                  <a:pt x="363969" y="172227"/>
                </a:cubicBezTo>
                <a:cubicBezTo>
                  <a:pt x="335995" y="170391"/>
                  <a:pt x="314549" y="158146"/>
                  <a:pt x="292481" y="144069"/>
                </a:cubicBezTo>
                <a:cubicBezTo>
                  <a:pt x="276630" y="133966"/>
                  <a:pt x="257670" y="125398"/>
                  <a:pt x="259534" y="103668"/>
                </a:cubicBezTo>
                <a:cubicBezTo>
                  <a:pt x="261399" y="82855"/>
                  <a:pt x="279736" y="74286"/>
                  <a:pt x="298387" y="70001"/>
                </a:cubicBezTo>
                <a:cubicBezTo>
                  <a:pt x="345011" y="59672"/>
                  <a:pt x="389535" y="45726"/>
                  <a:pt x="430782" y="19902"/>
                </a:cubicBezTo>
                <a:close/>
              </a:path>
            </a:pathLst>
          </a:custGeom>
          <a:effectLst>
            <a:softEdge rad="635000"/>
          </a:effectLst>
        </p:spPr>
      </p:pic>
      <p:pic>
        <p:nvPicPr>
          <p:cNvPr id="7" name="Picture 6" descr="A picture containing illustration, art, design  Description automatically generated">
            <a:extLst>
              <a:ext uri="{FF2B5EF4-FFF2-40B4-BE49-F238E27FC236}">
                <a16:creationId xmlns:a16="http://schemas.microsoft.com/office/drawing/2014/main" id="{A1C7B97D-88F3-4211-2B00-4BDD8891778E}"/>
              </a:ext>
            </a:extLst>
          </p:cNvPr>
          <p:cNvPicPr>
            <a:picLocks noChangeAspect="1"/>
          </p:cNvPicPr>
          <p:nvPr/>
        </p:nvPicPr>
        <p:blipFill rotWithShape="1">
          <a:blip r:embed="rId7"/>
          <a:srcRect l="38216" r="2791" b="2"/>
          <a:stretch/>
        </p:blipFill>
        <p:spPr>
          <a:xfrm>
            <a:off x="9439275" y="3831167"/>
            <a:ext cx="3142620" cy="2663511"/>
          </a:xfrm>
          <a:custGeom>
            <a:avLst/>
            <a:gdLst/>
            <a:ahLst/>
            <a:cxnLst/>
            <a:rect l="l" t="t" r="r" b="b"/>
            <a:pathLst>
              <a:path w="3747932" h="3176541">
                <a:moveTo>
                  <a:pt x="3239865" y="21"/>
                </a:moveTo>
                <a:cubicBezTo>
                  <a:pt x="3261821" y="112"/>
                  <a:pt x="3278837" y="498"/>
                  <a:pt x="3290337" y="938"/>
                </a:cubicBezTo>
                <a:cubicBezTo>
                  <a:pt x="3401766" y="5376"/>
                  <a:pt x="3510165" y="23128"/>
                  <a:pt x="3616543" y="49449"/>
                </a:cubicBezTo>
                <a:lnTo>
                  <a:pt x="3747932" y="87091"/>
                </a:lnTo>
                <a:lnTo>
                  <a:pt x="3747932" y="3176541"/>
                </a:lnTo>
                <a:lnTo>
                  <a:pt x="401358" y="3176541"/>
                </a:lnTo>
                <a:lnTo>
                  <a:pt x="398780" y="3136258"/>
                </a:lnTo>
                <a:cubicBezTo>
                  <a:pt x="400956" y="3079023"/>
                  <a:pt x="437945" y="3052703"/>
                  <a:pt x="483325" y="3030665"/>
                </a:cubicBezTo>
                <a:cubicBezTo>
                  <a:pt x="498866" y="3023015"/>
                  <a:pt x="520932" y="3023320"/>
                  <a:pt x="526840" y="2999447"/>
                </a:cubicBezTo>
                <a:cubicBezTo>
                  <a:pt x="501352" y="2976798"/>
                  <a:pt x="470270" y="2995161"/>
                  <a:pt x="442916" y="2988735"/>
                </a:cubicBezTo>
                <a:cubicBezTo>
                  <a:pt x="420228" y="2983533"/>
                  <a:pt x="382618" y="2986286"/>
                  <a:pt x="413701" y="2944662"/>
                </a:cubicBezTo>
                <a:cubicBezTo>
                  <a:pt x="422716" y="2932726"/>
                  <a:pt x="412147" y="2923542"/>
                  <a:pt x="400645" y="2922625"/>
                </a:cubicBezTo>
                <a:cubicBezTo>
                  <a:pt x="308644" y="2913137"/>
                  <a:pt x="350915" y="2828968"/>
                  <a:pt x="321386" y="2784590"/>
                </a:cubicBezTo>
                <a:cubicBezTo>
                  <a:pt x="313307" y="2772348"/>
                  <a:pt x="322010" y="2751230"/>
                  <a:pt x="334753" y="2746027"/>
                </a:cubicBezTo>
                <a:cubicBezTo>
                  <a:pt x="416187" y="2711746"/>
                  <a:pt x="427377" y="2630027"/>
                  <a:pt x="466852" y="2559632"/>
                </a:cubicBezTo>
                <a:cubicBezTo>
                  <a:pt x="423957" y="2531782"/>
                  <a:pt x="372673" y="2525661"/>
                  <a:pt x="326361" y="2507602"/>
                </a:cubicBezTo>
                <a:cubicBezTo>
                  <a:pt x="278183" y="2488626"/>
                  <a:pt x="278183" y="2474547"/>
                  <a:pt x="317968" y="2419457"/>
                </a:cubicBezTo>
                <a:cubicBezTo>
                  <a:pt x="214465" y="2407519"/>
                  <a:pt x="214465" y="2407519"/>
                  <a:pt x="246479" y="2320903"/>
                </a:cubicBezTo>
                <a:cubicBezTo>
                  <a:pt x="159758" y="2312945"/>
                  <a:pt x="102570" y="2271933"/>
                  <a:pt x="89205" y="2182255"/>
                </a:cubicBezTo>
                <a:cubicBezTo>
                  <a:pt x="82677" y="2138795"/>
                  <a:pt x="43514" y="2118290"/>
                  <a:pt x="0" y="2089213"/>
                </a:cubicBezTo>
                <a:cubicBezTo>
                  <a:pt x="54081" y="2061053"/>
                  <a:pt x="90759" y="2002290"/>
                  <a:pt x="153855" y="2064423"/>
                </a:cubicBezTo>
                <a:cubicBezTo>
                  <a:pt x="176855" y="2087070"/>
                  <a:pt x="174683" y="2058300"/>
                  <a:pt x="177788" y="2050037"/>
                </a:cubicBezTo>
                <a:cubicBezTo>
                  <a:pt x="185247" y="2029838"/>
                  <a:pt x="169707" y="2016369"/>
                  <a:pt x="159450" y="2001067"/>
                </a:cubicBezTo>
                <a:cubicBezTo>
                  <a:pt x="149504" y="1985763"/>
                  <a:pt x="137691" y="1969543"/>
                  <a:pt x="134895" y="1952400"/>
                </a:cubicBezTo>
                <a:cubicBezTo>
                  <a:pt x="133031" y="1940465"/>
                  <a:pt x="142044" y="1923021"/>
                  <a:pt x="151990" y="1914144"/>
                </a:cubicBezTo>
                <a:cubicBezTo>
                  <a:pt x="204209" y="1867316"/>
                  <a:pt x="173127" y="1762030"/>
                  <a:pt x="271969" y="1748562"/>
                </a:cubicBezTo>
                <a:cubicBezTo>
                  <a:pt x="316415" y="1742443"/>
                  <a:pt x="337860" y="1703878"/>
                  <a:pt x="370497" y="1682760"/>
                </a:cubicBezTo>
                <a:cubicBezTo>
                  <a:pt x="483946" y="1608999"/>
                  <a:pt x="559787" y="1514119"/>
                  <a:pt x="594908" y="1383735"/>
                </a:cubicBezTo>
                <a:cubicBezTo>
                  <a:pt x="604543" y="1347620"/>
                  <a:pt x="641532" y="1318542"/>
                  <a:pt x="665465" y="1286713"/>
                </a:cubicBezTo>
                <a:cubicBezTo>
                  <a:pt x="653963" y="1263452"/>
                  <a:pt x="591178" y="1313647"/>
                  <a:pt x="613246" y="1252435"/>
                </a:cubicBezTo>
                <a:cubicBezTo>
                  <a:pt x="630030" y="1206524"/>
                  <a:pt x="672925" y="1178060"/>
                  <a:pt x="713332" y="1150820"/>
                </a:cubicBezTo>
                <a:cubicBezTo>
                  <a:pt x="759333" y="1119908"/>
                  <a:pt x="810307" y="1095117"/>
                  <a:pt x="831133" y="1037883"/>
                </a:cubicBezTo>
                <a:cubicBezTo>
                  <a:pt x="835485" y="1025640"/>
                  <a:pt x="849470" y="1012785"/>
                  <a:pt x="861903" y="1007887"/>
                </a:cubicBezTo>
                <a:cubicBezTo>
                  <a:pt x="1469751" y="63584"/>
                  <a:pt x="2910527" y="-1353"/>
                  <a:pt x="3239865" y="21"/>
                </a:cubicBezTo>
                <a:close/>
              </a:path>
            </a:pathLst>
          </a:custGeom>
          <a:effectLst>
            <a:softEdge rad="635000"/>
          </a:effectLst>
        </p:spPr>
      </p:pic>
    </p:spTree>
    <p:extLst>
      <p:ext uri="{BB962C8B-B14F-4D97-AF65-F5344CB8AC3E}">
        <p14:creationId xmlns:p14="http://schemas.microsoft.com/office/powerpoint/2010/main" val="18971264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9">
            <a:extLst>
              <a:ext uri="{FF2B5EF4-FFF2-40B4-BE49-F238E27FC236}">
                <a16:creationId xmlns:a16="http://schemas.microsoft.com/office/drawing/2014/main" id="{F47D319F-2C14-BAC7-5663-E59DEAAAA81E}"/>
              </a:ext>
            </a:extLst>
          </p:cNvPr>
          <p:cNvSpPr txBox="1">
            <a:spLocks/>
          </p:cNvSpPr>
          <p:nvPr/>
        </p:nvSpPr>
        <p:spPr>
          <a:xfrm>
            <a:off x="0" y="1183216"/>
            <a:ext cx="10515600" cy="885825"/>
          </a:xfrm>
          <a:prstGeom prst="rect">
            <a:avLst/>
          </a:prstGeom>
        </p:spPr>
        <p:txBody>
          <a:bodyPr vert="horz" lIns="91440" tIns="45720" rIns="91440" bIns="4572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defRPr sz="3200" b="1"/>
            </a:pPr>
            <a:r>
              <a:rPr dirty="0"/>
              <a:t>Sürdürülebilir Kentsel Ulaşım </a:t>
            </a:r>
            <a:r>
              <a:rPr dirty="0" err="1"/>
              <a:t>Planlaması</a:t>
            </a:r>
            <a:r>
              <a:rPr dirty="0"/>
              <a:t> (SKUp) </a:t>
            </a:r>
            <a:r>
              <a:rPr dirty="0" err="1"/>
              <a:t>Nedir</a:t>
            </a:r>
            <a:r>
              <a:rPr dirty="0"/>
              <a:t>?</a:t>
            </a:r>
            <a:endParaRPr lang="en-US" b="1" dirty="0"/>
          </a:p>
        </p:txBody>
      </p:sp>
      <p:sp>
        <p:nvSpPr>
          <p:cNvPr id="3" name="Content Placeholder 10">
            <a:extLst>
              <a:ext uri="{FF2B5EF4-FFF2-40B4-BE49-F238E27FC236}">
                <a16:creationId xmlns:a16="http://schemas.microsoft.com/office/drawing/2014/main" id="{55AE0D08-56C5-B5F4-EEA8-92F66E47F8B9}"/>
              </a:ext>
            </a:extLst>
          </p:cNvPr>
          <p:cNvSpPr txBox="1">
            <a:spLocks/>
          </p:cNvSpPr>
          <p:nvPr/>
        </p:nvSpPr>
        <p:spPr>
          <a:xfrm>
            <a:off x="838200" y="2333625"/>
            <a:ext cx="6867524" cy="3341159"/>
          </a:xfrm>
          <a:prstGeom prst="rect">
            <a:avLst/>
          </a:prstGeom>
        </p:spPr>
        <p:txBody>
          <a:bodyPr vert="horz" lIns="91440" tIns="45720" rIns="91440" bIns="4572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just">
              <a:buFont typeface="Arial" panose="020B0604020202020204" pitchFamily="34" charset="0"/>
              <a:buChar char="•"/>
              <a:defRPr sz="1800"/>
            </a:pPr>
            <a:r>
              <a:rPr dirty="0"/>
              <a:t>SKUp, </a:t>
            </a:r>
            <a:r>
              <a:rPr dirty="0" err="1"/>
              <a:t>sürdürülebilirlik</a:t>
            </a:r>
            <a:r>
              <a:rPr dirty="0"/>
              <a:t> </a:t>
            </a:r>
            <a:r>
              <a:rPr dirty="0" err="1"/>
              <a:t>ilkelerini</a:t>
            </a:r>
            <a:r>
              <a:rPr dirty="0"/>
              <a:t> </a:t>
            </a:r>
            <a:r>
              <a:rPr dirty="0" err="1"/>
              <a:t>kentsel</a:t>
            </a:r>
            <a:r>
              <a:rPr dirty="0"/>
              <a:t> </a:t>
            </a:r>
            <a:r>
              <a:rPr dirty="0" err="1"/>
              <a:t>ulaşım</a:t>
            </a:r>
            <a:r>
              <a:rPr dirty="0"/>
              <a:t> </a:t>
            </a:r>
            <a:r>
              <a:rPr dirty="0" err="1"/>
              <a:t>planlama</a:t>
            </a:r>
            <a:r>
              <a:rPr dirty="0"/>
              <a:t> </a:t>
            </a:r>
            <a:r>
              <a:rPr dirty="0" err="1"/>
              <a:t>ve</a:t>
            </a:r>
            <a:r>
              <a:rPr dirty="0"/>
              <a:t> </a:t>
            </a:r>
            <a:r>
              <a:rPr dirty="0" err="1"/>
              <a:t>politika</a:t>
            </a:r>
            <a:r>
              <a:rPr dirty="0"/>
              <a:t> </a:t>
            </a:r>
            <a:r>
              <a:rPr dirty="0" err="1"/>
              <a:t>oluşturma</a:t>
            </a:r>
            <a:r>
              <a:rPr dirty="0"/>
              <a:t> </a:t>
            </a:r>
            <a:r>
              <a:rPr dirty="0" err="1"/>
              <a:t>süreçlerine</a:t>
            </a:r>
            <a:r>
              <a:rPr dirty="0"/>
              <a:t> </a:t>
            </a:r>
            <a:r>
              <a:rPr dirty="0" err="1"/>
              <a:t>dahil</a:t>
            </a:r>
            <a:r>
              <a:rPr dirty="0"/>
              <a:t> </a:t>
            </a:r>
            <a:r>
              <a:rPr dirty="0" err="1"/>
              <a:t>eden</a:t>
            </a:r>
            <a:r>
              <a:rPr dirty="0"/>
              <a:t> </a:t>
            </a:r>
            <a:r>
              <a:rPr dirty="0" err="1"/>
              <a:t>bir</a:t>
            </a:r>
            <a:r>
              <a:rPr dirty="0"/>
              <a:t> </a:t>
            </a:r>
            <a:r>
              <a:rPr dirty="0" err="1"/>
              <a:t>yaklaşımdır</a:t>
            </a:r>
            <a:r>
              <a:rPr dirty="0"/>
              <a:t>. Bu, </a:t>
            </a:r>
            <a:r>
              <a:rPr dirty="0" err="1"/>
              <a:t>şehirlerin</a:t>
            </a:r>
            <a:r>
              <a:rPr dirty="0"/>
              <a:t> </a:t>
            </a:r>
            <a:r>
              <a:rPr dirty="0" err="1"/>
              <a:t>çevresel</a:t>
            </a:r>
            <a:r>
              <a:rPr dirty="0"/>
              <a:t>, </a:t>
            </a:r>
            <a:r>
              <a:rPr dirty="0" err="1"/>
              <a:t>sosyal</a:t>
            </a:r>
            <a:r>
              <a:rPr dirty="0"/>
              <a:t> </a:t>
            </a:r>
            <a:r>
              <a:rPr dirty="0" err="1"/>
              <a:t>ve</a:t>
            </a:r>
            <a:r>
              <a:rPr dirty="0"/>
              <a:t> </a:t>
            </a:r>
            <a:r>
              <a:rPr dirty="0" err="1"/>
              <a:t>ekonomik</a:t>
            </a:r>
            <a:r>
              <a:rPr dirty="0"/>
              <a:t> </a:t>
            </a:r>
            <a:r>
              <a:rPr dirty="0" err="1"/>
              <a:t>hedefleri</a:t>
            </a:r>
            <a:r>
              <a:rPr dirty="0"/>
              <a:t> </a:t>
            </a:r>
            <a:r>
              <a:rPr dirty="0" err="1"/>
              <a:t>önceliklendiren</a:t>
            </a:r>
            <a:r>
              <a:rPr dirty="0"/>
              <a:t> </a:t>
            </a:r>
            <a:r>
              <a:rPr dirty="0" err="1"/>
              <a:t>bütüncül</a:t>
            </a:r>
            <a:r>
              <a:rPr dirty="0"/>
              <a:t> </a:t>
            </a:r>
            <a:r>
              <a:rPr dirty="0" err="1"/>
              <a:t>ve</a:t>
            </a:r>
            <a:r>
              <a:rPr dirty="0"/>
              <a:t> </a:t>
            </a:r>
            <a:r>
              <a:rPr dirty="0" err="1"/>
              <a:t>çoklu</a:t>
            </a:r>
            <a:r>
              <a:rPr dirty="0"/>
              <a:t> </a:t>
            </a:r>
            <a:r>
              <a:rPr dirty="0" err="1"/>
              <a:t>taşıma</a:t>
            </a:r>
            <a:r>
              <a:rPr dirty="0"/>
              <a:t> </a:t>
            </a:r>
            <a:r>
              <a:rPr dirty="0" err="1"/>
              <a:t>stratejileri</a:t>
            </a:r>
            <a:r>
              <a:rPr dirty="0"/>
              <a:t> </a:t>
            </a:r>
            <a:r>
              <a:rPr dirty="0" err="1"/>
              <a:t>geliştirmeleri</a:t>
            </a:r>
            <a:r>
              <a:rPr dirty="0"/>
              <a:t> </a:t>
            </a:r>
            <a:r>
              <a:rPr dirty="0" err="1"/>
              <a:t>için</a:t>
            </a:r>
            <a:r>
              <a:rPr dirty="0"/>
              <a:t> </a:t>
            </a:r>
            <a:r>
              <a:rPr dirty="0" err="1"/>
              <a:t>bir</a:t>
            </a:r>
            <a:r>
              <a:rPr dirty="0"/>
              <a:t> </a:t>
            </a:r>
            <a:r>
              <a:rPr dirty="0" err="1"/>
              <a:t>çerçeve</a:t>
            </a:r>
            <a:r>
              <a:rPr dirty="0"/>
              <a:t> </a:t>
            </a:r>
            <a:r>
              <a:rPr dirty="0" err="1"/>
              <a:t>sunmaktadır</a:t>
            </a:r>
            <a:r>
              <a:rPr dirty="0"/>
              <a:t>.</a:t>
            </a:r>
          </a:p>
          <a:p>
            <a:pPr algn="just">
              <a:buFont typeface="Arial" panose="020B0604020202020204" pitchFamily="34" charset="0"/>
              <a:buChar char="•"/>
              <a:defRPr sz="1800"/>
            </a:pPr>
            <a:r>
              <a:rPr dirty="0"/>
              <a:t>SKUp, </a:t>
            </a:r>
            <a:r>
              <a:rPr dirty="0" err="1"/>
              <a:t>paydaş</a:t>
            </a:r>
            <a:r>
              <a:rPr dirty="0"/>
              <a:t> </a:t>
            </a:r>
            <a:r>
              <a:rPr dirty="0" err="1"/>
              <a:t>katılımı</a:t>
            </a:r>
            <a:r>
              <a:rPr dirty="0"/>
              <a:t>, </a:t>
            </a:r>
            <a:r>
              <a:rPr dirty="0" err="1"/>
              <a:t>veri</a:t>
            </a:r>
            <a:r>
              <a:rPr dirty="0"/>
              <a:t> </a:t>
            </a:r>
            <a:r>
              <a:rPr dirty="0" err="1"/>
              <a:t>odaklı</a:t>
            </a:r>
            <a:r>
              <a:rPr dirty="0"/>
              <a:t> </a:t>
            </a:r>
            <a:r>
              <a:rPr dirty="0" err="1"/>
              <a:t>karar</a:t>
            </a:r>
            <a:r>
              <a:rPr dirty="0"/>
              <a:t> alma </a:t>
            </a:r>
            <a:r>
              <a:rPr dirty="0" err="1"/>
              <a:t>ve</a:t>
            </a:r>
            <a:r>
              <a:rPr dirty="0"/>
              <a:t> </a:t>
            </a:r>
            <a:r>
              <a:rPr dirty="0" err="1"/>
              <a:t>uzun</a:t>
            </a:r>
            <a:r>
              <a:rPr dirty="0"/>
              <a:t> </a:t>
            </a:r>
            <a:r>
              <a:rPr dirty="0" err="1"/>
              <a:t>vadeli</a:t>
            </a:r>
            <a:r>
              <a:rPr dirty="0"/>
              <a:t> </a:t>
            </a:r>
            <a:r>
              <a:rPr dirty="0" err="1"/>
              <a:t>planlamanın</a:t>
            </a:r>
            <a:r>
              <a:rPr dirty="0"/>
              <a:t> </a:t>
            </a:r>
            <a:r>
              <a:rPr dirty="0" err="1"/>
              <a:t>önemini</a:t>
            </a:r>
            <a:r>
              <a:rPr dirty="0"/>
              <a:t> </a:t>
            </a:r>
            <a:r>
              <a:rPr dirty="0" err="1"/>
              <a:t>vurgulamaktadır</a:t>
            </a:r>
            <a:r>
              <a:rPr dirty="0"/>
              <a:t>. Bu </a:t>
            </a:r>
            <a:r>
              <a:rPr dirty="0" err="1"/>
              <a:t>yaklaşım</a:t>
            </a:r>
            <a:r>
              <a:rPr dirty="0"/>
              <a:t>, </a:t>
            </a:r>
            <a:r>
              <a:rPr dirty="0" err="1"/>
              <a:t>şehirlerin</a:t>
            </a:r>
            <a:r>
              <a:rPr dirty="0"/>
              <a:t> </a:t>
            </a:r>
            <a:r>
              <a:rPr dirty="0" err="1"/>
              <a:t>araç</a:t>
            </a:r>
            <a:r>
              <a:rPr dirty="0"/>
              <a:t> </a:t>
            </a:r>
            <a:r>
              <a:rPr dirty="0" err="1"/>
              <a:t>odaklı</a:t>
            </a:r>
            <a:r>
              <a:rPr dirty="0"/>
              <a:t> </a:t>
            </a:r>
            <a:r>
              <a:rPr dirty="0" err="1"/>
              <a:t>planlamadan</a:t>
            </a:r>
            <a:r>
              <a:rPr dirty="0"/>
              <a:t> </a:t>
            </a:r>
            <a:r>
              <a:rPr dirty="0" err="1"/>
              <a:t>daha</a:t>
            </a:r>
            <a:r>
              <a:rPr dirty="0"/>
              <a:t> </a:t>
            </a:r>
            <a:r>
              <a:rPr dirty="0" err="1"/>
              <a:t>sürdürülebilir</a:t>
            </a:r>
            <a:r>
              <a:rPr dirty="0"/>
              <a:t> </a:t>
            </a:r>
            <a:r>
              <a:rPr dirty="0" err="1"/>
              <a:t>ve</a:t>
            </a:r>
            <a:r>
              <a:rPr dirty="0"/>
              <a:t> </a:t>
            </a:r>
            <a:r>
              <a:rPr dirty="0" err="1"/>
              <a:t>kapsayıcı</a:t>
            </a:r>
            <a:r>
              <a:rPr dirty="0"/>
              <a:t> </a:t>
            </a:r>
            <a:r>
              <a:rPr dirty="0" err="1"/>
              <a:t>mobilite</a:t>
            </a:r>
            <a:r>
              <a:rPr dirty="0"/>
              <a:t> </a:t>
            </a:r>
            <a:r>
              <a:rPr dirty="0" err="1"/>
              <a:t>çözümlerine</a:t>
            </a:r>
            <a:r>
              <a:rPr dirty="0"/>
              <a:t> </a:t>
            </a:r>
            <a:r>
              <a:rPr dirty="0" err="1"/>
              <a:t>yönelmelerini</a:t>
            </a:r>
            <a:r>
              <a:rPr dirty="0"/>
              <a:t> </a:t>
            </a:r>
            <a:r>
              <a:rPr dirty="0" err="1"/>
              <a:t>sağlamak</a:t>
            </a:r>
            <a:r>
              <a:rPr dirty="0"/>
              <a:t> </a:t>
            </a:r>
            <a:r>
              <a:rPr dirty="0" err="1"/>
              <a:t>için</a:t>
            </a:r>
            <a:r>
              <a:rPr dirty="0"/>
              <a:t> </a:t>
            </a:r>
            <a:r>
              <a:rPr dirty="0" err="1"/>
              <a:t>toplu</a:t>
            </a:r>
            <a:r>
              <a:rPr dirty="0"/>
              <a:t> </a:t>
            </a:r>
            <a:r>
              <a:rPr dirty="0" err="1"/>
              <a:t>taşıma</a:t>
            </a:r>
            <a:r>
              <a:rPr dirty="0"/>
              <a:t>, </a:t>
            </a:r>
            <a:r>
              <a:rPr dirty="0" err="1"/>
              <a:t>aktif</a:t>
            </a:r>
            <a:r>
              <a:rPr dirty="0"/>
              <a:t> </a:t>
            </a:r>
            <a:r>
              <a:rPr dirty="0" err="1"/>
              <a:t>ulaşım</a:t>
            </a:r>
            <a:r>
              <a:rPr dirty="0"/>
              <a:t> </a:t>
            </a:r>
            <a:r>
              <a:rPr dirty="0" err="1"/>
              <a:t>ve</a:t>
            </a:r>
            <a:r>
              <a:rPr dirty="0"/>
              <a:t> </a:t>
            </a:r>
            <a:r>
              <a:rPr dirty="0" err="1"/>
              <a:t>paylaşımlı</a:t>
            </a:r>
            <a:r>
              <a:rPr dirty="0"/>
              <a:t> </a:t>
            </a:r>
            <a:r>
              <a:rPr dirty="0" err="1"/>
              <a:t>mobilite</a:t>
            </a:r>
            <a:r>
              <a:rPr dirty="0"/>
              <a:t> </a:t>
            </a:r>
            <a:r>
              <a:rPr dirty="0" err="1"/>
              <a:t>hizmetlerini</a:t>
            </a:r>
            <a:r>
              <a:rPr dirty="0"/>
              <a:t> </a:t>
            </a:r>
            <a:r>
              <a:rPr dirty="0" err="1"/>
              <a:t>teşvik</a:t>
            </a:r>
            <a:r>
              <a:rPr dirty="0"/>
              <a:t> </a:t>
            </a:r>
            <a:r>
              <a:rPr dirty="0" err="1"/>
              <a:t>etmektedir</a:t>
            </a:r>
            <a:r>
              <a:rPr dirty="0"/>
              <a:t>.</a:t>
            </a:r>
          </a:p>
          <a:p>
            <a:pPr algn="just">
              <a:buFont typeface="Arial" panose="020B0604020202020204" pitchFamily="34" charset="0"/>
              <a:buChar char="•"/>
              <a:defRPr sz="1800"/>
            </a:pPr>
            <a:r>
              <a:rPr dirty="0" err="1"/>
              <a:t>Şehirler</a:t>
            </a:r>
            <a:r>
              <a:rPr dirty="0"/>
              <a:t>, SKUp </a:t>
            </a:r>
            <a:r>
              <a:rPr dirty="0" err="1"/>
              <a:t>yaklaşımını</a:t>
            </a:r>
            <a:r>
              <a:rPr dirty="0"/>
              <a:t> </a:t>
            </a:r>
            <a:r>
              <a:rPr dirty="0" err="1"/>
              <a:t>benimseyerek</a:t>
            </a:r>
            <a:r>
              <a:rPr dirty="0"/>
              <a:t> </a:t>
            </a:r>
            <a:r>
              <a:rPr dirty="0" err="1"/>
              <a:t>karşılaştıkları</a:t>
            </a:r>
            <a:r>
              <a:rPr dirty="0"/>
              <a:t> </a:t>
            </a:r>
            <a:r>
              <a:rPr dirty="0" err="1"/>
              <a:t>karmaşık</a:t>
            </a:r>
            <a:r>
              <a:rPr dirty="0"/>
              <a:t> </a:t>
            </a:r>
            <a:r>
              <a:rPr dirty="0" err="1"/>
              <a:t>ulaşım</a:t>
            </a:r>
            <a:r>
              <a:rPr dirty="0"/>
              <a:t> </a:t>
            </a:r>
            <a:r>
              <a:rPr dirty="0" err="1"/>
              <a:t>zorluklarını</a:t>
            </a:r>
            <a:r>
              <a:rPr dirty="0"/>
              <a:t> </a:t>
            </a:r>
            <a:r>
              <a:rPr dirty="0" err="1"/>
              <a:t>ele</a:t>
            </a:r>
            <a:r>
              <a:rPr dirty="0"/>
              <a:t> </a:t>
            </a:r>
            <a:r>
              <a:rPr dirty="0" err="1"/>
              <a:t>alabilir</a:t>
            </a:r>
            <a:r>
              <a:rPr dirty="0"/>
              <a:t> </a:t>
            </a:r>
            <a:r>
              <a:rPr dirty="0" err="1"/>
              <a:t>ve</a:t>
            </a:r>
            <a:r>
              <a:rPr dirty="0"/>
              <a:t> </a:t>
            </a:r>
            <a:r>
              <a:rPr dirty="0" err="1"/>
              <a:t>daha</a:t>
            </a:r>
            <a:r>
              <a:rPr dirty="0"/>
              <a:t> </a:t>
            </a:r>
            <a:r>
              <a:rPr dirty="0" err="1"/>
              <a:t>sürdürülebilir</a:t>
            </a:r>
            <a:r>
              <a:rPr dirty="0"/>
              <a:t> </a:t>
            </a:r>
            <a:r>
              <a:rPr dirty="0" err="1"/>
              <a:t>ve</a:t>
            </a:r>
            <a:r>
              <a:rPr dirty="0"/>
              <a:t> </a:t>
            </a:r>
            <a:r>
              <a:rPr dirty="0" err="1"/>
              <a:t>eşitlikçi</a:t>
            </a:r>
            <a:r>
              <a:rPr dirty="0"/>
              <a:t> </a:t>
            </a:r>
            <a:r>
              <a:rPr dirty="0" err="1"/>
              <a:t>bir</a:t>
            </a:r>
            <a:r>
              <a:rPr dirty="0"/>
              <a:t> </a:t>
            </a:r>
            <a:r>
              <a:rPr dirty="0" err="1"/>
              <a:t>gelecek</a:t>
            </a:r>
            <a:r>
              <a:rPr dirty="0"/>
              <a:t> </a:t>
            </a:r>
            <a:r>
              <a:rPr dirty="0" err="1"/>
              <a:t>fırsatı</a:t>
            </a:r>
            <a:r>
              <a:rPr dirty="0"/>
              <a:t> </a:t>
            </a:r>
            <a:r>
              <a:rPr dirty="0" err="1"/>
              <a:t>elde</a:t>
            </a:r>
            <a:r>
              <a:rPr dirty="0"/>
              <a:t> </a:t>
            </a:r>
            <a:r>
              <a:rPr dirty="0" err="1"/>
              <a:t>edebilirler</a:t>
            </a:r>
            <a:r>
              <a:rPr dirty="0"/>
              <a:t>.</a:t>
            </a:r>
          </a:p>
          <a:p>
            <a:endParaRPr lang="en-US" sz="1800" dirty="0"/>
          </a:p>
        </p:txBody>
      </p:sp>
      <p:pic>
        <p:nvPicPr>
          <p:cNvPr id="4" name="Content Placeholder 13" descr="A picture containing text, screenshot, design  Description automatically generated">
            <a:extLst>
              <a:ext uri="{FF2B5EF4-FFF2-40B4-BE49-F238E27FC236}">
                <a16:creationId xmlns:a16="http://schemas.microsoft.com/office/drawing/2014/main" id="{52B1FBEC-AC59-6822-BE74-47F73C7D9898}"/>
              </a:ext>
            </a:extLst>
          </p:cNvPr>
          <p:cNvPicPr>
            <a:picLocks noChangeAspect="1"/>
          </p:cNvPicPr>
          <p:nvPr/>
        </p:nvPicPr>
        <p:blipFill>
          <a:blip r:embed="rId4"/>
          <a:stretch>
            <a:fillRect/>
          </a:stretch>
        </p:blipFill>
        <p:spPr>
          <a:xfrm>
            <a:off x="8398037" y="2333625"/>
            <a:ext cx="2589578" cy="3527425"/>
          </a:xfrm>
          <a:prstGeom prst="round2DiagRect">
            <a:avLst>
              <a:gd name="adj1" fmla="val 50000"/>
              <a:gd name="adj2" fmla="val 0"/>
            </a:avLst>
          </a:prstGeom>
          <a:ln w="88900" cap="sq">
            <a:solidFill>
              <a:srgbClr val="FFFFFF"/>
            </a:solidFill>
            <a:miter lim="800000"/>
          </a:ln>
          <a:effectLst>
            <a:outerShdw blurRad="254000" algn="tl" rotWithShape="0">
              <a:srgbClr val="000000">
                <a:alpha val="43000"/>
              </a:srgbClr>
            </a:outerShdw>
          </a:effectLst>
        </p:spPr>
      </p:pic>
    </p:spTree>
    <p:extLst>
      <p:ext uri="{BB962C8B-B14F-4D97-AF65-F5344CB8AC3E}">
        <p14:creationId xmlns:p14="http://schemas.microsoft.com/office/powerpoint/2010/main" val="328513345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029CDAB-24E2-20D5-54DE-A2FBF7CB52C7}"/>
              </a:ext>
            </a:extLst>
          </p:cNvPr>
          <p:cNvPicPr>
            <a:picLocks noChangeAspect="1"/>
          </p:cNvPicPr>
          <p:nvPr/>
        </p:nvPicPr>
        <p:blipFill>
          <a:blip r:embed="rId4"/>
          <a:stretch>
            <a:fillRect/>
          </a:stretch>
        </p:blipFill>
        <p:spPr>
          <a:xfrm>
            <a:off x="7328847" y="964780"/>
            <a:ext cx="3689445" cy="1347449"/>
          </a:xfrm>
          <a:prstGeom prst="rect">
            <a:avLst/>
          </a:prstGeom>
        </p:spPr>
      </p:pic>
      <p:sp>
        <p:nvSpPr>
          <p:cNvPr id="3" name="Title 9">
            <a:extLst>
              <a:ext uri="{FF2B5EF4-FFF2-40B4-BE49-F238E27FC236}">
                <a16:creationId xmlns:a16="http://schemas.microsoft.com/office/drawing/2014/main" id="{C7D53330-6285-4DB9-B53E-711F4FDF9C4A}"/>
              </a:ext>
            </a:extLst>
          </p:cNvPr>
          <p:cNvSpPr txBox="1">
            <a:spLocks/>
          </p:cNvSpPr>
          <p:nvPr/>
        </p:nvSpPr>
        <p:spPr>
          <a:xfrm>
            <a:off x="525794" y="1350537"/>
            <a:ext cx="6067607" cy="885825"/>
          </a:xfrm>
          <a:prstGeom prst="rect">
            <a:avLst/>
          </a:prstGeom>
        </p:spPr>
        <p:txBody>
          <a:bodyPr vert="horz" lIns="91440" tIns="45720" rIns="91440" bIns="4572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defRPr sz="3200" b="1"/>
            </a:pPr>
            <a:r>
              <a:t>Toplu taşıma Planlaması ve Tasarımı</a:t>
            </a:r>
            <a:endParaRPr lang="en-US" sz="3200" b="1" dirty="0"/>
          </a:p>
        </p:txBody>
      </p:sp>
      <p:graphicFrame>
        <p:nvGraphicFramePr>
          <p:cNvPr id="4" name="Diagram 3">
            <a:extLst>
              <a:ext uri="{FF2B5EF4-FFF2-40B4-BE49-F238E27FC236}">
                <a16:creationId xmlns:a16="http://schemas.microsoft.com/office/drawing/2014/main" id="{3BEE5092-B497-6C49-A568-37BC45EEADA7}"/>
              </a:ext>
            </a:extLst>
          </p:cNvPr>
          <p:cNvGraphicFramePr/>
          <p:nvPr>
            <p:extLst>
              <p:ext uri="{D42A27DB-BD31-4B8C-83A1-F6EECF244321}">
                <p14:modId xmlns:p14="http://schemas.microsoft.com/office/powerpoint/2010/main" val="1835775237"/>
              </p:ext>
            </p:extLst>
          </p:nvPr>
        </p:nvGraphicFramePr>
        <p:xfrm>
          <a:off x="525794" y="2379828"/>
          <a:ext cx="9011361" cy="329337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5" name="Picture 4" descr="A picture containing text, screenshot, circle, design  Description automatically generated">
            <a:extLst>
              <a:ext uri="{FF2B5EF4-FFF2-40B4-BE49-F238E27FC236}">
                <a16:creationId xmlns:a16="http://schemas.microsoft.com/office/drawing/2014/main" id="{C3BB9336-A1AC-A939-706A-C0AE7CDB02CC}"/>
              </a:ext>
            </a:extLst>
          </p:cNvPr>
          <p:cNvPicPr>
            <a:picLocks noChangeAspect="1"/>
          </p:cNvPicPr>
          <p:nvPr/>
        </p:nvPicPr>
        <p:blipFill>
          <a:blip r:embed="rId10"/>
          <a:stretch>
            <a:fillRect/>
          </a:stretch>
        </p:blipFill>
        <p:spPr>
          <a:xfrm>
            <a:off x="9708106" y="2920621"/>
            <a:ext cx="2361063" cy="2361063"/>
          </a:xfrm>
          <a:prstGeom prst="rect">
            <a:avLst/>
          </a:prstGeom>
          <a:effectLst>
            <a:softEdge rad="63500"/>
          </a:effectLst>
        </p:spPr>
      </p:pic>
    </p:spTree>
    <p:extLst>
      <p:ext uri="{BB962C8B-B14F-4D97-AF65-F5344CB8AC3E}">
        <p14:creationId xmlns:p14="http://schemas.microsoft.com/office/powerpoint/2010/main" val="16190292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D857A693-F528-CEC0-4E56-C3E21C46C52A}"/>
              </a:ext>
            </a:extLst>
          </p:cNvPr>
          <p:cNvGraphicFramePr/>
          <p:nvPr>
            <p:extLst>
              <p:ext uri="{D42A27DB-BD31-4B8C-83A1-F6EECF244321}">
                <p14:modId xmlns:p14="http://schemas.microsoft.com/office/powerpoint/2010/main" val="692148633"/>
              </p:ext>
            </p:extLst>
          </p:nvPr>
        </p:nvGraphicFramePr>
        <p:xfrm>
          <a:off x="838200" y="1825625"/>
          <a:ext cx="5393361" cy="43513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itle 15">
            <a:extLst>
              <a:ext uri="{FF2B5EF4-FFF2-40B4-BE49-F238E27FC236}">
                <a16:creationId xmlns:a16="http://schemas.microsoft.com/office/drawing/2014/main" id="{625E850A-7CFF-1480-D832-0280548AE39C}"/>
              </a:ext>
            </a:extLst>
          </p:cNvPr>
          <p:cNvSpPr txBox="1">
            <a:spLocks/>
          </p:cNvSpPr>
          <p:nvPr/>
        </p:nvSpPr>
        <p:spPr>
          <a:xfrm>
            <a:off x="729019" y="829148"/>
            <a:ext cx="7773536" cy="1325563"/>
          </a:xfrm>
          <a:prstGeom prst="rect">
            <a:avLst/>
          </a:prstGeom>
        </p:spPr>
        <p:txBody>
          <a:bodyPr vert="horz" lIns="91440" tIns="45720" rIns="91440" bIns="4572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sz="3200"/>
            </a:pPr>
            <a:r>
              <a:t>Aktif Ulaşım Planlaması</a:t>
            </a:r>
          </a:p>
        </p:txBody>
      </p:sp>
      <p:pic>
        <p:nvPicPr>
          <p:cNvPr id="4" name="Picture 3" descr="A picture containing footwear, sports equipment, bicycle wheel, transport  Description automatically generated">
            <a:extLst>
              <a:ext uri="{FF2B5EF4-FFF2-40B4-BE49-F238E27FC236}">
                <a16:creationId xmlns:a16="http://schemas.microsoft.com/office/drawing/2014/main" id="{9EC7C6CA-31C6-D9F3-2200-D3C2C32F7A02}"/>
              </a:ext>
            </a:extLst>
          </p:cNvPr>
          <p:cNvPicPr>
            <a:picLocks noChangeAspect="1"/>
          </p:cNvPicPr>
          <p:nvPr/>
        </p:nvPicPr>
        <p:blipFill rotWithShape="1">
          <a:blip r:embed="rId9"/>
          <a:srcRect/>
          <a:stretch/>
        </p:blipFill>
        <p:spPr>
          <a:xfrm>
            <a:off x="8219558" y="852372"/>
            <a:ext cx="3096807" cy="3096807"/>
          </a:xfrm>
          <a:custGeom>
            <a:avLst/>
            <a:gdLst/>
            <a:ahLst/>
            <a:cxnLst/>
            <a:rect l="l" t="t" r="r" b="b"/>
            <a:pathLst>
              <a:path w="2663168" h="2663168">
                <a:moveTo>
                  <a:pt x="1331584" y="0"/>
                </a:moveTo>
                <a:cubicBezTo>
                  <a:pt x="2066998" y="0"/>
                  <a:pt x="2663168" y="596170"/>
                  <a:pt x="2663168" y="1331584"/>
                </a:cubicBezTo>
                <a:cubicBezTo>
                  <a:pt x="2663168" y="2066998"/>
                  <a:pt x="2066998" y="2663168"/>
                  <a:pt x="1331584" y="2663168"/>
                </a:cubicBezTo>
                <a:cubicBezTo>
                  <a:pt x="596170" y="2663168"/>
                  <a:pt x="0" y="2066998"/>
                  <a:pt x="0" y="1331584"/>
                </a:cubicBezTo>
                <a:cubicBezTo>
                  <a:pt x="0" y="596170"/>
                  <a:pt x="596170" y="0"/>
                  <a:pt x="1331584" y="0"/>
                </a:cubicBezTo>
                <a:close/>
              </a:path>
            </a:pathLst>
          </a:custGeom>
        </p:spPr>
      </p:pic>
      <p:pic>
        <p:nvPicPr>
          <p:cNvPr id="5" name="Picture 4" descr="A group of people riding bicycles  Description automatically generated with medium confidence">
            <a:extLst>
              <a:ext uri="{FF2B5EF4-FFF2-40B4-BE49-F238E27FC236}">
                <a16:creationId xmlns:a16="http://schemas.microsoft.com/office/drawing/2014/main" id="{D981473D-0B0D-C9D9-4E21-9571251C6B52}"/>
              </a:ext>
            </a:extLst>
          </p:cNvPr>
          <p:cNvPicPr>
            <a:picLocks noChangeAspect="1"/>
          </p:cNvPicPr>
          <p:nvPr/>
        </p:nvPicPr>
        <p:blipFill rotWithShape="1">
          <a:blip r:embed="rId10"/>
          <a:srcRect l="25033" r="12059"/>
          <a:stretch/>
        </p:blipFill>
        <p:spPr>
          <a:xfrm>
            <a:off x="6723881" y="4125641"/>
            <a:ext cx="2733741" cy="2172801"/>
          </a:xfrm>
          <a:custGeom>
            <a:avLst/>
            <a:gdLst/>
            <a:ahLst/>
            <a:cxnLst/>
            <a:rect l="l" t="t" r="r" b="b"/>
            <a:pathLst>
              <a:path w="2733741" h="2172801">
                <a:moveTo>
                  <a:pt x="1366871" y="0"/>
                </a:moveTo>
                <a:cubicBezTo>
                  <a:pt x="2121772" y="0"/>
                  <a:pt x="2733741" y="595368"/>
                  <a:pt x="2733741" y="1329791"/>
                </a:cubicBezTo>
                <a:cubicBezTo>
                  <a:pt x="2733741" y="1605200"/>
                  <a:pt x="2647683" y="1861054"/>
                  <a:pt x="2500301" y="2073290"/>
                </a:cubicBezTo>
                <a:lnTo>
                  <a:pt x="2423813" y="2172801"/>
                </a:lnTo>
                <a:lnTo>
                  <a:pt x="309928" y="2172801"/>
                </a:lnTo>
                <a:lnTo>
                  <a:pt x="233440" y="2073290"/>
                </a:lnTo>
                <a:cubicBezTo>
                  <a:pt x="86058" y="1861054"/>
                  <a:pt x="0" y="1605200"/>
                  <a:pt x="0" y="1329791"/>
                </a:cubicBezTo>
                <a:cubicBezTo>
                  <a:pt x="0" y="595368"/>
                  <a:pt x="611969" y="0"/>
                  <a:pt x="1366871" y="0"/>
                </a:cubicBezTo>
                <a:close/>
              </a:path>
            </a:pathLst>
          </a:custGeom>
        </p:spPr>
      </p:pic>
      <p:sp>
        <p:nvSpPr>
          <p:cNvPr id="6" name="Oval 5">
            <a:extLst>
              <a:ext uri="{FF2B5EF4-FFF2-40B4-BE49-F238E27FC236}">
                <a16:creationId xmlns:a16="http://schemas.microsoft.com/office/drawing/2014/main" id="{27D67302-9CC2-F1A5-A449-96D727F92F94}"/>
              </a:ext>
            </a:extLst>
          </p:cNvPr>
          <p:cNvSpPr/>
          <p:nvPr/>
        </p:nvSpPr>
        <p:spPr>
          <a:xfrm>
            <a:off x="6823881" y="3100424"/>
            <a:ext cx="1091820" cy="1025217"/>
          </a:xfrm>
          <a:prstGeom prst="ellipse">
            <a:avLst/>
          </a:prstGeom>
          <a:noFill/>
          <a:ln w="571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7" name="Arc 6">
            <a:extLst>
              <a:ext uri="{FF2B5EF4-FFF2-40B4-BE49-F238E27FC236}">
                <a16:creationId xmlns:a16="http://schemas.microsoft.com/office/drawing/2014/main" id="{8000B042-D83B-1E45-6A29-061BE4BDE6AB}"/>
              </a:ext>
            </a:extLst>
          </p:cNvPr>
          <p:cNvSpPr/>
          <p:nvPr/>
        </p:nvSpPr>
        <p:spPr>
          <a:xfrm>
            <a:off x="7073870" y="3949178"/>
            <a:ext cx="2876072" cy="3096807"/>
          </a:xfrm>
          <a:prstGeom prst="arc">
            <a:avLst/>
          </a:prstGeom>
          <a:ln w="57150">
            <a:solidFill>
              <a:schemeClr val="accent4"/>
            </a:solidFill>
            <a:prstDash val="lgDash"/>
          </a:ln>
        </p:spPr>
        <p:style>
          <a:lnRef idx="1">
            <a:schemeClr val="accent1"/>
          </a:lnRef>
          <a:fillRef idx="0">
            <a:schemeClr val="accent1"/>
          </a:fillRef>
          <a:effectRef idx="0">
            <a:schemeClr val="accent1"/>
          </a:effectRef>
          <a:fontRef idx="minor">
            <a:schemeClr val="tx1"/>
          </a:fontRef>
        </p:style>
        <p:txBody>
          <a:bodyPr anchor="ctr"/>
          <a:lstStyle/>
          <a:p>
            <a:pPr algn="ctr"/>
            <a:endParaRPr lang="en-US"/>
          </a:p>
        </p:txBody>
      </p:sp>
      <p:sp>
        <p:nvSpPr>
          <p:cNvPr id="8" name="Rectangle 7">
            <a:extLst>
              <a:ext uri="{FF2B5EF4-FFF2-40B4-BE49-F238E27FC236}">
                <a16:creationId xmlns:a16="http://schemas.microsoft.com/office/drawing/2014/main" id="{761F2C3C-C70D-5457-E2CB-4B1AA3E6A1E2}"/>
              </a:ext>
            </a:extLst>
          </p:cNvPr>
          <p:cNvSpPr/>
          <p:nvPr/>
        </p:nvSpPr>
        <p:spPr>
          <a:xfrm>
            <a:off x="11316365" y="3725839"/>
            <a:ext cx="2522465" cy="2279789"/>
          </a:xfrm>
          <a:prstGeom prst="rect">
            <a:avLst/>
          </a:prstGeom>
          <a:noFill/>
          <a:ln w="762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9" name="Isosceles Triangle 8">
            <a:extLst>
              <a:ext uri="{FF2B5EF4-FFF2-40B4-BE49-F238E27FC236}">
                <a16:creationId xmlns:a16="http://schemas.microsoft.com/office/drawing/2014/main" id="{5914E8B8-1589-6D9E-29C5-72FCB3D06206}"/>
              </a:ext>
            </a:extLst>
          </p:cNvPr>
          <p:cNvSpPr/>
          <p:nvPr/>
        </p:nvSpPr>
        <p:spPr>
          <a:xfrm rot="1333945">
            <a:off x="7229155" y="1380120"/>
            <a:ext cx="1040235" cy="1025217"/>
          </a:xfrm>
          <a:prstGeom prst="triangle">
            <a:avLst/>
          </a:prstGeom>
          <a:solidFill>
            <a:schemeClr val="accent3">
              <a:lumMod val="60000"/>
              <a:lumOff val="4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cxnSp>
        <p:nvCxnSpPr>
          <p:cNvPr id="10" name="Straight Connector 9">
            <a:extLst>
              <a:ext uri="{FF2B5EF4-FFF2-40B4-BE49-F238E27FC236}">
                <a16:creationId xmlns:a16="http://schemas.microsoft.com/office/drawing/2014/main" id="{5124AF0F-4F4A-0317-B2A7-5BABC27844BC}"/>
              </a:ext>
            </a:extLst>
          </p:cNvPr>
          <p:cNvCxnSpPr>
            <a:cxnSpLocks/>
          </p:cNvCxnSpPr>
          <p:nvPr/>
        </p:nvCxnSpPr>
        <p:spPr>
          <a:xfrm>
            <a:off x="11546006" y="1221434"/>
            <a:ext cx="0" cy="1878990"/>
          </a:xfrm>
          <a:prstGeom prst="line">
            <a:avLst/>
          </a:prstGeom>
          <a:ln w="57150">
            <a:solidFill>
              <a:schemeClr val="accent4"/>
            </a:solidFill>
            <a:prstDash val="lg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767693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2" name="Picture 6">
            <a:extLst>
              <a:ext uri="{FF2B5EF4-FFF2-40B4-BE49-F238E27FC236}">
                <a16:creationId xmlns:a16="http://schemas.microsoft.com/office/drawing/2014/main" id="{E848A93D-55AB-46F0-C028-C3650619ABFA}"/>
              </a:ext>
            </a:extLst>
          </p:cNvPr>
          <p:cNvPicPr>
            <a:picLocks noChangeAspect="1"/>
          </p:cNvPicPr>
          <p:nvPr/>
        </p:nvPicPr>
        <p:blipFill rotWithShape="1">
          <a:blip r:embed="rId4"/>
          <a:srcRect l="3092" r="1734"/>
          <a:stretch/>
        </p:blipFill>
        <p:spPr>
          <a:xfrm>
            <a:off x="5359203" y="1518192"/>
            <a:ext cx="6273235" cy="4449160"/>
          </a:xfrm>
          <a:prstGeom prst="rect">
            <a:avLst/>
          </a:prstGeom>
        </p:spPr>
      </p:pic>
      <p:sp>
        <p:nvSpPr>
          <p:cNvPr id="3" name="Title 15">
            <a:extLst>
              <a:ext uri="{FF2B5EF4-FFF2-40B4-BE49-F238E27FC236}">
                <a16:creationId xmlns:a16="http://schemas.microsoft.com/office/drawing/2014/main" id="{4B56779D-7B13-E355-0CD1-6FC80DCC7605}"/>
              </a:ext>
            </a:extLst>
          </p:cNvPr>
          <p:cNvSpPr txBox="1">
            <a:spLocks/>
          </p:cNvSpPr>
          <p:nvPr/>
        </p:nvSpPr>
        <p:spPr>
          <a:xfrm>
            <a:off x="838200" y="365125"/>
            <a:ext cx="4620904" cy="1899912"/>
          </a:xfrm>
          <a:prstGeom prst="rect">
            <a:avLst/>
          </a:prstGeom>
        </p:spPr>
        <p:txBody>
          <a:bodyPr vert="horz" lIns="91440" tIns="45720" rIns="91440" bIns="4572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Aft>
                <a:spcPts val="600"/>
              </a:spcAft>
              <a:defRPr sz="3200" b="1"/>
            </a:pPr>
            <a:r>
              <a:t>Entegre Arazi Kullanımı</a:t>
            </a:r>
          </a:p>
        </p:txBody>
      </p:sp>
      <p:graphicFrame>
        <p:nvGraphicFramePr>
          <p:cNvPr id="4" name="Diagram 3">
            <a:extLst>
              <a:ext uri="{FF2B5EF4-FFF2-40B4-BE49-F238E27FC236}">
                <a16:creationId xmlns:a16="http://schemas.microsoft.com/office/drawing/2014/main" id="{3E7C46C8-7F6D-E6BB-A1E8-FADB943B6245}"/>
              </a:ext>
            </a:extLst>
          </p:cNvPr>
          <p:cNvGraphicFramePr/>
          <p:nvPr>
            <p:extLst>
              <p:ext uri="{D42A27DB-BD31-4B8C-83A1-F6EECF244321}">
                <p14:modId xmlns:p14="http://schemas.microsoft.com/office/powerpoint/2010/main" val="429595841"/>
              </p:ext>
            </p:extLst>
          </p:nvPr>
        </p:nvGraphicFramePr>
        <p:xfrm>
          <a:off x="368493" y="1787857"/>
          <a:ext cx="5090611" cy="4157099"/>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38269314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5">
            <a:extLst>
              <a:ext uri="{FF2B5EF4-FFF2-40B4-BE49-F238E27FC236}">
                <a16:creationId xmlns:a16="http://schemas.microsoft.com/office/drawing/2014/main" id="{1F61D03D-ACD2-66F5-B4C2-31E84A5A5047}"/>
              </a:ext>
            </a:extLst>
          </p:cNvPr>
          <p:cNvSpPr txBox="1">
            <a:spLocks/>
          </p:cNvSpPr>
          <p:nvPr/>
        </p:nvSpPr>
        <p:spPr>
          <a:xfrm>
            <a:off x="163775" y="732091"/>
            <a:ext cx="6968318" cy="1807305"/>
          </a:xfrm>
          <a:prstGeom prst="rect">
            <a:avLst/>
          </a:prstGeom>
        </p:spPr>
        <p:txBody>
          <a:bodyPr vert="horz" lIns="91440" tIns="45720" rIns="91440" bIns="4572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Aft>
                <a:spcPts val="600"/>
              </a:spcAft>
              <a:defRPr sz="3200" b="1"/>
            </a:pPr>
            <a:r>
              <a:t>Trafik Talep Yönetimi Stratejileri</a:t>
            </a:r>
          </a:p>
        </p:txBody>
      </p:sp>
      <p:sp>
        <p:nvSpPr>
          <p:cNvPr id="3" name="TextBox 2">
            <a:extLst>
              <a:ext uri="{FF2B5EF4-FFF2-40B4-BE49-F238E27FC236}">
                <a16:creationId xmlns:a16="http://schemas.microsoft.com/office/drawing/2014/main" id="{62DED094-1DCA-D4AC-701F-3D59F37F5F8D}"/>
              </a:ext>
            </a:extLst>
          </p:cNvPr>
          <p:cNvSpPr txBox="1"/>
          <p:nvPr/>
        </p:nvSpPr>
        <p:spPr>
          <a:xfrm>
            <a:off x="838200" y="2333297"/>
            <a:ext cx="4619621" cy="3843666"/>
          </a:xfrm>
          <a:prstGeom prst="rect">
            <a:avLst/>
          </a:prstGeom>
        </p:spPr>
        <p:txBody>
          <a:bodyPr vert="horz" lIns="91440" tIns="45720" rIns="91440" bIns="45720">
            <a:normAutofit/>
          </a:bodyPr>
          <a:lstStyle/>
          <a:p>
            <a:pPr marL="285750" indent="-228600" algn="just">
              <a:lnSpc>
                <a:spcPct val="90000"/>
              </a:lnSpc>
              <a:spcAft>
                <a:spcPts val="600"/>
              </a:spcAft>
              <a:buFont typeface="Arial" panose="020B0604020202020204" pitchFamily="34" charset="0"/>
              <a:buChar char="•"/>
              <a:defRPr sz="1900"/>
            </a:pPr>
            <a:r>
              <a:rPr lang="en-US" b="0" i="0" dirty="0" err="1">
                <a:solidFill>
                  <a:srgbClr val="374151"/>
                </a:solidFill>
                <a:effectLst/>
                <a:latin typeface="Söhne"/>
              </a:rPr>
              <a:t>Trafik</a:t>
            </a:r>
            <a:r>
              <a:rPr lang="en-US" b="0" i="0" dirty="0">
                <a:solidFill>
                  <a:srgbClr val="374151"/>
                </a:solidFill>
                <a:effectLst/>
                <a:latin typeface="Söhne"/>
              </a:rPr>
              <a:t> </a:t>
            </a:r>
            <a:r>
              <a:rPr lang="en-US" b="0" i="0" dirty="0" err="1">
                <a:solidFill>
                  <a:srgbClr val="374151"/>
                </a:solidFill>
                <a:effectLst/>
                <a:latin typeface="Söhne"/>
              </a:rPr>
              <a:t>talebi</a:t>
            </a:r>
            <a:r>
              <a:rPr lang="en-US" b="0" i="0" dirty="0">
                <a:solidFill>
                  <a:srgbClr val="374151"/>
                </a:solidFill>
                <a:effectLst/>
                <a:latin typeface="Söhne"/>
              </a:rPr>
              <a:t> </a:t>
            </a:r>
            <a:r>
              <a:rPr lang="en-US" b="0" i="0" dirty="0" err="1">
                <a:solidFill>
                  <a:srgbClr val="374151"/>
                </a:solidFill>
                <a:effectLst/>
                <a:latin typeface="Söhne"/>
              </a:rPr>
              <a:t>yönetimi</a:t>
            </a:r>
            <a:r>
              <a:rPr lang="en-US" b="0" i="0" dirty="0">
                <a:solidFill>
                  <a:srgbClr val="374151"/>
                </a:solidFill>
                <a:effectLst/>
                <a:latin typeface="Söhne"/>
              </a:rPr>
              <a:t> </a:t>
            </a:r>
            <a:r>
              <a:rPr lang="en-US" b="0" i="0" dirty="0" err="1">
                <a:solidFill>
                  <a:srgbClr val="374151"/>
                </a:solidFill>
                <a:effectLst/>
                <a:latin typeface="Söhne"/>
              </a:rPr>
              <a:t>stratejileri</a:t>
            </a:r>
            <a:r>
              <a:rPr lang="en-US" b="0" i="0" dirty="0">
                <a:solidFill>
                  <a:srgbClr val="374151"/>
                </a:solidFill>
                <a:effectLst/>
                <a:latin typeface="Söhne"/>
              </a:rPr>
              <a:t>, </a:t>
            </a:r>
            <a:r>
              <a:rPr lang="en-US" b="0" i="0" dirty="0" err="1">
                <a:solidFill>
                  <a:srgbClr val="374151"/>
                </a:solidFill>
                <a:effectLst/>
                <a:latin typeface="Söhne"/>
              </a:rPr>
              <a:t>mevcut</a:t>
            </a:r>
            <a:r>
              <a:rPr lang="en-US" b="0" i="0" dirty="0">
                <a:solidFill>
                  <a:srgbClr val="374151"/>
                </a:solidFill>
                <a:effectLst/>
                <a:latin typeface="Söhne"/>
              </a:rPr>
              <a:t> </a:t>
            </a:r>
            <a:r>
              <a:rPr lang="en-US" b="0" i="0" dirty="0" err="1">
                <a:solidFill>
                  <a:srgbClr val="374151"/>
                </a:solidFill>
                <a:effectLst/>
                <a:latin typeface="Söhne"/>
              </a:rPr>
              <a:t>ulaşım</a:t>
            </a:r>
            <a:r>
              <a:rPr lang="en-US" b="0" i="0" dirty="0">
                <a:solidFill>
                  <a:srgbClr val="374151"/>
                </a:solidFill>
                <a:effectLst/>
                <a:latin typeface="Söhne"/>
              </a:rPr>
              <a:t> </a:t>
            </a:r>
            <a:r>
              <a:rPr lang="en-US" b="0" i="0" dirty="0" err="1">
                <a:solidFill>
                  <a:srgbClr val="374151"/>
                </a:solidFill>
                <a:effectLst/>
                <a:latin typeface="Söhne"/>
              </a:rPr>
              <a:t>altyapısının</a:t>
            </a:r>
            <a:r>
              <a:rPr lang="en-US" b="0" i="0" dirty="0">
                <a:solidFill>
                  <a:srgbClr val="374151"/>
                </a:solidFill>
                <a:effectLst/>
                <a:latin typeface="Söhne"/>
              </a:rPr>
              <a:t> </a:t>
            </a:r>
            <a:r>
              <a:rPr lang="en-US" b="0" i="0" dirty="0" err="1">
                <a:solidFill>
                  <a:srgbClr val="374151"/>
                </a:solidFill>
                <a:effectLst/>
                <a:latin typeface="Söhne"/>
              </a:rPr>
              <a:t>en</a:t>
            </a:r>
            <a:r>
              <a:rPr lang="en-US" b="0" i="0" dirty="0">
                <a:solidFill>
                  <a:srgbClr val="374151"/>
                </a:solidFill>
                <a:effectLst/>
                <a:latin typeface="Söhne"/>
              </a:rPr>
              <a:t> iyi </a:t>
            </a:r>
            <a:r>
              <a:rPr lang="en-US" b="0" i="0" dirty="0" err="1">
                <a:solidFill>
                  <a:srgbClr val="374151"/>
                </a:solidFill>
                <a:effectLst/>
                <a:latin typeface="Söhne"/>
              </a:rPr>
              <a:t>şekilde</a:t>
            </a:r>
            <a:r>
              <a:rPr lang="en-US" b="0" i="0" dirty="0">
                <a:solidFill>
                  <a:srgbClr val="374151"/>
                </a:solidFill>
                <a:effectLst/>
                <a:latin typeface="Söhne"/>
              </a:rPr>
              <a:t> </a:t>
            </a:r>
            <a:r>
              <a:rPr lang="en-US" b="0" i="0" dirty="0" err="1">
                <a:solidFill>
                  <a:srgbClr val="374151"/>
                </a:solidFill>
                <a:effectLst/>
                <a:latin typeface="Söhne"/>
              </a:rPr>
              <a:t>kullanılmasını</a:t>
            </a:r>
            <a:r>
              <a:rPr lang="en-US" b="0" i="0" dirty="0">
                <a:solidFill>
                  <a:srgbClr val="374151"/>
                </a:solidFill>
                <a:effectLst/>
                <a:latin typeface="Söhne"/>
              </a:rPr>
              <a:t> </a:t>
            </a:r>
            <a:r>
              <a:rPr lang="en-US" b="0" i="0" dirty="0" err="1">
                <a:solidFill>
                  <a:srgbClr val="374151"/>
                </a:solidFill>
                <a:effectLst/>
                <a:latin typeface="Söhne"/>
              </a:rPr>
              <a:t>hedefleyerek</a:t>
            </a:r>
            <a:r>
              <a:rPr lang="en-US" b="0" i="0" dirty="0">
                <a:solidFill>
                  <a:srgbClr val="374151"/>
                </a:solidFill>
                <a:effectLst/>
                <a:latin typeface="Söhne"/>
              </a:rPr>
              <a:t> </a:t>
            </a:r>
            <a:r>
              <a:rPr lang="en-US" b="0" i="0" dirty="0" err="1">
                <a:solidFill>
                  <a:srgbClr val="374151"/>
                </a:solidFill>
                <a:effectLst/>
                <a:latin typeface="Söhne"/>
              </a:rPr>
              <a:t>trafik</a:t>
            </a:r>
            <a:r>
              <a:rPr lang="en-US" b="0" i="0" dirty="0">
                <a:solidFill>
                  <a:srgbClr val="374151"/>
                </a:solidFill>
                <a:effectLst/>
                <a:latin typeface="Söhne"/>
              </a:rPr>
              <a:t> </a:t>
            </a:r>
            <a:r>
              <a:rPr lang="en-US" b="0" i="0" dirty="0" err="1">
                <a:solidFill>
                  <a:srgbClr val="374151"/>
                </a:solidFill>
                <a:effectLst/>
                <a:latin typeface="Söhne"/>
              </a:rPr>
              <a:t>sıkışıklığını</a:t>
            </a:r>
            <a:r>
              <a:rPr lang="en-US" b="0" i="0" dirty="0">
                <a:solidFill>
                  <a:srgbClr val="374151"/>
                </a:solidFill>
                <a:effectLst/>
                <a:latin typeface="Söhne"/>
              </a:rPr>
              <a:t> </a:t>
            </a:r>
            <a:r>
              <a:rPr lang="en-US" b="0" i="0" dirty="0" err="1">
                <a:solidFill>
                  <a:srgbClr val="374151"/>
                </a:solidFill>
                <a:effectLst/>
                <a:latin typeface="Söhne"/>
              </a:rPr>
              <a:t>azaltmayı</a:t>
            </a:r>
            <a:r>
              <a:rPr lang="en-US" b="0" i="0" dirty="0">
                <a:solidFill>
                  <a:srgbClr val="374151"/>
                </a:solidFill>
                <a:effectLst/>
                <a:latin typeface="Söhne"/>
              </a:rPr>
              <a:t> </a:t>
            </a:r>
            <a:r>
              <a:rPr lang="en-US" b="0" i="0" dirty="0" err="1">
                <a:solidFill>
                  <a:srgbClr val="374151"/>
                </a:solidFill>
                <a:effectLst/>
                <a:latin typeface="Söhne"/>
              </a:rPr>
              <a:t>ve</a:t>
            </a:r>
            <a:r>
              <a:rPr lang="en-US" b="0" i="0" dirty="0">
                <a:solidFill>
                  <a:srgbClr val="374151"/>
                </a:solidFill>
                <a:effectLst/>
                <a:latin typeface="Söhne"/>
              </a:rPr>
              <a:t> </a:t>
            </a:r>
            <a:r>
              <a:rPr lang="en-US" b="0" i="0" dirty="0" err="1">
                <a:solidFill>
                  <a:srgbClr val="374151"/>
                </a:solidFill>
                <a:effectLst/>
                <a:latin typeface="Söhne"/>
              </a:rPr>
              <a:t>çevresel</a:t>
            </a:r>
            <a:r>
              <a:rPr lang="en-US" b="0" i="0" dirty="0">
                <a:solidFill>
                  <a:srgbClr val="374151"/>
                </a:solidFill>
                <a:effectLst/>
                <a:latin typeface="Söhne"/>
              </a:rPr>
              <a:t> </a:t>
            </a:r>
            <a:r>
              <a:rPr lang="en-US" b="0" i="0" dirty="0" err="1">
                <a:solidFill>
                  <a:srgbClr val="374151"/>
                </a:solidFill>
                <a:effectLst/>
                <a:latin typeface="Söhne"/>
              </a:rPr>
              <a:t>etkileri</a:t>
            </a:r>
            <a:r>
              <a:rPr lang="en-US" b="0" i="0" dirty="0">
                <a:solidFill>
                  <a:srgbClr val="374151"/>
                </a:solidFill>
                <a:effectLst/>
                <a:latin typeface="Söhne"/>
              </a:rPr>
              <a:t> </a:t>
            </a:r>
            <a:r>
              <a:rPr lang="en-US" b="0" i="0" dirty="0" err="1">
                <a:solidFill>
                  <a:srgbClr val="374151"/>
                </a:solidFill>
                <a:effectLst/>
                <a:latin typeface="Söhne"/>
              </a:rPr>
              <a:t>düşürmeyi</a:t>
            </a:r>
            <a:r>
              <a:rPr lang="en-US" b="0" i="0" dirty="0">
                <a:solidFill>
                  <a:srgbClr val="374151"/>
                </a:solidFill>
                <a:effectLst/>
                <a:latin typeface="Söhne"/>
              </a:rPr>
              <a:t> </a:t>
            </a:r>
            <a:r>
              <a:rPr lang="en-US" b="0" i="0" dirty="0" err="1">
                <a:solidFill>
                  <a:srgbClr val="374151"/>
                </a:solidFill>
                <a:effectLst/>
                <a:latin typeface="Söhne"/>
              </a:rPr>
              <a:t>amaçlar</a:t>
            </a:r>
            <a:r>
              <a:rPr lang="en-US" b="0" i="0" dirty="0">
                <a:solidFill>
                  <a:srgbClr val="374151"/>
                </a:solidFill>
                <a:effectLst/>
                <a:latin typeface="Söhne"/>
              </a:rPr>
              <a:t>.</a:t>
            </a:r>
            <a:r>
              <a:rPr lang="tr-TR" b="0" i="0" dirty="0">
                <a:solidFill>
                  <a:srgbClr val="374151"/>
                </a:solidFill>
                <a:effectLst/>
                <a:latin typeface="Söhne"/>
              </a:rPr>
              <a:t>.</a:t>
            </a:r>
          </a:p>
          <a:p>
            <a:pPr marL="285750" indent="-228600" algn="just">
              <a:lnSpc>
                <a:spcPct val="90000"/>
              </a:lnSpc>
              <a:spcAft>
                <a:spcPts val="600"/>
              </a:spcAft>
              <a:buFont typeface="Arial" panose="020B0604020202020204" pitchFamily="34" charset="0"/>
              <a:buChar char="•"/>
              <a:defRPr sz="1900"/>
            </a:pPr>
            <a:r>
              <a:rPr lang="en-US" b="0" i="0" dirty="0" err="1">
                <a:solidFill>
                  <a:srgbClr val="374151"/>
                </a:solidFill>
                <a:effectLst/>
                <a:latin typeface="Söhne"/>
              </a:rPr>
              <a:t>Trafik</a:t>
            </a:r>
            <a:r>
              <a:rPr lang="en-US" b="0" i="0" dirty="0">
                <a:solidFill>
                  <a:srgbClr val="374151"/>
                </a:solidFill>
                <a:effectLst/>
                <a:latin typeface="Söhne"/>
              </a:rPr>
              <a:t> </a:t>
            </a:r>
            <a:r>
              <a:rPr lang="en-US" b="0" i="0" dirty="0" err="1">
                <a:solidFill>
                  <a:srgbClr val="374151"/>
                </a:solidFill>
                <a:effectLst/>
                <a:latin typeface="Söhne"/>
              </a:rPr>
              <a:t>yoğunluğu</a:t>
            </a:r>
            <a:r>
              <a:rPr lang="en-US" b="0" i="0" dirty="0">
                <a:solidFill>
                  <a:srgbClr val="374151"/>
                </a:solidFill>
                <a:effectLst/>
                <a:latin typeface="Söhne"/>
              </a:rPr>
              <a:t> </a:t>
            </a:r>
            <a:r>
              <a:rPr lang="en-US" b="0" i="0" dirty="0" err="1">
                <a:solidFill>
                  <a:srgbClr val="374151"/>
                </a:solidFill>
                <a:effectLst/>
                <a:latin typeface="Söhne"/>
              </a:rPr>
              <a:t>ücretlendirmesi</a:t>
            </a:r>
            <a:r>
              <a:rPr lang="en-US" b="0" i="0" dirty="0">
                <a:solidFill>
                  <a:srgbClr val="374151"/>
                </a:solidFill>
                <a:effectLst/>
                <a:latin typeface="Söhne"/>
              </a:rPr>
              <a:t> </a:t>
            </a:r>
            <a:r>
              <a:rPr lang="en-US" b="0" i="0" dirty="0" err="1">
                <a:solidFill>
                  <a:srgbClr val="374151"/>
                </a:solidFill>
                <a:effectLst/>
                <a:latin typeface="Söhne"/>
              </a:rPr>
              <a:t>veya</a:t>
            </a:r>
            <a:r>
              <a:rPr lang="en-US" b="0" i="0" dirty="0">
                <a:solidFill>
                  <a:srgbClr val="374151"/>
                </a:solidFill>
                <a:effectLst/>
                <a:latin typeface="Söhne"/>
              </a:rPr>
              <a:t> </a:t>
            </a:r>
            <a:r>
              <a:rPr lang="en-US" b="0" i="0" dirty="0" err="1">
                <a:solidFill>
                  <a:srgbClr val="374151"/>
                </a:solidFill>
                <a:effectLst/>
                <a:latin typeface="Söhne"/>
              </a:rPr>
              <a:t>yol</a:t>
            </a:r>
            <a:r>
              <a:rPr lang="en-US" b="0" i="0" dirty="0">
                <a:solidFill>
                  <a:srgbClr val="374151"/>
                </a:solidFill>
                <a:effectLst/>
                <a:latin typeface="Söhne"/>
              </a:rPr>
              <a:t> </a:t>
            </a:r>
            <a:r>
              <a:rPr lang="en-US" b="0" i="0" dirty="0" err="1">
                <a:solidFill>
                  <a:srgbClr val="374151"/>
                </a:solidFill>
                <a:effectLst/>
                <a:latin typeface="Söhne"/>
              </a:rPr>
              <a:t>ücreti</a:t>
            </a:r>
            <a:r>
              <a:rPr lang="en-US" b="0" i="0" dirty="0">
                <a:solidFill>
                  <a:srgbClr val="374151"/>
                </a:solidFill>
                <a:effectLst/>
                <a:latin typeface="Söhne"/>
              </a:rPr>
              <a:t> </a:t>
            </a:r>
            <a:r>
              <a:rPr lang="en-US" b="0" i="0" dirty="0" err="1">
                <a:solidFill>
                  <a:srgbClr val="374151"/>
                </a:solidFill>
                <a:effectLst/>
                <a:latin typeface="Söhne"/>
              </a:rPr>
              <a:t>gibi</a:t>
            </a:r>
            <a:r>
              <a:rPr lang="en-US" b="0" i="0" dirty="0">
                <a:solidFill>
                  <a:srgbClr val="374151"/>
                </a:solidFill>
                <a:effectLst/>
                <a:latin typeface="Söhne"/>
              </a:rPr>
              <a:t> </a:t>
            </a:r>
            <a:r>
              <a:rPr lang="en-US" b="0" i="0" dirty="0" err="1">
                <a:solidFill>
                  <a:srgbClr val="374151"/>
                </a:solidFill>
                <a:effectLst/>
                <a:latin typeface="Söhne"/>
              </a:rPr>
              <a:t>fiyatlandırma</a:t>
            </a:r>
            <a:r>
              <a:rPr lang="en-US" b="0" i="0" dirty="0">
                <a:solidFill>
                  <a:srgbClr val="374151"/>
                </a:solidFill>
                <a:effectLst/>
                <a:latin typeface="Söhne"/>
              </a:rPr>
              <a:t> </a:t>
            </a:r>
            <a:r>
              <a:rPr lang="en-US" b="0" i="0" dirty="0" err="1">
                <a:solidFill>
                  <a:srgbClr val="374151"/>
                </a:solidFill>
                <a:effectLst/>
                <a:latin typeface="Söhne"/>
              </a:rPr>
              <a:t>yöntemleri</a:t>
            </a:r>
            <a:r>
              <a:rPr lang="en-US" b="0" i="0" dirty="0">
                <a:solidFill>
                  <a:srgbClr val="374151"/>
                </a:solidFill>
                <a:effectLst/>
                <a:latin typeface="Söhne"/>
              </a:rPr>
              <a:t>, </a:t>
            </a:r>
            <a:r>
              <a:rPr lang="en-US" b="0" i="0" dirty="0" err="1">
                <a:solidFill>
                  <a:srgbClr val="374151"/>
                </a:solidFill>
                <a:effectLst/>
                <a:latin typeface="Söhne"/>
              </a:rPr>
              <a:t>sürücüleri</a:t>
            </a:r>
            <a:r>
              <a:rPr lang="en-US" b="0" i="0" dirty="0">
                <a:solidFill>
                  <a:srgbClr val="374151"/>
                </a:solidFill>
                <a:effectLst/>
                <a:latin typeface="Söhne"/>
              </a:rPr>
              <a:t> </a:t>
            </a:r>
            <a:r>
              <a:rPr lang="en-US" b="0" i="0" dirty="0" err="1">
                <a:solidFill>
                  <a:srgbClr val="374151"/>
                </a:solidFill>
                <a:effectLst/>
                <a:latin typeface="Söhne"/>
              </a:rPr>
              <a:t>alternatif</a:t>
            </a:r>
            <a:r>
              <a:rPr lang="en-US" b="0" i="0" dirty="0">
                <a:solidFill>
                  <a:srgbClr val="374151"/>
                </a:solidFill>
                <a:effectLst/>
                <a:latin typeface="Söhne"/>
              </a:rPr>
              <a:t> </a:t>
            </a:r>
            <a:r>
              <a:rPr lang="en-US" b="0" i="0" dirty="0" err="1">
                <a:solidFill>
                  <a:srgbClr val="374151"/>
                </a:solidFill>
                <a:effectLst/>
                <a:latin typeface="Söhne"/>
              </a:rPr>
              <a:t>ulaşım</a:t>
            </a:r>
            <a:r>
              <a:rPr lang="en-US" b="0" i="0" dirty="0">
                <a:solidFill>
                  <a:srgbClr val="374151"/>
                </a:solidFill>
                <a:effectLst/>
                <a:latin typeface="Söhne"/>
              </a:rPr>
              <a:t> </a:t>
            </a:r>
            <a:r>
              <a:rPr lang="en-US" b="0" i="0" dirty="0" err="1">
                <a:solidFill>
                  <a:srgbClr val="374151"/>
                </a:solidFill>
                <a:effectLst/>
                <a:latin typeface="Söhne"/>
              </a:rPr>
              <a:t>biçimlerini</a:t>
            </a:r>
            <a:r>
              <a:rPr lang="en-US" b="0" i="0" dirty="0">
                <a:solidFill>
                  <a:srgbClr val="374151"/>
                </a:solidFill>
                <a:effectLst/>
                <a:latin typeface="Söhne"/>
              </a:rPr>
              <a:t> </a:t>
            </a:r>
            <a:r>
              <a:rPr lang="en-US" b="0" i="0" dirty="0" err="1">
                <a:solidFill>
                  <a:srgbClr val="374151"/>
                </a:solidFill>
                <a:effectLst/>
                <a:latin typeface="Söhne"/>
              </a:rPr>
              <a:t>değerlendirmeye</a:t>
            </a:r>
            <a:r>
              <a:rPr lang="en-US" b="0" i="0" dirty="0">
                <a:solidFill>
                  <a:srgbClr val="374151"/>
                </a:solidFill>
                <a:effectLst/>
                <a:latin typeface="Söhne"/>
              </a:rPr>
              <a:t> </a:t>
            </a:r>
            <a:r>
              <a:rPr lang="en-US" b="0" i="0" dirty="0" err="1">
                <a:solidFill>
                  <a:srgbClr val="374151"/>
                </a:solidFill>
                <a:effectLst/>
                <a:latin typeface="Söhne"/>
              </a:rPr>
              <a:t>veya</a:t>
            </a:r>
            <a:r>
              <a:rPr lang="en-US" b="0" i="0" dirty="0">
                <a:solidFill>
                  <a:srgbClr val="374151"/>
                </a:solidFill>
                <a:effectLst/>
                <a:latin typeface="Söhne"/>
              </a:rPr>
              <a:t> </a:t>
            </a:r>
            <a:r>
              <a:rPr lang="en-US" b="0" i="0" dirty="0" err="1">
                <a:solidFill>
                  <a:srgbClr val="374151"/>
                </a:solidFill>
                <a:effectLst/>
                <a:latin typeface="Söhne"/>
              </a:rPr>
              <a:t>yoğun</a:t>
            </a:r>
            <a:r>
              <a:rPr lang="en-US" b="0" i="0" dirty="0">
                <a:solidFill>
                  <a:srgbClr val="374151"/>
                </a:solidFill>
                <a:effectLst/>
                <a:latin typeface="Söhne"/>
              </a:rPr>
              <a:t> </a:t>
            </a:r>
            <a:r>
              <a:rPr lang="en-US" b="0" i="0" dirty="0" err="1">
                <a:solidFill>
                  <a:srgbClr val="374151"/>
                </a:solidFill>
                <a:effectLst/>
                <a:latin typeface="Söhne"/>
              </a:rPr>
              <a:t>olmayan</a:t>
            </a:r>
            <a:r>
              <a:rPr lang="en-US" b="0" i="0" dirty="0">
                <a:solidFill>
                  <a:srgbClr val="374151"/>
                </a:solidFill>
                <a:effectLst/>
                <a:latin typeface="Söhne"/>
              </a:rPr>
              <a:t> </a:t>
            </a:r>
            <a:r>
              <a:rPr lang="en-US" b="0" i="0" dirty="0" err="1">
                <a:solidFill>
                  <a:srgbClr val="374151"/>
                </a:solidFill>
                <a:effectLst/>
                <a:latin typeface="Söhne"/>
              </a:rPr>
              <a:t>saatlerde</a:t>
            </a:r>
            <a:r>
              <a:rPr lang="en-US" b="0" i="0" dirty="0">
                <a:solidFill>
                  <a:srgbClr val="374151"/>
                </a:solidFill>
                <a:effectLst/>
                <a:latin typeface="Söhne"/>
              </a:rPr>
              <a:t> </a:t>
            </a:r>
            <a:r>
              <a:rPr lang="en-US" b="0" i="0" dirty="0" err="1">
                <a:solidFill>
                  <a:srgbClr val="374151"/>
                </a:solidFill>
                <a:effectLst/>
                <a:latin typeface="Söhne"/>
              </a:rPr>
              <a:t>seyahat</a:t>
            </a:r>
            <a:r>
              <a:rPr lang="en-US" b="0" i="0" dirty="0">
                <a:solidFill>
                  <a:srgbClr val="374151"/>
                </a:solidFill>
                <a:effectLst/>
                <a:latin typeface="Söhne"/>
              </a:rPr>
              <a:t> </a:t>
            </a:r>
            <a:r>
              <a:rPr lang="en-US" b="0" i="0" dirty="0" err="1">
                <a:solidFill>
                  <a:srgbClr val="374151"/>
                </a:solidFill>
                <a:effectLst/>
                <a:latin typeface="Söhne"/>
              </a:rPr>
              <a:t>etmeye</a:t>
            </a:r>
            <a:r>
              <a:rPr lang="en-US" b="0" i="0" dirty="0">
                <a:solidFill>
                  <a:srgbClr val="374151"/>
                </a:solidFill>
                <a:effectLst/>
                <a:latin typeface="Söhne"/>
              </a:rPr>
              <a:t> </a:t>
            </a:r>
            <a:r>
              <a:rPr lang="en-US" b="0" i="0" dirty="0" err="1">
                <a:solidFill>
                  <a:srgbClr val="374151"/>
                </a:solidFill>
                <a:effectLst/>
                <a:latin typeface="Söhne"/>
              </a:rPr>
              <a:t>yönlendirerek</a:t>
            </a:r>
            <a:r>
              <a:rPr lang="en-US" b="0" i="0" dirty="0">
                <a:solidFill>
                  <a:srgbClr val="374151"/>
                </a:solidFill>
                <a:effectLst/>
                <a:latin typeface="Söhne"/>
              </a:rPr>
              <a:t> </a:t>
            </a:r>
            <a:r>
              <a:rPr lang="en-US" b="0" i="0" dirty="0" err="1">
                <a:solidFill>
                  <a:srgbClr val="374151"/>
                </a:solidFill>
                <a:effectLst/>
                <a:latin typeface="Söhne"/>
              </a:rPr>
              <a:t>trafik</a:t>
            </a:r>
            <a:r>
              <a:rPr lang="en-US" b="0" i="0" dirty="0">
                <a:solidFill>
                  <a:srgbClr val="374151"/>
                </a:solidFill>
                <a:effectLst/>
                <a:latin typeface="Söhne"/>
              </a:rPr>
              <a:t> </a:t>
            </a:r>
            <a:r>
              <a:rPr lang="en-US" b="0" i="0" dirty="0" err="1">
                <a:solidFill>
                  <a:srgbClr val="374151"/>
                </a:solidFill>
                <a:effectLst/>
                <a:latin typeface="Söhne"/>
              </a:rPr>
              <a:t>talebini</a:t>
            </a:r>
            <a:r>
              <a:rPr lang="en-US" b="0" i="0" dirty="0">
                <a:solidFill>
                  <a:srgbClr val="374151"/>
                </a:solidFill>
                <a:effectLst/>
                <a:latin typeface="Söhne"/>
              </a:rPr>
              <a:t> </a:t>
            </a:r>
            <a:r>
              <a:rPr lang="en-US" b="0" i="0" dirty="0" err="1">
                <a:solidFill>
                  <a:srgbClr val="374151"/>
                </a:solidFill>
                <a:effectLst/>
                <a:latin typeface="Söhne"/>
              </a:rPr>
              <a:t>yönetmeye</a:t>
            </a:r>
            <a:r>
              <a:rPr lang="en-US" b="0" i="0" dirty="0">
                <a:solidFill>
                  <a:srgbClr val="374151"/>
                </a:solidFill>
                <a:effectLst/>
                <a:latin typeface="Söhne"/>
              </a:rPr>
              <a:t> </a:t>
            </a:r>
            <a:r>
              <a:rPr lang="en-US" b="0" i="0" dirty="0" err="1">
                <a:solidFill>
                  <a:srgbClr val="374151"/>
                </a:solidFill>
                <a:effectLst/>
                <a:latin typeface="Söhne"/>
              </a:rPr>
              <a:t>yardımcı</a:t>
            </a:r>
            <a:r>
              <a:rPr lang="en-US" b="0" i="0" dirty="0">
                <a:solidFill>
                  <a:srgbClr val="374151"/>
                </a:solidFill>
                <a:effectLst/>
                <a:latin typeface="Söhne"/>
              </a:rPr>
              <a:t> </a:t>
            </a:r>
            <a:r>
              <a:rPr lang="en-US" b="0" i="0" dirty="0" err="1">
                <a:solidFill>
                  <a:srgbClr val="374151"/>
                </a:solidFill>
                <a:effectLst/>
                <a:latin typeface="Söhne"/>
              </a:rPr>
              <a:t>olabilir</a:t>
            </a:r>
            <a:r>
              <a:rPr lang="en-US" b="0" i="0" dirty="0">
                <a:solidFill>
                  <a:srgbClr val="374151"/>
                </a:solidFill>
                <a:effectLst/>
                <a:latin typeface="Söhne"/>
              </a:rPr>
              <a:t>. </a:t>
            </a:r>
            <a:r>
              <a:rPr lang="en-US" b="0" i="0" dirty="0" err="1">
                <a:solidFill>
                  <a:srgbClr val="374151"/>
                </a:solidFill>
                <a:effectLst/>
                <a:latin typeface="Söhne"/>
              </a:rPr>
              <a:t>Fiyatlandırma</a:t>
            </a:r>
            <a:r>
              <a:rPr lang="en-US" b="0" i="0" dirty="0">
                <a:solidFill>
                  <a:srgbClr val="374151"/>
                </a:solidFill>
                <a:effectLst/>
                <a:latin typeface="Söhne"/>
              </a:rPr>
              <a:t> </a:t>
            </a:r>
            <a:r>
              <a:rPr lang="en-US" b="0" i="0" dirty="0" err="1">
                <a:solidFill>
                  <a:srgbClr val="374151"/>
                </a:solidFill>
                <a:effectLst/>
                <a:latin typeface="Söhne"/>
              </a:rPr>
              <a:t>stratejilerini</a:t>
            </a:r>
            <a:r>
              <a:rPr lang="en-US" b="0" i="0" dirty="0">
                <a:solidFill>
                  <a:srgbClr val="374151"/>
                </a:solidFill>
                <a:effectLst/>
                <a:latin typeface="Söhne"/>
              </a:rPr>
              <a:t> </a:t>
            </a:r>
            <a:r>
              <a:rPr lang="en-US" b="0" i="0" dirty="0" err="1">
                <a:solidFill>
                  <a:srgbClr val="374151"/>
                </a:solidFill>
                <a:effectLst/>
                <a:latin typeface="Söhne"/>
              </a:rPr>
              <a:t>kullanarak</a:t>
            </a:r>
            <a:r>
              <a:rPr lang="en-US" b="0" i="0" dirty="0">
                <a:solidFill>
                  <a:srgbClr val="374151"/>
                </a:solidFill>
                <a:effectLst/>
                <a:latin typeface="Söhne"/>
              </a:rPr>
              <a:t>, </a:t>
            </a:r>
            <a:r>
              <a:rPr lang="en-US" b="0" i="0" dirty="0" err="1">
                <a:solidFill>
                  <a:srgbClr val="374151"/>
                </a:solidFill>
                <a:effectLst/>
                <a:latin typeface="Söhne"/>
              </a:rPr>
              <a:t>şehirler</a:t>
            </a:r>
            <a:endParaRPr lang="en-US" dirty="0"/>
          </a:p>
        </p:txBody>
      </p:sp>
      <p:pic>
        <p:nvPicPr>
          <p:cNvPr id="4" name="Picture 6" descr="Multiple interweaving highways with cars driving in different directions">
            <a:extLst>
              <a:ext uri="{FF2B5EF4-FFF2-40B4-BE49-F238E27FC236}">
                <a16:creationId xmlns:a16="http://schemas.microsoft.com/office/drawing/2014/main" id="{89DCB581-6CE4-9D01-C585-B6797F5C6029}"/>
              </a:ext>
            </a:extLst>
          </p:cNvPr>
          <p:cNvPicPr>
            <a:picLocks noChangeAspect="1"/>
          </p:cNvPicPr>
          <p:nvPr/>
        </p:nvPicPr>
        <p:blipFill rotWithShape="1">
          <a:blip r:embed="rId4"/>
          <a:srcRect l="11846" r="9408" b="2"/>
          <a:stretch/>
        </p:blipFill>
        <p:spPr>
          <a:xfrm>
            <a:off x="6374293" y="1769508"/>
            <a:ext cx="5283866" cy="4210442"/>
          </a:xfrm>
          <a:custGeom>
            <a:avLst/>
            <a:gdLst/>
            <a:ahLst/>
            <a:cxnLst/>
            <a:rect l="l" t="t" r="r" b="b"/>
            <a:pathLst>
              <a:path w="5283866" h="4210442">
                <a:moveTo>
                  <a:pt x="839883" y="18"/>
                </a:moveTo>
                <a:cubicBezTo>
                  <a:pt x="851945" y="328"/>
                  <a:pt x="864423" y="4671"/>
                  <a:pt x="875727" y="6050"/>
                </a:cubicBezTo>
                <a:cubicBezTo>
                  <a:pt x="1125267" y="36932"/>
                  <a:pt x="1374804" y="70296"/>
                  <a:pt x="1624617" y="99799"/>
                </a:cubicBezTo>
                <a:cubicBezTo>
                  <a:pt x="1858164" y="127373"/>
                  <a:pt x="2093363" y="133714"/>
                  <a:pt x="2328012" y="148051"/>
                </a:cubicBezTo>
                <a:cubicBezTo>
                  <a:pt x="2612016" y="165424"/>
                  <a:pt x="2895470" y="189965"/>
                  <a:pt x="3177820" y="228566"/>
                </a:cubicBezTo>
                <a:cubicBezTo>
                  <a:pt x="3373866" y="255590"/>
                  <a:pt x="3571843" y="274338"/>
                  <a:pt x="3770646" y="252831"/>
                </a:cubicBezTo>
                <a:cubicBezTo>
                  <a:pt x="3780572" y="251727"/>
                  <a:pt x="3791878" y="248144"/>
                  <a:pt x="3800149" y="251727"/>
                </a:cubicBezTo>
                <a:cubicBezTo>
                  <a:pt x="3896658" y="291986"/>
                  <a:pt x="4001986" y="263033"/>
                  <a:pt x="4102076" y="288400"/>
                </a:cubicBezTo>
                <a:cubicBezTo>
                  <a:pt x="4076434" y="386286"/>
                  <a:pt x="3966416" y="378289"/>
                  <a:pt x="3904377" y="446120"/>
                </a:cubicBezTo>
                <a:cubicBezTo>
                  <a:pt x="4005570" y="473141"/>
                  <a:pt x="4096562" y="500439"/>
                  <a:pt x="4188933" y="520843"/>
                </a:cubicBezTo>
                <a:cubicBezTo>
                  <a:pt x="4286818" y="542350"/>
                  <a:pt x="4369813" y="600531"/>
                  <a:pt x="4465492" y="626449"/>
                </a:cubicBezTo>
                <a:cubicBezTo>
                  <a:pt x="4485897" y="631964"/>
                  <a:pt x="4510437" y="651264"/>
                  <a:pt x="4517606" y="670015"/>
                </a:cubicBezTo>
                <a:cubicBezTo>
                  <a:pt x="4540768" y="730677"/>
                  <a:pt x="5003171" y="900804"/>
                  <a:pt x="4948576" y="954847"/>
                </a:cubicBezTo>
                <a:cubicBezTo>
                  <a:pt x="4925966" y="977182"/>
                  <a:pt x="4896738" y="993174"/>
                  <a:pt x="4866132" y="1015233"/>
                </a:cubicBezTo>
                <a:cubicBezTo>
                  <a:pt x="4912180" y="1056869"/>
                  <a:pt x="4964017" y="1075067"/>
                  <a:pt x="5019164" y="1087474"/>
                </a:cubicBezTo>
                <a:cubicBezTo>
                  <a:pt x="5035708" y="1091335"/>
                  <a:pt x="5051977" y="1099055"/>
                  <a:pt x="5053630" y="1117806"/>
                </a:cubicBezTo>
                <a:cubicBezTo>
                  <a:pt x="5055284" y="1137382"/>
                  <a:pt x="5038464" y="1145101"/>
                  <a:pt x="5024404" y="1154202"/>
                </a:cubicBezTo>
                <a:cubicBezTo>
                  <a:pt x="5004826" y="1166885"/>
                  <a:pt x="4985800" y="1177916"/>
                  <a:pt x="4960984" y="1179569"/>
                </a:cubicBezTo>
                <a:cubicBezTo>
                  <a:pt x="4920176" y="1182051"/>
                  <a:pt x="4900600" y="1217344"/>
                  <a:pt x="4876887" y="1243814"/>
                </a:cubicBezTo>
                <a:cubicBezTo>
                  <a:pt x="4863652" y="1258705"/>
                  <a:pt x="4857034" y="1288759"/>
                  <a:pt x="4880195" y="1293998"/>
                </a:cubicBezTo>
                <a:cubicBezTo>
                  <a:pt x="4935892" y="1306682"/>
                  <a:pt x="4931480" y="1343355"/>
                  <a:pt x="4930104" y="1384991"/>
                </a:cubicBezTo>
                <a:cubicBezTo>
                  <a:pt x="4928173" y="1436553"/>
                  <a:pt x="4895360" y="1460265"/>
                  <a:pt x="4855103" y="1480119"/>
                </a:cubicBezTo>
                <a:cubicBezTo>
                  <a:pt x="4841316" y="1487011"/>
                  <a:pt x="4821740" y="1486735"/>
                  <a:pt x="4816500" y="1508242"/>
                </a:cubicBezTo>
                <a:cubicBezTo>
                  <a:pt x="4839110" y="1528648"/>
                  <a:pt x="4866684" y="1512103"/>
                  <a:pt x="4890949" y="1517893"/>
                </a:cubicBezTo>
                <a:cubicBezTo>
                  <a:pt x="4911077" y="1522581"/>
                  <a:pt x="4944441" y="1520100"/>
                  <a:pt x="4916868" y="1557599"/>
                </a:cubicBezTo>
                <a:cubicBezTo>
                  <a:pt x="4908870" y="1568352"/>
                  <a:pt x="4918245" y="1576625"/>
                  <a:pt x="4928448" y="1577453"/>
                </a:cubicBezTo>
                <a:cubicBezTo>
                  <a:pt x="5010066" y="1586000"/>
                  <a:pt x="4972566" y="1661827"/>
                  <a:pt x="4998760" y="1701809"/>
                </a:cubicBezTo>
                <a:cubicBezTo>
                  <a:pt x="5005928" y="1712836"/>
                  <a:pt x="4998208" y="1731862"/>
                  <a:pt x="4986903" y="1736550"/>
                </a:cubicBezTo>
                <a:cubicBezTo>
                  <a:pt x="4914660" y="1767432"/>
                  <a:pt x="4904735" y="1841053"/>
                  <a:pt x="4869716" y="1904472"/>
                </a:cubicBezTo>
                <a:cubicBezTo>
                  <a:pt x="4907768" y="1929562"/>
                  <a:pt x="4953264" y="1935077"/>
                  <a:pt x="4994348" y="1951346"/>
                </a:cubicBezTo>
                <a:cubicBezTo>
                  <a:pt x="5037087" y="1968441"/>
                  <a:pt x="5037087" y="1981125"/>
                  <a:pt x="5001792" y="2030756"/>
                </a:cubicBezTo>
                <a:cubicBezTo>
                  <a:pt x="5093611" y="2041511"/>
                  <a:pt x="5093611" y="2041511"/>
                  <a:pt x="5065212" y="2119543"/>
                </a:cubicBezTo>
                <a:cubicBezTo>
                  <a:pt x="5142142" y="2126712"/>
                  <a:pt x="5192876" y="2163660"/>
                  <a:pt x="5204732" y="2244450"/>
                </a:cubicBezTo>
                <a:cubicBezTo>
                  <a:pt x="5210523" y="2283604"/>
                  <a:pt x="5245265" y="2302077"/>
                  <a:pt x="5283866" y="2328272"/>
                </a:cubicBezTo>
                <a:cubicBezTo>
                  <a:pt x="5235890" y="2353641"/>
                  <a:pt x="5203354" y="2406580"/>
                  <a:pt x="5147380" y="2350606"/>
                </a:cubicBezTo>
                <a:cubicBezTo>
                  <a:pt x="5126976" y="2330203"/>
                  <a:pt x="5128904" y="2356121"/>
                  <a:pt x="5126148" y="2363566"/>
                </a:cubicBezTo>
                <a:cubicBezTo>
                  <a:pt x="5119532" y="2381764"/>
                  <a:pt x="5133316" y="2393897"/>
                  <a:pt x="5142417" y="2407682"/>
                </a:cubicBezTo>
                <a:cubicBezTo>
                  <a:pt x="5151240" y="2421470"/>
                  <a:pt x="5161718" y="2436083"/>
                  <a:pt x="5164200" y="2451526"/>
                </a:cubicBezTo>
                <a:cubicBezTo>
                  <a:pt x="5165852" y="2462279"/>
                  <a:pt x="5157858" y="2477994"/>
                  <a:pt x="5149034" y="2485992"/>
                </a:cubicBezTo>
                <a:cubicBezTo>
                  <a:pt x="5102710" y="2528178"/>
                  <a:pt x="5130284" y="2623031"/>
                  <a:pt x="5042601" y="2635164"/>
                </a:cubicBezTo>
                <a:cubicBezTo>
                  <a:pt x="5003171" y="2640677"/>
                  <a:pt x="4984146" y="2675420"/>
                  <a:pt x="4955194" y="2694445"/>
                </a:cubicBezTo>
                <a:cubicBezTo>
                  <a:pt x="4854552" y="2760897"/>
                  <a:pt x="4787272" y="2846375"/>
                  <a:pt x="4756116" y="2963836"/>
                </a:cubicBezTo>
                <a:cubicBezTo>
                  <a:pt x="4747568" y="2996372"/>
                  <a:pt x="4714754" y="3022569"/>
                  <a:pt x="4693523" y="3051244"/>
                </a:cubicBezTo>
                <a:cubicBezTo>
                  <a:pt x="4703726" y="3072199"/>
                  <a:pt x="4759424" y="3026979"/>
                  <a:pt x="4739848" y="3082125"/>
                </a:cubicBezTo>
                <a:cubicBezTo>
                  <a:pt x="4724958" y="3123486"/>
                  <a:pt x="4686906" y="3149129"/>
                  <a:pt x="4651060" y="3173670"/>
                </a:cubicBezTo>
                <a:cubicBezTo>
                  <a:pt x="4610252" y="3201518"/>
                  <a:pt x="4565032" y="3223852"/>
                  <a:pt x="4546556" y="3275413"/>
                </a:cubicBezTo>
                <a:cubicBezTo>
                  <a:pt x="4542697" y="3286444"/>
                  <a:pt x="4530288" y="3298024"/>
                  <a:pt x="4519261" y="3302437"/>
                </a:cubicBezTo>
                <a:cubicBezTo>
                  <a:pt x="3944081" y="4209875"/>
                  <a:pt x="2528194" y="4215939"/>
                  <a:pt x="2364961" y="4209597"/>
                </a:cubicBezTo>
                <a:cubicBezTo>
                  <a:pt x="2167260" y="4201602"/>
                  <a:pt x="1980313" y="4145627"/>
                  <a:pt x="1796951" y="4075867"/>
                </a:cubicBezTo>
                <a:cubicBezTo>
                  <a:pt x="1719469" y="4046365"/>
                  <a:pt x="1647505" y="4004453"/>
                  <a:pt x="1572227" y="3971917"/>
                </a:cubicBezTo>
                <a:cubicBezTo>
                  <a:pt x="1468277" y="3926971"/>
                  <a:pt x="1388040" y="3841219"/>
                  <a:pt x="1284364" y="3805097"/>
                </a:cubicBezTo>
                <a:cubicBezTo>
                  <a:pt x="1177655" y="3767873"/>
                  <a:pt x="1086388" y="3699767"/>
                  <a:pt x="976645" y="3670815"/>
                </a:cubicBezTo>
                <a:cubicBezTo>
                  <a:pt x="918742" y="3655375"/>
                  <a:pt x="862768" y="3627527"/>
                  <a:pt x="871866" y="3547839"/>
                </a:cubicBezTo>
                <a:cubicBezTo>
                  <a:pt x="874349" y="3525228"/>
                  <a:pt x="859184" y="3506755"/>
                  <a:pt x="835195" y="3513373"/>
                </a:cubicBezTo>
                <a:cubicBezTo>
                  <a:pt x="789424" y="3525780"/>
                  <a:pt x="768744" y="3492967"/>
                  <a:pt x="743375" y="3468427"/>
                </a:cubicBezTo>
                <a:cubicBezTo>
                  <a:pt x="698156" y="3424863"/>
                  <a:pt x="655142" y="3378540"/>
                  <a:pt x="583175" y="3371370"/>
                </a:cubicBezTo>
                <a:cubicBezTo>
                  <a:pt x="596961" y="3337178"/>
                  <a:pt x="620399" y="3342142"/>
                  <a:pt x="641906" y="3349311"/>
                </a:cubicBezTo>
                <a:cubicBezTo>
                  <a:pt x="698432" y="3368062"/>
                  <a:pt x="754405" y="3389293"/>
                  <a:pt x="810930" y="3408042"/>
                </a:cubicBezTo>
                <a:cubicBezTo>
                  <a:pt x="847878" y="3420175"/>
                  <a:pt x="884551" y="3437271"/>
                  <a:pt x="933908" y="3423758"/>
                </a:cubicBezTo>
                <a:cubicBezTo>
                  <a:pt x="891445" y="3354826"/>
                  <a:pt x="819202" y="3342418"/>
                  <a:pt x="760747" y="3321187"/>
                </a:cubicBezTo>
                <a:cubicBezTo>
                  <a:pt x="687678" y="3294441"/>
                  <a:pt x="644664" y="3243980"/>
                  <a:pt x="593101" y="3187731"/>
                </a:cubicBezTo>
                <a:cubicBezTo>
                  <a:pt x="646869" y="3174220"/>
                  <a:pt x="680233" y="3215581"/>
                  <a:pt x="722419" y="3213374"/>
                </a:cubicBezTo>
                <a:cubicBezTo>
                  <a:pt x="724627" y="3206207"/>
                  <a:pt x="728486" y="3195729"/>
                  <a:pt x="727934" y="3195451"/>
                </a:cubicBezTo>
                <a:cubicBezTo>
                  <a:pt x="659002" y="3164570"/>
                  <a:pt x="626741" y="3106666"/>
                  <a:pt x="615987" y="3036630"/>
                </a:cubicBezTo>
                <a:cubicBezTo>
                  <a:pt x="610473" y="3000510"/>
                  <a:pt x="585381" y="2989205"/>
                  <a:pt x="560564" y="2972660"/>
                </a:cubicBezTo>
                <a:cubicBezTo>
                  <a:pt x="473984" y="2913930"/>
                  <a:pt x="382441" y="2860713"/>
                  <a:pt x="311302" y="2779924"/>
                </a:cubicBezTo>
                <a:cubicBezTo>
                  <a:pt x="393471" y="2790677"/>
                  <a:pt x="459371" y="2843341"/>
                  <a:pt x="547882" y="2865952"/>
                </a:cubicBezTo>
                <a:cubicBezTo>
                  <a:pt x="477570" y="2777166"/>
                  <a:pt x="386577" y="2732222"/>
                  <a:pt x="303582" y="2678453"/>
                </a:cubicBezTo>
                <a:cubicBezTo>
                  <a:pt x="265806" y="2653913"/>
                  <a:pt x="230790" y="2622479"/>
                  <a:pt x="185016" y="2609244"/>
                </a:cubicBezTo>
                <a:cubicBezTo>
                  <a:pt x="168748" y="2604556"/>
                  <a:pt x="142002" y="2594630"/>
                  <a:pt x="154963" y="2568435"/>
                </a:cubicBezTo>
                <a:cubicBezTo>
                  <a:pt x="165990" y="2546654"/>
                  <a:pt x="187773" y="2553269"/>
                  <a:pt x="207627" y="2559612"/>
                </a:cubicBezTo>
                <a:cubicBezTo>
                  <a:pt x="255328" y="2575330"/>
                  <a:pt x="304685" y="2575604"/>
                  <a:pt x="369207" y="2575330"/>
                </a:cubicBezTo>
                <a:cubicBezTo>
                  <a:pt x="315163" y="2503363"/>
                  <a:pt x="216174" y="2524871"/>
                  <a:pt x="169852" y="2449319"/>
                </a:cubicBezTo>
                <a:cubicBezTo>
                  <a:pt x="227755" y="2436083"/>
                  <a:pt x="272424" y="2463381"/>
                  <a:pt x="319299" y="2468619"/>
                </a:cubicBezTo>
                <a:cubicBezTo>
                  <a:pt x="361761" y="2473307"/>
                  <a:pt x="372239" y="2460624"/>
                  <a:pt x="362313" y="2418988"/>
                </a:cubicBezTo>
                <a:cubicBezTo>
                  <a:pt x="346873" y="2354190"/>
                  <a:pt x="370034" y="2321102"/>
                  <a:pt x="431798" y="2338750"/>
                </a:cubicBezTo>
                <a:cubicBezTo>
                  <a:pt x="489149" y="2355293"/>
                  <a:pt x="495215" y="2331030"/>
                  <a:pt x="479775" y="2294082"/>
                </a:cubicBezTo>
                <a:cubicBezTo>
                  <a:pt x="457716" y="2240315"/>
                  <a:pt x="482807" y="2198678"/>
                  <a:pt x="499903" y="2153458"/>
                </a:cubicBezTo>
                <a:cubicBezTo>
                  <a:pt x="526099" y="2084525"/>
                  <a:pt x="515069" y="2050885"/>
                  <a:pt x="458544" y="1999599"/>
                </a:cubicBezTo>
                <a:cubicBezTo>
                  <a:pt x="426835" y="1970921"/>
                  <a:pt x="392645" y="1946658"/>
                  <a:pt x="346596" y="1921843"/>
                </a:cubicBezTo>
                <a:cubicBezTo>
                  <a:pt x="452753" y="1908331"/>
                  <a:pt x="341358" y="1862836"/>
                  <a:pt x="378857" y="1834435"/>
                </a:cubicBezTo>
                <a:cubicBezTo>
                  <a:pt x="453856" y="1822854"/>
                  <a:pt x="515069" y="1913294"/>
                  <a:pt x="617091" y="1887376"/>
                </a:cubicBezTo>
                <a:cubicBezTo>
                  <a:pt x="491080" y="1809066"/>
                  <a:pt x="351835" y="1783423"/>
                  <a:pt x="260568" y="1679198"/>
                </a:cubicBezTo>
                <a:cubicBezTo>
                  <a:pt x="281523" y="1655484"/>
                  <a:pt x="302479" y="1677543"/>
                  <a:pt x="320402" y="1668720"/>
                </a:cubicBezTo>
                <a:cubicBezTo>
                  <a:pt x="319850" y="1663205"/>
                  <a:pt x="321230" y="1654932"/>
                  <a:pt x="317920" y="1652452"/>
                </a:cubicBezTo>
                <a:cubicBezTo>
                  <a:pt x="249815" y="1595650"/>
                  <a:pt x="248711" y="1594273"/>
                  <a:pt x="321779" y="1552359"/>
                </a:cubicBezTo>
                <a:cubicBezTo>
                  <a:pt x="347424" y="1537746"/>
                  <a:pt x="345218" y="1524786"/>
                  <a:pt x="331707" y="1506313"/>
                </a:cubicBezTo>
                <a:cubicBezTo>
                  <a:pt x="322055" y="1493353"/>
                  <a:pt x="310475" y="1481772"/>
                  <a:pt x="315990" y="1453371"/>
                </a:cubicBezTo>
                <a:cubicBezTo>
                  <a:pt x="355971" y="1489769"/>
                  <a:pt x="549259" y="1477912"/>
                  <a:pt x="583450" y="1474052"/>
                </a:cubicBezTo>
                <a:cubicBezTo>
                  <a:pt x="621777" y="1469917"/>
                  <a:pt x="659553" y="1452269"/>
                  <a:pt x="699809" y="1461919"/>
                </a:cubicBezTo>
                <a:cubicBezTo>
                  <a:pt x="732070" y="1469641"/>
                  <a:pt x="881516" y="1544364"/>
                  <a:pt x="902750" y="1458612"/>
                </a:cubicBezTo>
                <a:cubicBezTo>
                  <a:pt x="903853" y="1454475"/>
                  <a:pt x="964237" y="1464127"/>
                  <a:pt x="996774" y="1468814"/>
                </a:cubicBezTo>
                <a:cubicBezTo>
                  <a:pt x="1025451" y="1472674"/>
                  <a:pt x="1057712" y="1489769"/>
                  <a:pt x="1077012" y="1455578"/>
                </a:cubicBezTo>
                <a:cubicBezTo>
                  <a:pt x="1088317" y="1435450"/>
                  <a:pt x="1041719" y="1396571"/>
                  <a:pt x="1000083" y="1393262"/>
                </a:cubicBezTo>
                <a:cubicBezTo>
                  <a:pt x="963961" y="1390229"/>
                  <a:pt x="926186" y="1385817"/>
                  <a:pt x="891720" y="1394089"/>
                </a:cubicBezTo>
                <a:cubicBezTo>
                  <a:pt x="849258" y="1404017"/>
                  <a:pt x="826372" y="1388024"/>
                  <a:pt x="814515" y="1353557"/>
                </a:cubicBezTo>
                <a:cubicBezTo>
                  <a:pt x="801280" y="1315506"/>
                  <a:pt x="775911" y="1297858"/>
                  <a:pt x="740895" y="1280211"/>
                </a:cubicBezTo>
                <a:cubicBezTo>
                  <a:pt x="655967" y="1237474"/>
                  <a:pt x="574352" y="1188118"/>
                  <a:pt x="481154" y="1163301"/>
                </a:cubicBezTo>
                <a:cubicBezTo>
                  <a:pt x="462679" y="1158337"/>
                  <a:pt x="442276" y="1151719"/>
                  <a:pt x="433728" y="1118909"/>
                </a:cubicBezTo>
                <a:cubicBezTo>
                  <a:pt x="686023" y="1167987"/>
                  <a:pt x="915984" y="1295929"/>
                  <a:pt x="1176276" y="1288484"/>
                </a:cubicBezTo>
                <a:cubicBezTo>
                  <a:pt x="1105137" y="1247950"/>
                  <a:pt x="1022694" y="1245745"/>
                  <a:pt x="946867" y="1217344"/>
                </a:cubicBezTo>
                <a:cubicBezTo>
                  <a:pt x="1000635" y="1196113"/>
                  <a:pt x="1051094" y="1218172"/>
                  <a:pt x="1102104" y="1230304"/>
                </a:cubicBezTo>
                <a:cubicBezTo>
                  <a:pt x="1144843" y="1240230"/>
                  <a:pt x="1183446" y="1241885"/>
                  <a:pt x="1188133" y="1182603"/>
                </a:cubicBezTo>
                <a:cubicBezTo>
                  <a:pt x="1186478" y="1178742"/>
                  <a:pt x="1186754" y="1173780"/>
                  <a:pt x="1187030" y="1169092"/>
                </a:cubicBezTo>
                <a:cubicBezTo>
                  <a:pt x="1172690" y="1144552"/>
                  <a:pt x="1150358" y="1131868"/>
                  <a:pt x="1123887" y="1124698"/>
                </a:cubicBezTo>
                <a:cubicBezTo>
                  <a:pt x="1107894" y="1120286"/>
                  <a:pt x="1086663" y="1113668"/>
                  <a:pt x="1086938" y="1096023"/>
                </a:cubicBezTo>
                <a:cubicBezTo>
                  <a:pt x="1087765" y="1030674"/>
                  <a:pt x="1036756" y="1011647"/>
                  <a:pt x="985744" y="992622"/>
                </a:cubicBezTo>
                <a:cubicBezTo>
                  <a:pt x="1014145" y="960086"/>
                  <a:pt x="1036479" y="984074"/>
                  <a:pt x="1057987" y="981594"/>
                </a:cubicBezTo>
                <a:cubicBezTo>
                  <a:pt x="1072049" y="979939"/>
                  <a:pt x="1084733" y="976906"/>
                  <a:pt x="1084733" y="960086"/>
                </a:cubicBezTo>
                <a:cubicBezTo>
                  <a:pt x="1085008" y="946023"/>
                  <a:pt x="1078390" y="930030"/>
                  <a:pt x="1064605" y="929756"/>
                </a:cubicBezTo>
                <a:cubicBezTo>
                  <a:pt x="978300" y="927273"/>
                  <a:pt x="930599" y="836833"/>
                  <a:pt x="840985" y="836558"/>
                </a:cubicBezTo>
                <a:cubicBezTo>
                  <a:pt x="787493" y="836558"/>
                  <a:pt x="868834" y="785547"/>
                  <a:pt x="823615" y="764315"/>
                </a:cubicBezTo>
                <a:cubicBezTo>
                  <a:pt x="813687" y="759628"/>
                  <a:pt x="849533" y="752460"/>
                  <a:pt x="865526" y="753562"/>
                </a:cubicBezTo>
                <a:cubicBezTo>
                  <a:pt x="881242" y="754665"/>
                  <a:pt x="895304" y="768175"/>
                  <a:pt x="914331" y="758525"/>
                </a:cubicBezTo>
                <a:cubicBezTo>
                  <a:pt x="924808" y="724059"/>
                  <a:pt x="897787" y="711375"/>
                  <a:pt x="875452" y="701724"/>
                </a:cubicBezTo>
                <a:cubicBezTo>
                  <a:pt x="823889" y="679390"/>
                  <a:pt x="773706" y="652369"/>
                  <a:pt x="717181" y="644371"/>
                </a:cubicBezTo>
                <a:cubicBezTo>
                  <a:pt x="697053" y="641614"/>
                  <a:pt x="746133" y="604666"/>
                  <a:pt x="755783" y="591707"/>
                </a:cubicBezTo>
                <a:cubicBezTo>
                  <a:pt x="528304" y="455496"/>
                  <a:pt x="254778" y="462388"/>
                  <a:pt x="0" y="352370"/>
                </a:cubicBezTo>
                <a:cubicBezTo>
                  <a:pt x="56250" y="330864"/>
                  <a:pt x="97610" y="346580"/>
                  <a:pt x="135937" y="349889"/>
                </a:cubicBezTo>
                <a:cubicBezTo>
                  <a:pt x="231615" y="358160"/>
                  <a:pt x="326193" y="375256"/>
                  <a:pt x="421595" y="385458"/>
                </a:cubicBezTo>
                <a:cubicBezTo>
                  <a:pt x="468469" y="390421"/>
                  <a:pt x="512035" y="409172"/>
                  <a:pt x="564424" y="379393"/>
                </a:cubicBezTo>
                <a:cubicBezTo>
                  <a:pt x="599443" y="359540"/>
                  <a:pt x="655418" y="381046"/>
                  <a:pt x="698432" y="398694"/>
                </a:cubicBezTo>
                <a:cubicBezTo>
                  <a:pt x="734000" y="413307"/>
                  <a:pt x="767916" y="417167"/>
                  <a:pt x="815067" y="398694"/>
                </a:cubicBezTo>
                <a:cubicBezTo>
                  <a:pt x="772328" y="387389"/>
                  <a:pt x="739515" y="377463"/>
                  <a:pt x="705876" y="370568"/>
                </a:cubicBezTo>
                <a:cubicBezTo>
                  <a:pt x="679130" y="365055"/>
                  <a:pt x="742825" y="342719"/>
                  <a:pt x="775360" y="345477"/>
                </a:cubicBezTo>
                <a:cubicBezTo>
                  <a:pt x="820857" y="349337"/>
                  <a:pt x="795214" y="335000"/>
                  <a:pt x="787493" y="315146"/>
                </a:cubicBezTo>
                <a:cubicBezTo>
                  <a:pt x="779221" y="293915"/>
                  <a:pt x="803761" y="287298"/>
                  <a:pt x="819202" y="291709"/>
                </a:cubicBezTo>
                <a:cubicBezTo>
                  <a:pt x="878484" y="309081"/>
                  <a:pt x="937491" y="278474"/>
                  <a:pt x="998705" y="303291"/>
                </a:cubicBezTo>
                <a:cubicBezTo>
                  <a:pt x="983263" y="242077"/>
                  <a:pt x="949899" y="215331"/>
                  <a:pt x="880139" y="206783"/>
                </a:cubicBezTo>
                <a:cubicBezTo>
                  <a:pt x="853944" y="203475"/>
                  <a:pt x="826647" y="208438"/>
                  <a:pt x="804037" y="190790"/>
                </a:cubicBezTo>
                <a:cubicBezTo>
                  <a:pt x="791076" y="180590"/>
                  <a:pt x="776463" y="168457"/>
                  <a:pt x="786666" y="149707"/>
                </a:cubicBezTo>
                <a:cubicBezTo>
                  <a:pt x="793834" y="136471"/>
                  <a:pt x="809276" y="136471"/>
                  <a:pt x="821960" y="140884"/>
                </a:cubicBezTo>
                <a:cubicBezTo>
                  <a:pt x="878761" y="160461"/>
                  <a:pt x="938043" y="167630"/>
                  <a:pt x="997325" y="174800"/>
                </a:cubicBezTo>
                <a:cubicBezTo>
                  <a:pt x="1006426" y="175902"/>
                  <a:pt x="1016626" y="179487"/>
                  <a:pt x="1026829" y="161287"/>
                </a:cubicBezTo>
                <a:cubicBezTo>
                  <a:pt x="915984" y="131783"/>
                  <a:pt x="810655" y="89872"/>
                  <a:pt x="696777" y="73604"/>
                </a:cubicBezTo>
                <a:cubicBezTo>
                  <a:pt x="698432" y="65884"/>
                  <a:pt x="700086" y="58164"/>
                  <a:pt x="701741" y="50444"/>
                </a:cubicBezTo>
                <a:cubicBezTo>
                  <a:pt x="790801" y="61471"/>
                  <a:pt x="879864" y="72501"/>
                  <a:pt x="992362" y="86289"/>
                </a:cubicBezTo>
                <a:cubicBezTo>
                  <a:pt x="923153" y="42446"/>
                  <a:pt x="857805" y="57060"/>
                  <a:pt x="806519" y="18183"/>
                </a:cubicBezTo>
                <a:cubicBezTo>
                  <a:pt x="816170" y="3431"/>
                  <a:pt x="827820" y="-292"/>
                  <a:pt x="839883" y="18"/>
                </a:cubicBezTo>
                <a:close/>
              </a:path>
            </a:pathLst>
          </a:custGeom>
        </p:spPr>
      </p:pic>
    </p:spTree>
    <p:extLst>
      <p:ext uri="{BB962C8B-B14F-4D97-AF65-F5344CB8AC3E}">
        <p14:creationId xmlns:p14="http://schemas.microsoft.com/office/powerpoint/2010/main" val="58009571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2" name="Picture 1" descr="A picture containing screenshot, LEGO  Description automatically generated">
            <a:extLst>
              <a:ext uri="{FF2B5EF4-FFF2-40B4-BE49-F238E27FC236}">
                <a16:creationId xmlns:a16="http://schemas.microsoft.com/office/drawing/2014/main" id="{4A9BFE40-608D-DD36-4615-4F73722F6A3A}"/>
              </a:ext>
            </a:extLst>
          </p:cNvPr>
          <p:cNvPicPr>
            <a:picLocks noChangeAspect="1"/>
          </p:cNvPicPr>
          <p:nvPr/>
        </p:nvPicPr>
        <p:blipFill>
          <a:blip r:embed="rId4"/>
          <a:stretch>
            <a:fillRect/>
          </a:stretch>
        </p:blipFill>
        <p:spPr>
          <a:xfrm>
            <a:off x="9759829" y="821034"/>
            <a:ext cx="2268395" cy="1512263"/>
          </a:xfrm>
          <a:prstGeom prst="rect">
            <a:avLst/>
          </a:prstGeom>
          <a:effectLst>
            <a:softEdge rad="31750"/>
          </a:effectLst>
        </p:spPr>
      </p:pic>
      <p:sp>
        <p:nvSpPr>
          <p:cNvPr id="3" name="Title 15">
            <a:extLst>
              <a:ext uri="{FF2B5EF4-FFF2-40B4-BE49-F238E27FC236}">
                <a16:creationId xmlns:a16="http://schemas.microsoft.com/office/drawing/2014/main" id="{FCF28AB9-B718-81D3-CB03-214A874B25D8}"/>
              </a:ext>
            </a:extLst>
          </p:cNvPr>
          <p:cNvSpPr txBox="1">
            <a:spLocks/>
          </p:cNvSpPr>
          <p:nvPr/>
        </p:nvSpPr>
        <p:spPr>
          <a:xfrm>
            <a:off x="163775" y="1383941"/>
            <a:ext cx="8355536" cy="806998"/>
          </a:xfrm>
          <a:prstGeom prst="rect">
            <a:avLst/>
          </a:prstGeom>
        </p:spPr>
        <p:txBody>
          <a:bodyPr vert="horz" lIns="91440" tIns="45720" rIns="91440" bIns="4572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Aft>
                <a:spcPts val="600"/>
              </a:spcAft>
              <a:defRPr sz="3200" b="1"/>
            </a:pPr>
            <a:r>
              <a:t>Ulaşım Planlamasında Teknoloji ve İnovasyon</a:t>
            </a:r>
            <a:endParaRPr lang="en-US" sz="11500" b="1" dirty="0"/>
          </a:p>
        </p:txBody>
      </p:sp>
      <p:sp>
        <p:nvSpPr>
          <p:cNvPr id="4" name="TextBox 3">
            <a:extLst>
              <a:ext uri="{FF2B5EF4-FFF2-40B4-BE49-F238E27FC236}">
                <a16:creationId xmlns:a16="http://schemas.microsoft.com/office/drawing/2014/main" id="{179052C9-553C-51A1-5AF3-66E52B251191}"/>
              </a:ext>
            </a:extLst>
          </p:cNvPr>
          <p:cNvSpPr txBox="1"/>
          <p:nvPr/>
        </p:nvSpPr>
        <p:spPr>
          <a:xfrm>
            <a:off x="292100" y="2286224"/>
            <a:ext cx="5511800" cy="2671840"/>
          </a:xfrm>
          <a:prstGeom prst="rect">
            <a:avLst/>
          </a:prstGeom>
        </p:spPr>
        <p:txBody>
          <a:bodyPr vert="horz" lIns="91440" tIns="45720" rIns="91440" bIns="45720">
            <a:normAutofit/>
          </a:bodyPr>
          <a:lstStyle/>
          <a:p>
            <a:pPr algn="just">
              <a:defRPr sz="2000"/>
            </a:pPr>
            <a:r>
              <a:rPr lang="en-US" b="0" i="0" dirty="0">
                <a:solidFill>
                  <a:srgbClr val="374151"/>
                </a:solidFill>
                <a:effectLst/>
                <a:latin typeface="Söhne"/>
              </a:rPr>
              <a:t>Sürdürülebilir </a:t>
            </a:r>
            <a:r>
              <a:rPr lang="en-US" b="0" i="0" dirty="0" err="1">
                <a:solidFill>
                  <a:srgbClr val="374151"/>
                </a:solidFill>
                <a:effectLst/>
                <a:latin typeface="Söhne"/>
              </a:rPr>
              <a:t>ulaşım</a:t>
            </a:r>
            <a:r>
              <a:rPr lang="en-US" b="0" i="0" dirty="0">
                <a:solidFill>
                  <a:srgbClr val="374151"/>
                </a:solidFill>
                <a:effectLst/>
                <a:latin typeface="Söhne"/>
              </a:rPr>
              <a:t> </a:t>
            </a:r>
            <a:r>
              <a:rPr lang="en-US" b="0" i="0" dirty="0" err="1">
                <a:solidFill>
                  <a:srgbClr val="374151"/>
                </a:solidFill>
                <a:effectLst/>
                <a:latin typeface="Söhne"/>
              </a:rPr>
              <a:t>çözümlerini</a:t>
            </a:r>
            <a:r>
              <a:rPr lang="en-US" b="0" i="0" dirty="0">
                <a:solidFill>
                  <a:srgbClr val="374151"/>
                </a:solidFill>
                <a:effectLst/>
                <a:latin typeface="Söhne"/>
              </a:rPr>
              <a:t> </a:t>
            </a:r>
            <a:r>
              <a:rPr lang="en-US" b="0" i="0" dirty="0" err="1">
                <a:solidFill>
                  <a:srgbClr val="374151"/>
                </a:solidFill>
                <a:effectLst/>
                <a:latin typeface="Söhne"/>
              </a:rPr>
              <a:t>geliştirmek</a:t>
            </a:r>
            <a:r>
              <a:rPr lang="en-US" b="0" i="0" dirty="0">
                <a:solidFill>
                  <a:srgbClr val="374151"/>
                </a:solidFill>
                <a:effectLst/>
                <a:latin typeface="Söhne"/>
              </a:rPr>
              <a:t> </a:t>
            </a:r>
            <a:r>
              <a:rPr lang="en-US" b="0" i="0" dirty="0" err="1">
                <a:solidFill>
                  <a:srgbClr val="374151"/>
                </a:solidFill>
                <a:effectLst/>
                <a:latin typeface="Söhne"/>
              </a:rPr>
              <a:t>adına</a:t>
            </a:r>
            <a:r>
              <a:rPr lang="en-US" b="0" i="0" dirty="0">
                <a:solidFill>
                  <a:srgbClr val="374151"/>
                </a:solidFill>
                <a:effectLst/>
                <a:latin typeface="Söhne"/>
              </a:rPr>
              <a:t> </a:t>
            </a:r>
            <a:r>
              <a:rPr lang="en-US" b="0" i="0" dirty="0" err="1">
                <a:solidFill>
                  <a:srgbClr val="374151"/>
                </a:solidFill>
                <a:effectLst/>
                <a:latin typeface="Söhne"/>
              </a:rPr>
              <a:t>teknoloji</a:t>
            </a:r>
            <a:r>
              <a:rPr lang="en-US" b="0" i="0" dirty="0">
                <a:solidFill>
                  <a:srgbClr val="374151"/>
                </a:solidFill>
                <a:effectLst/>
                <a:latin typeface="Söhne"/>
              </a:rPr>
              <a:t> </a:t>
            </a:r>
            <a:r>
              <a:rPr lang="en-US" b="0" i="0" dirty="0" err="1">
                <a:solidFill>
                  <a:srgbClr val="374151"/>
                </a:solidFill>
                <a:effectLst/>
                <a:latin typeface="Söhne"/>
              </a:rPr>
              <a:t>ve</a:t>
            </a:r>
            <a:r>
              <a:rPr lang="en-US" b="0" i="0" dirty="0">
                <a:solidFill>
                  <a:srgbClr val="374151"/>
                </a:solidFill>
                <a:effectLst/>
                <a:latin typeface="Söhne"/>
              </a:rPr>
              <a:t> </a:t>
            </a:r>
            <a:r>
              <a:rPr lang="en-US" b="0" i="0" dirty="0" err="1">
                <a:solidFill>
                  <a:srgbClr val="374151"/>
                </a:solidFill>
                <a:effectLst/>
                <a:latin typeface="Söhne"/>
              </a:rPr>
              <a:t>yenilikten</a:t>
            </a:r>
            <a:r>
              <a:rPr lang="en-US" b="0" i="0" dirty="0">
                <a:solidFill>
                  <a:srgbClr val="374151"/>
                </a:solidFill>
                <a:effectLst/>
                <a:latin typeface="Söhne"/>
              </a:rPr>
              <a:t> </a:t>
            </a:r>
            <a:r>
              <a:rPr lang="en-US" b="0" i="0" dirty="0" err="1">
                <a:solidFill>
                  <a:srgbClr val="374151"/>
                </a:solidFill>
                <a:effectLst/>
                <a:latin typeface="Söhne"/>
              </a:rPr>
              <a:t>faydalanmak</a:t>
            </a:r>
            <a:r>
              <a:rPr lang="en-US" b="0" i="0" dirty="0">
                <a:solidFill>
                  <a:srgbClr val="374151"/>
                </a:solidFill>
                <a:effectLst/>
                <a:latin typeface="Söhne"/>
              </a:rPr>
              <a:t> </a:t>
            </a:r>
            <a:r>
              <a:rPr lang="en-US" b="0" i="0" dirty="0" err="1">
                <a:solidFill>
                  <a:srgbClr val="374151"/>
                </a:solidFill>
                <a:effectLst/>
                <a:latin typeface="Söhne"/>
              </a:rPr>
              <a:t>kaçınılmazdır</a:t>
            </a:r>
            <a:r>
              <a:rPr lang="en-US" b="0" i="0" dirty="0">
                <a:solidFill>
                  <a:srgbClr val="374151"/>
                </a:solidFill>
                <a:effectLst/>
                <a:latin typeface="Söhne"/>
              </a:rPr>
              <a:t>. </a:t>
            </a:r>
            <a:r>
              <a:rPr lang="en-US" b="0" i="0" dirty="0" err="1">
                <a:solidFill>
                  <a:srgbClr val="374151"/>
                </a:solidFill>
                <a:effectLst/>
                <a:latin typeface="Söhne"/>
              </a:rPr>
              <a:t>Akıllı</a:t>
            </a:r>
            <a:r>
              <a:rPr lang="en-US" b="0" i="0" dirty="0">
                <a:solidFill>
                  <a:srgbClr val="374151"/>
                </a:solidFill>
                <a:effectLst/>
                <a:latin typeface="Söhne"/>
              </a:rPr>
              <a:t> </a:t>
            </a:r>
            <a:r>
              <a:rPr lang="en-US" b="0" i="0" dirty="0" err="1">
                <a:solidFill>
                  <a:srgbClr val="374151"/>
                </a:solidFill>
                <a:effectLst/>
                <a:latin typeface="Söhne"/>
              </a:rPr>
              <a:t>ulaşım</a:t>
            </a:r>
            <a:r>
              <a:rPr lang="en-US" b="0" i="0" dirty="0">
                <a:solidFill>
                  <a:srgbClr val="374151"/>
                </a:solidFill>
                <a:effectLst/>
                <a:latin typeface="Söhne"/>
              </a:rPr>
              <a:t> </a:t>
            </a:r>
            <a:r>
              <a:rPr lang="en-US" b="0" i="0" dirty="0" err="1">
                <a:solidFill>
                  <a:srgbClr val="374151"/>
                </a:solidFill>
                <a:effectLst/>
                <a:latin typeface="Söhne"/>
              </a:rPr>
              <a:t>sistemleri</a:t>
            </a:r>
            <a:r>
              <a:rPr lang="en-US" b="0" i="0" dirty="0">
                <a:solidFill>
                  <a:srgbClr val="374151"/>
                </a:solidFill>
                <a:effectLst/>
                <a:latin typeface="Söhne"/>
              </a:rPr>
              <a:t>, </a:t>
            </a:r>
            <a:r>
              <a:rPr lang="en-US" b="0" i="0" dirty="0" err="1">
                <a:solidFill>
                  <a:srgbClr val="374151"/>
                </a:solidFill>
                <a:effectLst/>
                <a:latin typeface="Söhne"/>
              </a:rPr>
              <a:t>elektrikli</a:t>
            </a:r>
            <a:r>
              <a:rPr lang="en-US" b="0" i="0" dirty="0">
                <a:solidFill>
                  <a:srgbClr val="374151"/>
                </a:solidFill>
                <a:effectLst/>
                <a:latin typeface="Söhne"/>
              </a:rPr>
              <a:t> </a:t>
            </a:r>
            <a:r>
              <a:rPr lang="en-US" b="0" i="0" dirty="0" err="1">
                <a:solidFill>
                  <a:srgbClr val="374151"/>
                </a:solidFill>
                <a:effectLst/>
                <a:latin typeface="Söhne"/>
              </a:rPr>
              <a:t>ve</a:t>
            </a:r>
            <a:r>
              <a:rPr lang="en-US" b="0" i="0" dirty="0">
                <a:solidFill>
                  <a:srgbClr val="374151"/>
                </a:solidFill>
                <a:effectLst/>
                <a:latin typeface="Söhne"/>
              </a:rPr>
              <a:t> </a:t>
            </a:r>
            <a:r>
              <a:rPr lang="en-US" b="0" i="0" dirty="0" err="1">
                <a:solidFill>
                  <a:srgbClr val="374151"/>
                </a:solidFill>
                <a:effectLst/>
                <a:latin typeface="Söhne"/>
              </a:rPr>
              <a:t>otonom</a:t>
            </a:r>
            <a:r>
              <a:rPr lang="en-US" b="0" i="0" dirty="0">
                <a:solidFill>
                  <a:srgbClr val="374151"/>
                </a:solidFill>
                <a:effectLst/>
                <a:latin typeface="Söhne"/>
              </a:rPr>
              <a:t> </a:t>
            </a:r>
            <a:r>
              <a:rPr lang="en-US" b="0" i="0" dirty="0" err="1">
                <a:solidFill>
                  <a:srgbClr val="374151"/>
                </a:solidFill>
                <a:effectLst/>
                <a:latin typeface="Söhne"/>
              </a:rPr>
              <a:t>araçlar</a:t>
            </a:r>
            <a:r>
              <a:rPr lang="en-US" b="0" i="0" dirty="0">
                <a:solidFill>
                  <a:srgbClr val="374151"/>
                </a:solidFill>
                <a:effectLst/>
                <a:latin typeface="Söhne"/>
              </a:rPr>
              <a:t> </a:t>
            </a:r>
            <a:r>
              <a:rPr lang="en-US" b="0" i="0" dirty="0" err="1">
                <a:solidFill>
                  <a:srgbClr val="374151"/>
                </a:solidFill>
                <a:effectLst/>
                <a:latin typeface="Söhne"/>
              </a:rPr>
              <a:t>ile</a:t>
            </a:r>
            <a:r>
              <a:rPr lang="en-US" b="0" i="0" dirty="0">
                <a:solidFill>
                  <a:srgbClr val="374151"/>
                </a:solidFill>
                <a:effectLst/>
                <a:latin typeface="Söhne"/>
              </a:rPr>
              <a:t> </a:t>
            </a:r>
            <a:r>
              <a:rPr lang="en-US" b="0" i="0" dirty="0" err="1">
                <a:solidFill>
                  <a:srgbClr val="374151"/>
                </a:solidFill>
                <a:effectLst/>
                <a:latin typeface="Söhne"/>
              </a:rPr>
              <a:t>birlikte</a:t>
            </a:r>
            <a:r>
              <a:rPr lang="en-US" b="0" i="0" dirty="0">
                <a:solidFill>
                  <a:srgbClr val="374151"/>
                </a:solidFill>
                <a:effectLst/>
                <a:latin typeface="Söhne"/>
              </a:rPr>
              <a:t> </a:t>
            </a:r>
            <a:r>
              <a:rPr lang="en-US" b="0" i="0" dirty="0" err="1">
                <a:solidFill>
                  <a:srgbClr val="374151"/>
                </a:solidFill>
                <a:effectLst/>
                <a:latin typeface="Söhne"/>
              </a:rPr>
              <a:t>mobilite</a:t>
            </a:r>
            <a:r>
              <a:rPr lang="en-US" b="0" i="0" dirty="0">
                <a:solidFill>
                  <a:srgbClr val="374151"/>
                </a:solidFill>
                <a:effectLst/>
                <a:latin typeface="Söhne"/>
              </a:rPr>
              <a:t> </a:t>
            </a:r>
            <a:r>
              <a:rPr lang="en-US" b="0" i="0" dirty="0" err="1">
                <a:solidFill>
                  <a:srgbClr val="374151"/>
                </a:solidFill>
                <a:effectLst/>
                <a:latin typeface="Söhne"/>
              </a:rPr>
              <a:t>uygulamaları</a:t>
            </a:r>
            <a:r>
              <a:rPr lang="en-US" b="0" i="0" dirty="0">
                <a:solidFill>
                  <a:srgbClr val="374151"/>
                </a:solidFill>
                <a:effectLst/>
                <a:latin typeface="Söhne"/>
              </a:rPr>
              <a:t>, </a:t>
            </a:r>
            <a:r>
              <a:rPr lang="en-US" b="0" i="0" dirty="0" err="1">
                <a:solidFill>
                  <a:srgbClr val="374151"/>
                </a:solidFill>
                <a:effectLst/>
                <a:latin typeface="Söhne"/>
              </a:rPr>
              <a:t>kentsel</a:t>
            </a:r>
            <a:r>
              <a:rPr lang="en-US" b="0" i="0" dirty="0">
                <a:solidFill>
                  <a:srgbClr val="374151"/>
                </a:solidFill>
                <a:effectLst/>
                <a:latin typeface="Söhne"/>
              </a:rPr>
              <a:t> </a:t>
            </a:r>
            <a:r>
              <a:rPr lang="en-US" b="0" i="0" dirty="0" err="1">
                <a:solidFill>
                  <a:srgbClr val="374151"/>
                </a:solidFill>
                <a:effectLst/>
                <a:latin typeface="Söhne"/>
              </a:rPr>
              <a:t>hareketliliği</a:t>
            </a:r>
            <a:r>
              <a:rPr lang="en-US" b="0" i="0" dirty="0">
                <a:solidFill>
                  <a:srgbClr val="374151"/>
                </a:solidFill>
                <a:effectLst/>
                <a:latin typeface="Söhne"/>
              </a:rPr>
              <a:t> </a:t>
            </a:r>
            <a:r>
              <a:rPr lang="en-US" b="0" i="0" dirty="0" err="1">
                <a:solidFill>
                  <a:srgbClr val="374151"/>
                </a:solidFill>
                <a:effectLst/>
                <a:latin typeface="Söhne"/>
              </a:rPr>
              <a:t>radikal</a:t>
            </a:r>
            <a:r>
              <a:rPr lang="en-US" b="0" i="0" dirty="0">
                <a:solidFill>
                  <a:srgbClr val="374151"/>
                </a:solidFill>
                <a:effectLst/>
                <a:latin typeface="Söhne"/>
              </a:rPr>
              <a:t> </a:t>
            </a:r>
            <a:r>
              <a:rPr lang="en-US" b="0" i="0" dirty="0" err="1">
                <a:solidFill>
                  <a:srgbClr val="374151"/>
                </a:solidFill>
                <a:effectLst/>
                <a:latin typeface="Söhne"/>
              </a:rPr>
              <a:t>bir</a:t>
            </a:r>
            <a:r>
              <a:rPr lang="en-US" b="0" i="0" dirty="0">
                <a:solidFill>
                  <a:srgbClr val="374151"/>
                </a:solidFill>
                <a:effectLst/>
                <a:latin typeface="Söhne"/>
              </a:rPr>
              <a:t> </a:t>
            </a:r>
            <a:r>
              <a:rPr lang="en-US" b="0" i="0" dirty="0" err="1">
                <a:solidFill>
                  <a:srgbClr val="374151"/>
                </a:solidFill>
                <a:effectLst/>
                <a:latin typeface="Söhne"/>
              </a:rPr>
              <a:t>şekilde</a:t>
            </a:r>
            <a:r>
              <a:rPr lang="en-US" b="0" i="0" dirty="0">
                <a:solidFill>
                  <a:srgbClr val="374151"/>
                </a:solidFill>
                <a:effectLst/>
                <a:latin typeface="Söhne"/>
              </a:rPr>
              <a:t> </a:t>
            </a:r>
            <a:r>
              <a:rPr lang="en-US" b="0" i="0" dirty="0" err="1">
                <a:solidFill>
                  <a:srgbClr val="374151"/>
                </a:solidFill>
                <a:effectLst/>
                <a:latin typeface="Söhne"/>
              </a:rPr>
              <a:t>dönüştürebilir</a:t>
            </a:r>
            <a:r>
              <a:rPr lang="en-US" b="0" i="0" dirty="0">
                <a:solidFill>
                  <a:srgbClr val="374151"/>
                </a:solidFill>
                <a:effectLst/>
                <a:latin typeface="Söhne"/>
              </a:rPr>
              <a:t> </a:t>
            </a:r>
            <a:r>
              <a:rPr lang="en-US" b="0" i="0" dirty="0" err="1">
                <a:solidFill>
                  <a:srgbClr val="374151"/>
                </a:solidFill>
                <a:effectLst/>
                <a:latin typeface="Söhne"/>
              </a:rPr>
              <a:t>ve</a:t>
            </a:r>
            <a:r>
              <a:rPr lang="en-US" b="0" i="0" dirty="0">
                <a:solidFill>
                  <a:srgbClr val="374151"/>
                </a:solidFill>
                <a:effectLst/>
                <a:latin typeface="Söhne"/>
              </a:rPr>
              <a:t> </a:t>
            </a:r>
            <a:r>
              <a:rPr lang="en-US" b="0" i="0" dirty="0" err="1">
                <a:solidFill>
                  <a:srgbClr val="374151"/>
                </a:solidFill>
                <a:effectLst/>
                <a:latin typeface="Söhne"/>
              </a:rPr>
              <a:t>ulaşım</a:t>
            </a:r>
            <a:r>
              <a:rPr lang="en-US" b="0" i="0" dirty="0">
                <a:solidFill>
                  <a:srgbClr val="374151"/>
                </a:solidFill>
                <a:effectLst/>
                <a:latin typeface="Söhne"/>
              </a:rPr>
              <a:t> </a:t>
            </a:r>
            <a:r>
              <a:rPr lang="en-US" b="0" i="0" dirty="0" err="1">
                <a:solidFill>
                  <a:srgbClr val="374151"/>
                </a:solidFill>
                <a:effectLst/>
                <a:latin typeface="Söhne"/>
              </a:rPr>
              <a:t>ağlarının</a:t>
            </a:r>
            <a:r>
              <a:rPr lang="en-US" b="0" i="0" dirty="0">
                <a:solidFill>
                  <a:srgbClr val="374151"/>
                </a:solidFill>
                <a:effectLst/>
                <a:latin typeface="Söhne"/>
              </a:rPr>
              <a:t> </a:t>
            </a:r>
            <a:r>
              <a:rPr lang="en-US" b="0" i="0" dirty="0" err="1">
                <a:solidFill>
                  <a:srgbClr val="374151"/>
                </a:solidFill>
                <a:effectLst/>
                <a:latin typeface="Söhne"/>
              </a:rPr>
              <a:t>verimliliğini</a:t>
            </a:r>
            <a:r>
              <a:rPr lang="en-US" b="0" i="0" dirty="0">
                <a:solidFill>
                  <a:srgbClr val="374151"/>
                </a:solidFill>
                <a:effectLst/>
                <a:latin typeface="Söhne"/>
              </a:rPr>
              <a:t> </a:t>
            </a:r>
            <a:r>
              <a:rPr lang="en-US" b="0" i="0" dirty="0" err="1">
                <a:solidFill>
                  <a:srgbClr val="374151"/>
                </a:solidFill>
                <a:effectLst/>
                <a:latin typeface="Söhne"/>
              </a:rPr>
              <a:t>yükseltebilir</a:t>
            </a:r>
            <a:endParaRPr dirty="0"/>
          </a:p>
        </p:txBody>
      </p:sp>
      <p:sp>
        <p:nvSpPr>
          <p:cNvPr id="5" name="TextBox 4">
            <a:extLst>
              <a:ext uri="{FF2B5EF4-FFF2-40B4-BE49-F238E27FC236}">
                <a16:creationId xmlns:a16="http://schemas.microsoft.com/office/drawing/2014/main" id="{4BB69EAD-C408-8915-FA00-27D04A15F6F8}"/>
              </a:ext>
            </a:extLst>
          </p:cNvPr>
          <p:cNvSpPr txBox="1"/>
          <p:nvPr/>
        </p:nvSpPr>
        <p:spPr>
          <a:xfrm>
            <a:off x="6698339" y="2376461"/>
            <a:ext cx="4655462" cy="2585323"/>
          </a:xfrm>
          <a:prstGeom prst="rect">
            <a:avLst/>
          </a:prstGeom>
          <a:noFill/>
        </p:spPr>
        <p:txBody>
          <a:bodyPr wrap="square">
            <a:spAutoFit/>
          </a:bodyPr>
          <a:lstStyle/>
          <a:p>
            <a:pPr algn="l"/>
            <a:r>
              <a:rPr lang="en-US" b="0" i="0" dirty="0">
                <a:solidFill>
                  <a:srgbClr val="374151"/>
                </a:solidFill>
                <a:effectLst/>
                <a:latin typeface="Söhne"/>
              </a:rPr>
              <a:t>Bu </a:t>
            </a:r>
            <a:r>
              <a:rPr lang="en-US" b="0" i="0" dirty="0" err="1">
                <a:solidFill>
                  <a:srgbClr val="374151"/>
                </a:solidFill>
                <a:effectLst/>
                <a:latin typeface="Söhne"/>
              </a:rPr>
              <a:t>teknolojiler</a:t>
            </a:r>
            <a:r>
              <a:rPr lang="en-US" b="0" i="0" dirty="0">
                <a:solidFill>
                  <a:srgbClr val="374151"/>
                </a:solidFill>
                <a:effectLst/>
                <a:latin typeface="Söhne"/>
              </a:rPr>
              <a:t>, </a:t>
            </a:r>
            <a:r>
              <a:rPr lang="en-US" b="0" i="0" dirty="0" err="1">
                <a:solidFill>
                  <a:srgbClr val="374151"/>
                </a:solidFill>
                <a:effectLst/>
                <a:latin typeface="Söhne"/>
              </a:rPr>
              <a:t>emisyonların</a:t>
            </a:r>
            <a:r>
              <a:rPr lang="en-US" b="0" i="0" dirty="0">
                <a:solidFill>
                  <a:srgbClr val="374151"/>
                </a:solidFill>
                <a:effectLst/>
                <a:latin typeface="Söhne"/>
              </a:rPr>
              <a:t> </a:t>
            </a:r>
            <a:r>
              <a:rPr lang="en-US" b="0" i="0" dirty="0" err="1">
                <a:solidFill>
                  <a:srgbClr val="374151"/>
                </a:solidFill>
                <a:effectLst/>
                <a:latin typeface="Söhne"/>
              </a:rPr>
              <a:t>düşürülmesi</a:t>
            </a:r>
            <a:r>
              <a:rPr lang="en-US" b="0" i="0" dirty="0">
                <a:solidFill>
                  <a:srgbClr val="374151"/>
                </a:solidFill>
                <a:effectLst/>
                <a:latin typeface="Söhne"/>
              </a:rPr>
              <a:t>, </a:t>
            </a:r>
            <a:r>
              <a:rPr lang="en-US" b="0" i="0" dirty="0" err="1">
                <a:solidFill>
                  <a:srgbClr val="374151"/>
                </a:solidFill>
                <a:effectLst/>
                <a:latin typeface="Söhne"/>
              </a:rPr>
              <a:t>trafik</a:t>
            </a:r>
            <a:r>
              <a:rPr lang="en-US" b="0" i="0" dirty="0">
                <a:solidFill>
                  <a:srgbClr val="374151"/>
                </a:solidFill>
                <a:effectLst/>
                <a:latin typeface="Söhne"/>
              </a:rPr>
              <a:t> </a:t>
            </a:r>
            <a:r>
              <a:rPr lang="en-US" b="0" i="0" dirty="0" err="1">
                <a:solidFill>
                  <a:srgbClr val="374151"/>
                </a:solidFill>
                <a:effectLst/>
                <a:latin typeface="Söhne"/>
              </a:rPr>
              <a:t>akışının</a:t>
            </a:r>
            <a:r>
              <a:rPr lang="en-US" b="0" i="0" dirty="0">
                <a:solidFill>
                  <a:srgbClr val="374151"/>
                </a:solidFill>
                <a:effectLst/>
                <a:latin typeface="Söhne"/>
              </a:rPr>
              <a:t> </a:t>
            </a:r>
            <a:r>
              <a:rPr lang="en-US" b="0" i="0" dirty="0" err="1">
                <a:solidFill>
                  <a:srgbClr val="374151"/>
                </a:solidFill>
                <a:effectLst/>
                <a:latin typeface="Söhne"/>
              </a:rPr>
              <a:t>hızlandırılması</a:t>
            </a:r>
            <a:r>
              <a:rPr lang="en-US" b="0" i="0" dirty="0">
                <a:solidFill>
                  <a:srgbClr val="374151"/>
                </a:solidFill>
                <a:effectLst/>
                <a:latin typeface="Söhne"/>
              </a:rPr>
              <a:t> </a:t>
            </a:r>
            <a:r>
              <a:rPr lang="en-US" b="0" i="0" dirty="0" err="1">
                <a:solidFill>
                  <a:srgbClr val="374151"/>
                </a:solidFill>
                <a:effectLst/>
                <a:latin typeface="Söhne"/>
              </a:rPr>
              <a:t>ve</a:t>
            </a:r>
            <a:r>
              <a:rPr lang="en-US" b="0" i="0" dirty="0">
                <a:solidFill>
                  <a:srgbClr val="374151"/>
                </a:solidFill>
                <a:effectLst/>
                <a:latin typeface="Söhne"/>
              </a:rPr>
              <a:t> </a:t>
            </a:r>
            <a:r>
              <a:rPr lang="en-US" b="0" i="0" dirty="0" err="1">
                <a:solidFill>
                  <a:srgbClr val="374151"/>
                </a:solidFill>
                <a:effectLst/>
                <a:latin typeface="Söhne"/>
              </a:rPr>
              <a:t>kullanıcı</a:t>
            </a:r>
            <a:r>
              <a:rPr lang="en-US" b="0" i="0" dirty="0">
                <a:solidFill>
                  <a:srgbClr val="374151"/>
                </a:solidFill>
                <a:effectLst/>
                <a:latin typeface="Söhne"/>
              </a:rPr>
              <a:t> </a:t>
            </a:r>
            <a:r>
              <a:rPr lang="en-US" b="0" i="0" dirty="0" err="1">
                <a:solidFill>
                  <a:srgbClr val="374151"/>
                </a:solidFill>
                <a:effectLst/>
                <a:latin typeface="Söhne"/>
              </a:rPr>
              <a:t>deneyiminin</a:t>
            </a:r>
            <a:r>
              <a:rPr lang="en-US" b="0" i="0" dirty="0">
                <a:solidFill>
                  <a:srgbClr val="374151"/>
                </a:solidFill>
                <a:effectLst/>
                <a:latin typeface="Söhne"/>
              </a:rPr>
              <a:t> </a:t>
            </a:r>
            <a:r>
              <a:rPr lang="en-US" b="0" i="0" dirty="0" err="1">
                <a:solidFill>
                  <a:srgbClr val="374151"/>
                </a:solidFill>
                <a:effectLst/>
                <a:latin typeface="Söhne"/>
              </a:rPr>
              <a:t>geliştirilmesi</a:t>
            </a:r>
            <a:r>
              <a:rPr lang="en-US" b="0" i="0" dirty="0">
                <a:solidFill>
                  <a:srgbClr val="374151"/>
                </a:solidFill>
                <a:effectLst/>
                <a:latin typeface="Söhne"/>
              </a:rPr>
              <a:t> </a:t>
            </a:r>
            <a:r>
              <a:rPr lang="en-US" b="0" i="0" dirty="0" err="1">
                <a:solidFill>
                  <a:srgbClr val="374151"/>
                </a:solidFill>
                <a:effectLst/>
                <a:latin typeface="Söhne"/>
              </a:rPr>
              <a:t>gibi</a:t>
            </a:r>
            <a:r>
              <a:rPr lang="en-US" b="0" i="0" dirty="0">
                <a:solidFill>
                  <a:srgbClr val="374151"/>
                </a:solidFill>
                <a:effectLst/>
                <a:latin typeface="Söhne"/>
              </a:rPr>
              <a:t> </a:t>
            </a:r>
            <a:r>
              <a:rPr lang="en-US" b="0" i="0" dirty="0" err="1">
                <a:solidFill>
                  <a:srgbClr val="374151"/>
                </a:solidFill>
                <a:effectLst/>
                <a:latin typeface="Söhne"/>
              </a:rPr>
              <a:t>çevresel</a:t>
            </a:r>
            <a:r>
              <a:rPr lang="en-US" b="0" i="0" dirty="0">
                <a:solidFill>
                  <a:srgbClr val="374151"/>
                </a:solidFill>
                <a:effectLst/>
                <a:latin typeface="Söhne"/>
              </a:rPr>
              <a:t> </a:t>
            </a:r>
            <a:r>
              <a:rPr lang="en-US" b="0" i="0" dirty="0" err="1">
                <a:solidFill>
                  <a:srgbClr val="374151"/>
                </a:solidFill>
                <a:effectLst/>
                <a:latin typeface="Söhne"/>
              </a:rPr>
              <a:t>faydalar</a:t>
            </a:r>
            <a:r>
              <a:rPr lang="en-US" b="0" i="0" dirty="0">
                <a:solidFill>
                  <a:srgbClr val="374151"/>
                </a:solidFill>
                <a:effectLst/>
                <a:latin typeface="Söhne"/>
              </a:rPr>
              <a:t> </a:t>
            </a:r>
            <a:r>
              <a:rPr lang="en-US" b="0" i="0" dirty="0" err="1">
                <a:solidFill>
                  <a:srgbClr val="374151"/>
                </a:solidFill>
                <a:effectLst/>
                <a:latin typeface="Söhne"/>
              </a:rPr>
              <a:t>sağlayabilir</a:t>
            </a:r>
            <a:r>
              <a:rPr lang="en-US" b="0" i="0" dirty="0">
                <a:solidFill>
                  <a:srgbClr val="374151"/>
                </a:solidFill>
                <a:effectLst/>
                <a:latin typeface="Söhne"/>
              </a:rPr>
              <a:t>. </a:t>
            </a:r>
            <a:r>
              <a:rPr lang="en-US" b="0" i="0" dirty="0" err="1">
                <a:solidFill>
                  <a:srgbClr val="374151"/>
                </a:solidFill>
                <a:effectLst/>
                <a:latin typeface="Söhne"/>
              </a:rPr>
              <a:t>Fakat</a:t>
            </a:r>
            <a:r>
              <a:rPr lang="en-US" b="0" i="0" dirty="0">
                <a:solidFill>
                  <a:srgbClr val="374151"/>
                </a:solidFill>
                <a:effectLst/>
                <a:latin typeface="Söhne"/>
              </a:rPr>
              <a:t> </a:t>
            </a:r>
            <a:r>
              <a:rPr lang="en-US" b="0" i="0" dirty="0" err="1">
                <a:solidFill>
                  <a:srgbClr val="374151"/>
                </a:solidFill>
                <a:effectLst/>
                <a:latin typeface="Söhne"/>
              </a:rPr>
              <a:t>bu</a:t>
            </a:r>
            <a:r>
              <a:rPr lang="en-US" b="0" i="0" dirty="0">
                <a:solidFill>
                  <a:srgbClr val="374151"/>
                </a:solidFill>
                <a:effectLst/>
                <a:latin typeface="Söhne"/>
              </a:rPr>
              <a:t> </a:t>
            </a:r>
            <a:r>
              <a:rPr lang="en-US" b="0" i="0" dirty="0" err="1">
                <a:solidFill>
                  <a:srgbClr val="374151"/>
                </a:solidFill>
                <a:effectLst/>
                <a:latin typeface="Söhne"/>
              </a:rPr>
              <a:t>süreçte</a:t>
            </a:r>
            <a:r>
              <a:rPr lang="en-US" b="0" i="0" dirty="0">
                <a:solidFill>
                  <a:srgbClr val="374151"/>
                </a:solidFill>
                <a:effectLst/>
                <a:latin typeface="Söhne"/>
              </a:rPr>
              <a:t>, </a:t>
            </a:r>
            <a:r>
              <a:rPr lang="en-US" b="0" i="0" dirty="0" err="1">
                <a:solidFill>
                  <a:srgbClr val="374151"/>
                </a:solidFill>
                <a:effectLst/>
                <a:latin typeface="Söhne"/>
              </a:rPr>
              <a:t>altyapının</a:t>
            </a:r>
            <a:r>
              <a:rPr lang="en-US" b="0" i="0" dirty="0">
                <a:solidFill>
                  <a:srgbClr val="374151"/>
                </a:solidFill>
                <a:effectLst/>
                <a:latin typeface="Söhne"/>
              </a:rPr>
              <a:t> </a:t>
            </a:r>
            <a:r>
              <a:rPr lang="en-US" b="0" i="0" dirty="0" err="1">
                <a:solidFill>
                  <a:srgbClr val="374151"/>
                </a:solidFill>
                <a:effectLst/>
                <a:latin typeface="Söhne"/>
              </a:rPr>
              <a:t>gözden</a:t>
            </a:r>
            <a:r>
              <a:rPr lang="en-US" b="0" i="0" dirty="0">
                <a:solidFill>
                  <a:srgbClr val="374151"/>
                </a:solidFill>
                <a:effectLst/>
                <a:latin typeface="Söhne"/>
              </a:rPr>
              <a:t> </a:t>
            </a:r>
            <a:r>
              <a:rPr lang="en-US" b="0" i="0" dirty="0" err="1">
                <a:solidFill>
                  <a:srgbClr val="374151"/>
                </a:solidFill>
                <a:effectLst/>
                <a:latin typeface="Söhne"/>
              </a:rPr>
              <a:t>geçirilmesi</a:t>
            </a:r>
            <a:r>
              <a:rPr lang="en-US" b="0" i="0" dirty="0">
                <a:solidFill>
                  <a:srgbClr val="374151"/>
                </a:solidFill>
                <a:effectLst/>
                <a:latin typeface="Söhne"/>
              </a:rPr>
              <a:t> </a:t>
            </a:r>
            <a:r>
              <a:rPr lang="en-US" b="0" i="0" dirty="0" err="1">
                <a:solidFill>
                  <a:srgbClr val="374151"/>
                </a:solidFill>
                <a:effectLst/>
                <a:latin typeface="Söhne"/>
              </a:rPr>
              <a:t>gerekliliği</a:t>
            </a:r>
            <a:r>
              <a:rPr lang="en-US" b="0" i="0" dirty="0">
                <a:solidFill>
                  <a:srgbClr val="374151"/>
                </a:solidFill>
                <a:effectLst/>
                <a:latin typeface="Söhne"/>
              </a:rPr>
              <a:t>, </a:t>
            </a:r>
            <a:r>
              <a:rPr lang="en-US" b="0" i="0" dirty="0" err="1">
                <a:solidFill>
                  <a:srgbClr val="374151"/>
                </a:solidFill>
                <a:effectLst/>
                <a:latin typeface="Söhne"/>
              </a:rPr>
              <a:t>veri</a:t>
            </a:r>
            <a:r>
              <a:rPr lang="en-US" b="0" i="0" dirty="0">
                <a:solidFill>
                  <a:srgbClr val="374151"/>
                </a:solidFill>
                <a:effectLst/>
                <a:latin typeface="Söhne"/>
              </a:rPr>
              <a:t> </a:t>
            </a:r>
            <a:r>
              <a:rPr lang="en-US" b="0" i="0" dirty="0" err="1">
                <a:solidFill>
                  <a:srgbClr val="374151"/>
                </a:solidFill>
                <a:effectLst/>
                <a:latin typeface="Söhne"/>
              </a:rPr>
              <a:t>gizliliği</a:t>
            </a:r>
            <a:r>
              <a:rPr lang="en-US" b="0" i="0" dirty="0">
                <a:solidFill>
                  <a:srgbClr val="374151"/>
                </a:solidFill>
                <a:effectLst/>
                <a:latin typeface="Söhne"/>
              </a:rPr>
              <a:t> </a:t>
            </a:r>
            <a:r>
              <a:rPr lang="en-US" b="0" i="0" dirty="0" err="1">
                <a:solidFill>
                  <a:srgbClr val="374151"/>
                </a:solidFill>
                <a:effectLst/>
                <a:latin typeface="Söhne"/>
              </a:rPr>
              <a:t>konusundaki</a:t>
            </a:r>
            <a:r>
              <a:rPr lang="en-US" b="0" i="0" dirty="0">
                <a:solidFill>
                  <a:srgbClr val="374151"/>
                </a:solidFill>
                <a:effectLst/>
                <a:latin typeface="Söhne"/>
              </a:rPr>
              <a:t> </a:t>
            </a:r>
            <a:r>
              <a:rPr lang="en-US" b="0" i="0" dirty="0" err="1">
                <a:solidFill>
                  <a:srgbClr val="374151"/>
                </a:solidFill>
                <a:effectLst/>
                <a:latin typeface="Söhne"/>
              </a:rPr>
              <a:t>endişeler</a:t>
            </a:r>
            <a:r>
              <a:rPr lang="en-US" b="0" i="0" dirty="0">
                <a:solidFill>
                  <a:srgbClr val="374151"/>
                </a:solidFill>
                <a:effectLst/>
                <a:latin typeface="Söhne"/>
              </a:rPr>
              <a:t> </a:t>
            </a:r>
            <a:r>
              <a:rPr lang="en-US" b="0" i="0" dirty="0" err="1">
                <a:solidFill>
                  <a:srgbClr val="374151"/>
                </a:solidFill>
                <a:effectLst/>
                <a:latin typeface="Söhne"/>
              </a:rPr>
              <a:t>ve</a:t>
            </a:r>
            <a:r>
              <a:rPr lang="en-US" b="0" i="0" dirty="0">
                <a:solidFill>
                  <a:srgbClr val="374151"/>
                </a:solidFill>
                <a:effectLst/>
                <a:latin typeface="Söhne"/>
              </a:rPr>
              <a:t> yeni </a:t>
            </a:r>
            <a:r>
              <a:rPr lang="en-US" b="0" i="0" dirty="0" err="1">
                <a:solidFill>
                  <a:srgbClr val="374151"/>
                </a:solidFill>
                <a:effectLst/>
                <a:latin typeface="Söhne"/>
              </a:rPr>
              <a:t>teknolojilerin</a:t>
            </a:r>
            <a:r>
              <a:rPr lang="en-US" b="0" i="0" dirty="0">
                <a:solidFill>
                  <a:srgbClr val="374151"/>
                </a:solidFill>
                <a:effectLst/>
                <a:latin typeface="Söhne"/>
              </a:rPr>
              <a:t> </a:t>
            </a:r>
            <a:r>
              <a:rPr lang="en-US" b="0" i="0" dirty="0" err="1">
                <a:solidFill>
                  <a:srgbClr val="374151"/>
                </a:solidFill>
                <a:effectLst/>
                <a:latin typeface="Söhne"/>
              </a:rPr>
              <a:t>mevcut</a:t>
            </a:r>
            <a:r>
              <a:rPr lang="en-US" b="0" i="0" dirty="0">
                <a:solidFill>
                  <a:srgbClr val="374151"/>
                </a:solidFill>
                <a:effectLst/>
                <a:latin typeface="Söhne"/>
              </a:rPr>
              <a:t> </a:t>
            </a:r>
            <a:r>
              <a:rPr lang="en-US" b="0" i="0" dirty="0" err="1">
                <a:solidFill>
                  <a:srgbClr val="374151"/>
                </a:solidFill>
                <a:effectLst/>
                <a:latin typeface="Söhne"/>
              </a:rPr>
              <a:t>sistemlere</a:t>
            </a:r>
            <a:r>
              <a:rPr lang="en-US" b="0" i="0" dirty="0">
                <a:solidFill>
                  <a:srgbClr val="374151"/>
                </a:solidFill>
                <a:effectLst/>
                <a:latin typeface="Söhne"/>
              </a:rPr>
              <a:t> </a:t>
            </a:r>
            <a:r>
              <a:rPr lang="en-US" b="0" i="0" dirty="0" err="1">
                <a:solidFill>
                  <a:srgbClr val="374151"/>
                </a:solidFill>
                <a:effectLst/>
                <a:latin typeface="Söhne"/>
              </a:rPr>
              <a:t>entegrasyonu</a:t>
            </a:r>
            <a:r>
              <a:rPr lang="en-US" b="0" i="0" dirty="0">
                <a:solidFill>
                  <a:srgbClr val="374151"/>
                </a:solidFill>
                <a:effectLst/>
                <a:latin typeface="Söhne"/>
              </a:rPr>
              <a:t> </a:t>
            </a:r>
            <a:r>
              <a:rPr lang="en-US" b="0" i="0" dirty="0" err="1">
                <a:solidFill>
                  <a:srgbClr val="374151"/>
                </a:solidFill>
                <a:effectLst/>
                <a:latin typeface="Söhne"/>
              </a:rPr>
              <a:t>gibi</a:t>
            </a:r>
            <a:r>
              <a:rPr lang="en-US" b="0" i="0" dirty="0">
                <a:solidFill>
                  <a:srgbClr val="374151"/>
                </a:solidFill>
                <a:effectLst/>
                <a:latin typeface="Söhne"/>
              </a:rPr>
              <a:t> </a:t>
            </a:r>
            <a:r>
              <a:rPr lang="en-US" b="0" i="0" dirty="0" err="1">
                <a:solidFill>
                  <a:srgbClr val="374151"/>
                </a:solidFill>
                <a:effectLst/>
                <a:latin typeface="Söhne"/>
              </a:rPr>
              <a:t>zorluklarla</a:t>
            </a:r>
            <a:r>
              <a:rPr lang="en-US" b="0" i="0" dirty="0">
                <a:solidFill>
                  <a:srgbClr val="374151"/>
                </a:solidFill>
                <a:effectLst/>
                <a:latin typeface="Söhne"/>
              </a:rPr>
              <a:t> </a:t>
            </a:r>
            <a:r>
              <a:rPr lang="en-US" b="0" i="0" dirty="0" err="1">
                <a:solidFill>
                  <a:srgbClr val="374151"/>
                </a:solidFill>
                <a:effectLst/>
                <a:latin typeface="Söhne"/>
              </a:rPr>
              <a:t>karşılaşılmaktadır</a:t>
            </a:r>
            <a:r>
              <a:rPr lang="en-US" b="0" i="0" dirty="0">
                <a:solidFill>
                  <a:srgbClr val="374151"/>
                </a:solidFill>
                <a:effectLst/>
                <a:latin typeface="Söhne"/>
              </a:rPr>
              <a:t>."</a:t>
            </a:r>
          </a:p>
          <a:p>
            <a:br>
              <a:rPr lang="en-US" dirty="0"/>
            </a:br>
            <a:endParaRPr lang="en-US" dirty="0"/>
          </a:p>
        </p:txBody>
      </p:sp>
      <p:pic>
        <p:nvPicPr>
          <p:cNvPr id="6" name="Picture 5" descr="A picture containing screenshot, LEGO  Description automatically generated">
            <a:extLst>
              <a:ext uri="{FF2B5EF4-FFF2-40B4-BE49-F238E27FC236}">
                <a16:creationId xmlns:a16="http://schemas.microsoft.com/office/drawing/2014/main" id="{448EDF52-3A49-2909-F347-E98D6DB5F28F}"/>
              </a:ext>
            </a:extLst>
          </p:cNvPr>
          <p:cNvPicPr>
            <a:picLocks noChangeAspect="1"/>
          </p:cNvPicPr>
          <p:nvPr/>
        </p:nvPicPr>
        <p:blipFill>
          <a:blip r:embed="rId5"/>
          <a:stretch>
            <a:fillRect/>
          </a:stretch>
        </p:blipFill>
        <p:spPr>
          <a:xfrm>
            <a:off x="2282577" y="4571776"/>
            <a:ext cx="3175243" cy="1659042"/>
          </a:xfrm>
          <a:prstGeom prst="rect">
            <a:avLst/>
          </a:prstGeom>
          <a:effectLst>
            <a:softEdge rad="12700"/>
          </a:effectLst>
        </p:spPr>
      </p:pic>
    </p:spTree>
    <p:extLst>
      <p:ext uri="{BB962C8B-B14F-4D97-AF65-F5344CB8AC3E}">
        <p14:creationId xmlns:p14="http://schemas.microsoft.com/office/powerpoint/2010/main" val="236470282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5">
            <a:extLst>
              <a:ext uri="{FF2B5EF4-FFF2-40B4-BE49-F238E27FC236}">
                <a16:creationId xmlns:a16="http://schemas.microsoft.com/office/drawing/2014/main" id="{B11FD66D-9D67-DFE2-7CE0-009C2469AF96}"/>
              </a:ext>
            </a:extLst>
          </p:cNvPr>
          <p:cNvSpPr txBox="1">
            <a:spLocks/>
          </p:cNvSpPr>
          <p:nvPr/>
        </p:nvSpPr>
        <p:spPr>
          <a:xfrm>
            <a:off x="385092" y="529698"/>
            <a:ext cx="3773958" cy="2201470"/>
          </a:xfrm>
          <a:prstGeom prst="rect">
            <a:avLst/>
          </a:prstGeom>
        </p:spPr>
        <p:txBody>
          <a:bodyPr vert="horz" lIns="91440" tIns="45720" rIns="91440" bIns="4572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Aft>
                <a:spcPts val="600"/>
              </a:spcAft>
              <a:defRPr sz="3200" b="1"/>
            </a:pPr>
            <a:r>
              <a:t>Ulaşım Planlamasında Dayanıklılık ve Uyum</a:t>
            </a:r>
          </a:p>
        </p:txBody>
      </p:sp>
      <p:pic>
        <p:nvPicPr>
          <p:cNvPr id="3" name="Picture 2" descr="A map of a city with circles  Description automatically generated with low confidence">
            <a:extLst>
              <a:ext uri="{FF2B5EF4-FFF2-40B4-BE49-F238E27FC236}">
                <a16:creationId xmlns:a16="http://schemas.microsoft.com/office/drawing/2014/main" id="{9C0CD3E3-F9F7-82F6-B778-8488B88738ED}"/>
              </a:ext>
            </a:extLst>
          </p:cNvPr>
          <p:cNvPicPr>
            <a:picLocks noChangeAspect="1"/>
          </p:cNvPicPr>
          <p:nvPr/>
        </p:nvPicPr>
        <p:blipFill>
          <a:blip r:embed="rId4"/>
          <a:stretch>
            <a:fillRect/>
          </a:stretch>
        </p:blipFill>
        <p:spPr>
          <a:xfrm>
            <a:off x="8426526" y="4141575"/>
            <a:ext cx="3442534" cy="1899469"/>
          </a:xfrm>
          <a:prstGeom prst="rect">
            <a:avLst/>
          </a:prstGeom>
        </p:spPr>
      </p:pic>
      <p:pic>
        <p:nvPicPr>
          <p:cNvPr id="4" name="Picture 3" descr="A screenshot of a cell phone  Description automatically generated with low confidence">
            <a:extLst>
              <a:ext uri="{FF2B5EF4-FFF2-40B4-BE49-F238E27FC236}">
                <a16:creationId xmlns:a16="http://schemas.microsoft.com/office/drawing/2014/main" id="{54627E8B-E561-C288-73EC-EECBAB3A1037}"/>
              </a:ext>
            </a:extLst>
          </p:cNvPr>
          <p:cNvPicPr>
            <a:picLocks noChangeAspect="1"/>
          </p:cNvPicPr>
          <p:nvPr/>
        </p:nvPicPr>
        <p:blipFill>
          <a:blip r:embed="rId5"/>
          <a:stretch>
            <a:fillRect/>
          </a:stretch>
        </p:blipFill>
        <p:spPr>
          <a:xfrm>
            <a:off x="4927484" y="1452675"/>
            <a:ext cx="2337031" cy="4394223"/>
          </a:xfrm>
          <a:prstGeom prst="rect">
            <a:avLst/>
          </a:prstGeom>
        </p:spPr>
      </p:pic>
      <p:sp>
        <p:nvSpPr>
          <p:cNvPr id="5" name="Arc 4">
            <a:extLst>
              <a:ext uri="{FF2B5EF4-FFF2-40B4-BE49-F238E27FC236}">
                <a16:creationId xmlns:a16="http://schemas.microsoft.com/office/drawing/2014/main" id="{55E639AB-D8B3-D3DE-84F9-304A7A86EF1C}"/>
              </a:ext>
            </a:extLst>
          </p:cNvPr>
          <p:cNvSpPr/>
          <p:nvPr/>
        </p:nvSpPr>
        <p:spPr>
          <a:xfrm>
            <a:off x="385092" y="1320767"/>
            <a:ext cx="11682663" cy="4216465"/>
          </a:xfrm>
          <a:prstGeom prst="arc">
            <a:avLst>
              <a:gd name="adj1" fmla="val 18481029"/>
              <a:gd name="adj2" fmla="val 0"/>
            </a:avLst>
          </a:prstGeom>
          <a:ln w="57150">
            <a:solidFill>
              <a:schemeClr val="accent4"/>
            </a:solidFill>
            <a:prstDash val="lgDash"/>
          </a:ln>
        </p:spPr>
        <p:style>
          <a:lnRef idx="1">
            <a:schemeClr val="accent1"/>
          </a:lnRef>
          <a:fillRef idx="0">
            <a:schemeClr val="accent1"/>
          </a:fillRef>
          <a:effectRef idx="0">
            <a:schemeClr val="accent1"/>
          </a:effectRef>
          <a:fontRef idx="minor">
            <a:schemeClr val="tx1"/>
          </a:fontRef>
        </p:style>
        <p:txBody>
          <a:bodyPr anchor="ctr"/>
          <a:lstStyle/>
          <a:p>
            <a:pPr algn="ctr"/>
            <a:endParaRPr lang="en-US"/>
          </a:p>
        </p:txBody>
      </p:sp>
      <p:sp>
        <p:nvSpPr>
          <p:cNvPr id="6" name="Rectangle 5">
            <a:extLst>
              <a:ext uri="{FF2B5EF4-FFF2-40B4-BE49-F238E27FC236}">
                <a16:creationId xmlns:a16="http://schemas.microsoft.com/office/drawing/2014/main" id="{D3C4B67B-0E93-3FCA-42E1-3D3694892AF7}"/>
              </a:ext>
            </a:extLst>
          </p:cNvPr>
          <p:cNvSpPr/>
          <p:nvPr/>
        </p:nvSpPr>
        <p:spPr>
          <a:xfrm rot="20246651">
            <a:off x="-120317" y="4425672"/>
            <a:ext cx="2117558" cy="1264507"/>
          </a:xfrm>
          <a:prstGeom prst="rect">
            <a:avLst/>
          </a:prstGeom>
          <a:noFill/>
          <a:ln w="571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grpSp>
        <p:nvGrpSpPr>
          <p:cNvPr id="7" name="Group 6">
            <a:extLst>
              <a:ext uri="{FF2B5EF4-FFF2-40B4-BE49-F238E27FC236}">
                <a16:creationId xmlns:a16="http://schemas.microsoft.com/office/drawing/2014/main" id="{43AE3E42-CC8C-D2C3-1CAF-8DEF6BED1C9D}"/>
              </a:ext>
            </a:extLst>
          </p:cNvPr>
          <p:cNvGrpSpPr/>
          <p:nvPr/>
        </p:nvGrpSpPr>
        <p:grpSpPr>
          <a:xfrm>
            <a:off x="841642" y="2190929"/>
            <a:ext cx="3983340" cy="2476141"/>
            <a:chOff x="970952" y="2190928"/>
            <a:chExt cx="3983340" cy="2476141"/>
          </a:xfrm>
        </p:grpSpPr>
        <p:sp>
          <p:nvSpPr>
            <p:cNvPr id="11" name="Arrow: Down 10">
              <a:extLst>
                <a:ext uri="{FF2B5EF4-FFF2-40B4-BE49-F238E27FC236}">
                  <a16:creationId xmlns:a16="http://schemas.microsoft.com/office/drawing/2014/main" id="{919423F9-B4B8-566C-ECDD-2BB2962CB3E7}"/>
                </a:ext>
              </a:extLst>
            </p:cNvPr>
            <p:cNvSpPr/>
            <p:nvPr/>
          </p:nvSpPr>
          <p:spPr>
            <a:xfrm rot="16200000">
              <a:off x="1724551" y="1437329"/>
              <a:ext cx="2476141" cy="3983340"/>
            </a:xfrm>
            <a:prstGeom prst="downArrow">
              <a:avLst>
                <a:gd name="adj1" fmla="val 50000"/>
                <a:gd name="adj2" fmla="val 35000"/>
              </a:avLst>
            </a:prstGeom>
            <a:solidFill>
              <a:srgbClr val="92D050"/>
            </a:solidFill>
            <a:ln>
              <a:solidFill>
                <a:schemeClr val="accent4"/>
              </a:solidFill>
            </a:ln>
          </p:spPr>
          <p:style>
            <a:lnRef idx="2">
              <a:scrgbClr r="0" g="0" b="0"/>
            </a:lnRef>
            <a:fillRef idx="1">
              <a:scrgbClr r="0" g="0" b="0"/>
            </a:fillRef>
            <a:effectRef idx="0">
              <a:schemeClr val="accent1">
                <a:hueOff val="0"/>
                <a:satOff val="0"/>
                <a:lumOff val="0"/>
                <a:alphaOff val="0"/>
              </a:schemeClr>
            </a:effectRef>
            <a:fontRef idx="minor">
              <a:schemeClr val="lt1"/>
            </a:fontRef>
          </p:style>
        </p:sp>
        <p:sp>
          <p:nvSpPr>
            <p:cNvPr id="12" name="Arrow: Down 4">
              <a:extLst>
                <a:ext uri="{FF2B5EF4-FFF2-40B4-BE49-F238E27FC236}">
                  <a16:creationId xmlns:a16="http://schemas.microsoft.com/office/drawing/2014/main" id="{1DF33702-E0D1-BBD2-149F-F86E5E1FCB27}"/>
                </a:ext>
              </a:extLst>
            </p:cNvPr>
            <p:cNvSpPr txBox="1"/>
            <p:nvPr/>
          </p:nvSpPr>
          <p:spPr>
            <a:xfrm rot="21600000">
              <a:off x="970952" y="2809964"/>
              <a:ext cx="3550015" cy="12380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defRPr sz="1100" kern="1200"/>
              </a:pPr>
              <a:r>
                <a:rPr lang="tr-TR" dirty="0"/>
                <a:t>Dirençli</a:t>
              </a:r>
              <a:r>
                <a:rPr lang="en-US" dirty="0"/>
                <a:t> </a:t>
              </a:r>
              <a:r>
                <a:rPr lang="en-US" dirty="0" err="1"/>
                <a:t>ulaşım</a:t>
              </a:r>
              <a:r>
                <a:rPr lang="en-US" dirty="0"/>
                <a:t> </a:t>
              </a:r>
              <a:r>
                <a:rPr lang="en-US" dirty="0" err="1"/>
                <a:t>sistemlerinin</a:t>
              </a:r>
              <a:r>
                <a:rPr lang="en-US" dirty="0"/>
                <a:t> </a:t>
              </a:r>
              <a:r>
                <a:rPr lang="en-US" dirty="0" err="1"/>
                <a:t>oluşturulması</a:t>
              </a:r>
              <a:r>
                <a:rPr lang="en-US" dirty="0"/>
                <a:t>, </a:t>
              </a:r>
              <a:r>
                <a:rPr lang="en-US" dirty="0" err="1"/>
                <a:t>iklim</a:t>
              </a:r>
              <a:r>
                <a:rPr lang="en-US" dirty="0"/>
                <a:t> </a:t>
              </a:r>
              <a:r>
                <a:rPr lang="en-US" dirty="0" err="1"/>
                <a:t>değişikliğinin</a:t>
              </a:r>
              <a:r>
                <a:rPr lang="en-US" dirty="0"/>
                <a:t> </a:t>
              </a:r>
              <a:r>
                <a:rPr lang="en-US" dirty="0" err="1"/>
                <a:t>etkilerinin</a:t>
              </a:r>
              <a:r>
                <a:rPr lang="en-US" dirty="0"/>
                <a:t> </a:t>
              </a:r>
              <a:r>
                <a:rPr lang="en-US" dirty="0" err="1"/>
                <a:t>ele</a:t>
              </a:r>
              <a:r>
                <a:rPr lang="en-US" dirty="0"/>
                <a:t> </a:t>
              </a:r>
              <a:r>
                <a:rPr lang="en-US" dirty="0" err="1"/>
                <a:t>alınması</a:t>
              </a:r>
              <a:r>
                <a:rPr lang="en-US" dirty="0"/>
                <a:t> </a:t>
              </a:r>
              <a:r>
                <a:rPr lang="en-US" dirty="0" err="1"/>
                <a:t>açısından</a:t>
              </a:r>
              <a:r>
                <a:rPr lang="en-US" dirty="0"/>
                <a:t> </a:t>
              </a:r>
              <a:r>
                <a:rPr lang="en-US" dirty="0" err="1"/>
                <a:t>büyük</a:t>
              </a:r>
              <a:r>
                <a:rPr lang="en-US" dirty="0"/>
                <a:t> </a:t>
              </a:r>
              <a:r>
                <a:rPr lang="en-US" dirty="0" err="1"/>
                <a:t>öneme</a:t>
              </a:r>
              <a:r>
                <a:rPr lang="en-US" dirty="0"/>
                <a:t> </a:t>
              </a:r>
              <a:r>
                <a:rPr lang="en-US" dirty="0" err="1"/>
                <a:t>sahiptir</a:t>
              </a:r>
              <a:r>
                <a:rPr lang="en-US" dirty="0"/>
                <a:t>. Deniz </a:t>
              </a:r>
              <a:r>
                <a:rPr lang="en-US" dirty="0" err="1"/>
                <a:t>seviyelerindeki</a:t>
              </a:r>
              <a:r>
                <a:rPr lang="en-US" dirty="0"/>
                <a:t> </a:t>
              </a:r>
              <a:r>
                <a:rPr lang="en-US" dirty="0" err="1"/>
                <a:t>yükselme</a:t>
              </a:r>
              <a:r>
                <a:rPr lang="en-US" dirty="0"/>
                <a:t>, </a:t>
              </a:r>
              <a:r>
                <a:rPr lang="en-US" dirty="0" err="1"/>
                <a:t>artan</a:t>
              </a:r>
              <a:r>
                <a:rPr lang="en-US" dirty="0"/>
                <a:t> </a:t>
              </a:r>
              <a:r>
                <a:rPr lang="en-US" dirty="0" err="1"/>
                <a:t>aşırı</a:t>
              </a:r>
              <a:r>
                <a:rPr lang="en-US" dirty="0"/>
                <a:t> </a:t>
              </a:r>
              <a:r>
                <a:rPr lang="en-US" dirty="0" err="1"/>
                <a:t>hava</a:t>
              </a:r>
              <a:r>
                <a:rPr lang="en-US" dirty="0"/>
                <a:t> </a:t>
              </a:r>
              <a:r>
                <a:rPr lang="en-US" dirty="0" err="1"/>
                <a:t>olayları</a:t>
              </a:r>
              <a:r>
                <a:rPr lang="en-US" dirty="0"/>
                <a:t> </a:t>
              </a:r>
              <a:r>
                <a:rPr lang="en-US" dirty="0" err="1"/>
                <a:t>ve</a:t>
              </a:r>
              <a:r>
                <a:rPr lang="en-US" dirty="0"/>
                <a:t> </a:t>
              </a:r>
              <a:r>
                <a:rPr lang="en-US" dirty="0" err="1"/>
                <a:t>seyahat</a:t>
              </a:r>
              <a:r>
                <a:rPr lang="en-US" dirty="0"/>
                <a:t> </a:t>
              </a:r>
              <a:r>
                <a:rPr lang="en-US" dirty="0" err="1"/>
                <a:t>alışkanlıklarındaki</a:t>
              </a:r>
              <a:r>
                <a:rPr lang="en-US" dirty="0"/>
                <a:t> </a:t>
              </a:r>
              <a:r>
                <a:rPr lang="en-US" dirty="0" err="1"/>
                <a:t>değişimler</a:t>
              </a:r>
              <a:r>
                <a:rPr lang="en-US" dirty="0"/>
                <a:t> </a:t>
              </a:r>
              <a:r>
                <a:rPr lang="en-US" dirty="0" err="1"/>
                <a:t>gibi</a:t>
              </a:r>
              <a:r>
                <a:rPr lang="en-US" dirty="0"/>
                <a:t> </a:t>
              </a:r>
              <a:r>
                <a:rPr lang="en-US" dirty="0" err="1"/>
                <a:t>faktörler</a:t>
              </a:r>
              <a:r>
                <a:rPr lang="en-US" dirty="0"/>
                <a:t> </a:t>
              </a:r>
              <a:r>
                <a:rPr lang="en-US" dirty="0" err="1"/>
                <a:t>dikkate</a:t>
              </a:r>
              <a:r>
                <a:rPr lang="en-US" dirty="0"/>
                <a:t> </a:t>
              </a:r>
              <a:r>
                <a:rPr lang="en-US" dirty="0" err="1"/>
                <a:t>alındığında</a:t>
              </a:r>
              <a:r>
                <a:rPr lang="en-US" dirty="0"/>
                <a:t>, </a:t>
              </a:r>
              <a:r>
                <a:rPr lang="en-US" dirty="0" err="1"/>
                <a:t>ulaşım</a:t>
              </a:r>
              <a:r>
                <a:rPr lang="en-US" dirty="0"/>
                <a:t> </a:t>
              </a:r>
              <a:r>
                <a:rPr lang="en-US" dirty="0" err="1"/>
                <a:t>planlamasının</a:t>
              </a:r>
              <a:r>
                <a:rPr lang="en-US" dirty="0"/>
                <a:t> </a:t>
              </a:r>
              <a:r>
                <a:rPr lang="en-US" dirty="0" err="1"/>
                <a:t>bu</a:t>
              </a:r>
              <a:r>
                <a:rPr lang="en-US" dirty="0"/>
                <a:t> </a:t>
              </a:r>
              <a:r>
                <a:rPr lang="en-US" dirty="0" err="1"/>
                <a:t>zorlukları</a:t>
              </a:r>
              <a:r>
                <a:rPr lang="en-US" dirty="0"/>
                <a:t> </a:t>
              </a:r>
              <a:r>
                <a:rPr lang="en-US" dirty="0" err="1"/>
                <a:t>göz</a:t>
              </a:r>
              <a:r>
                <a:rPr lang="en-US" dirty="0"/>
                <a:t> </a:t>
              </a:r>
              <a:r>
                <a:rPr lang="en-US" dirty="0" err="1"/>
                <a:t>önünde</a:t>
              </a:r>
              <a:r>
                <a:rPr lang="en-US" dirty="0"/>
                <a:t> </a:t>
              </a:r>
              <a:r>
                <a:rPr lang="en-US" dirty="0" err="1"/>
                <a:t>bulundurması</a:t>
              </a:r>
              <a:r>
                <a:rPr lang="en-US" dirty="0"/>
                <a:t> </a:t>
              </a:r>
              <a:r>
                <a:rPr lang="en-US" dirty="0" err="1"/>
                <a:t>gerekmektedir</a:t>
              </a:r>
              <a:endParaRPr lang="en-US" dirty="0"/>
            </a:p>
          </p:txBody>
        </p:sp>
      </p:grpSp>
      <p:grpSp>
        <p:nvGrpSpPr>
          <p:cNvPr id="8" name="Group 7">
            <a:extLst>
              <a:ext uri="{FF2B5EF4-FFF2-40B4-BE49-F238E27FC236}">
                <a16:creationId xmlns:a16="http://schemas.microsoft.com/office/drawing/2014/main" id="{5E690C3A-99C7-9807-9980-BA57FFCAE7FB}"/>
              </a:ext>
            </a:extLst>
          </p:cNvPr>
          <p:cNvGrpSpPr/>
          <p:nvPr/>
        </p:nvGrpSpPr>
        <p:grpSpPr>
          <a:xfrm>
            <a:off x="7311574" y="2190930"/>
            <a:ext cx="4038784" cy="2476141"/>
            <a:chOff x="7440884" y="2190929"/>
            <a:chExt cx="4038784" cy="2476141"/>
          </a:xfrm>
        </p:grpSpPr>
        <p:sp>
          <p:nvSpPr>
            <p:cNvPr id="9" name="Arrow: Down 8">
              <a:extLst>
                <a:ext uri="{FF2B5EF4-FFF2-40B4-BE49-F238E27FC236}">
                  <a16:creationId xmlns:a16="http://schemas.microsoft.com/office/drawing/2014/main" id="{D25B5788-D878-A0AE-4681-6110555DFD1D}"/>
                </a:ext>
              </a:extLst>
            </p:cNvPr>
            <p:cNvSpPr/>
            <p:nvPr/>
          </p:nvSpPr>
          <p:spPr>
            <a:xfrm rot="5400000">
              <a:off x="8222205" y="1409608"/>
              <a:ext cx="2476141" cy="4038783"/>
            </a:xfrm>
            <a:prstGeom prst="downArrow">
              <a:avLst>
                <a:gd name="adj1" fmla="val 50000"/>
                <a:gd name="adj2" fmla="val 35000"/>
              </a:avLst>
            </a:prstGeom>
            <a:solidFill>
              <a:srgbClr val="E81F27"/>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10" name="Arrow: Down 6">
              <a:extLst>
                <a:ext uri="{FF2B5EF4-FFF2-40B4-BE49-F238E27FC236}">
                  <a16:creationId xmlns:a16="http://schemas.microsoft.com/office/drawing/2014/main" id="{DEA7278E-4710-DDE6-3A33-CBC4779C8B86}"/>
                </a:ext>
              </a:extLst>
            </p:cNvPr>
            <p:cNvSpPr txBox="1"/>
            <p:nvPr/>
          </p:nvSpPr>
          <p:spPr>
            <a:xfrm>
              <a:off x="7874210" y="2809964"/>
              <a:ext cx="3605458" cy="123807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8232" tIns="78232" rIns="78232" bIns="78232" numCol="1" spcCol="1270" anchor="ctr" anchorCtr="0">
              <a:noAutofit/>
            </a:bodyPr>
            <a:lstStyle/>
            <a:p>
              <a:pPr marL="0" lvl="0" indent="0" algn="ctr" defTabSz="488950">
                <a:lnSpc>
                  <a:spcPct val="90000"/>
                </a:lnSpc>
                <a:spcBef>
                  <a:spcPct val="0"/>
                </a:spcBef>
                <a:spcAft>
                  <a:spcPct val="35000"/>
                </a:spcAft>
                <a:buNone/>
                <a:defRPr sz="1100" kern="1200"/>
              </a:pPr>
              <a:r>
                <a:rPr lang="en-US" dirty="0" err="1"/>
                <a:t>Planlanan</a:t>
              </a:r>
              <a:r>
                <a:rPr lang="en-US" dirty="0"/>
                <a:t> </a:t>
              </a:r>
              <a:r>
                <a:rPr lang="en-US" dirty="0" err="1"/>
                <a:t>ulaşım</a:t>
              </a:r>
              <a:r>
                <a:rPr lang="en-US" dirty="0"/>
                <a:t> </a:t>
              </a:r>
              <a:r>
                <a:rPr lang="en-US" dirty="0" err="1"/>
                <a:t>altyapısının</a:t>
              </a:r>
              <a:r>
                <a:rPr lang="en-US" dirty="0"/>
                <a:t>, </a:t>
              </a:r>
              <a:r>
                <a:rPr lang="en-US" dirty="0" err="1"/>
                <a:t>sel</a:t>
              </a:r>
              <a:r>
                <a:rPr lang="en-US" dirty="0"/>
                <a:t> </a:t>
              </a:r>
              <a:r>
                <a:rPr lang="en-US" dirty="0" err="1"/>
                <a:t>ve</a:t>
              </a:r>
              <a:r>
                <a:rPr lang="en-US" dirty="0"/>
                <a:t> </a:t>
              </a:r>
              <a:r>
                <a:rPr lang="en-US" dirty="0" err="1"/>
                <a:t>aşırı</a:t>
              </a:r>
              <a:r>
                <a:rPr lang="en-US" dirty="0"/>
                <a:t> </a:t>
              </a:r>
              <a:r>
                <a:rPr lang="en-US" dirty="0" err="1"/>
                <a:t>sıcaklık</a:t>
              </a:r>
              <a:r>
                <a:rPr lang="en-US" dirty="0"/>
                <a:t> </a:t>
              </a:r>
              <a:r>
                <a:rPr lang="en-US" dirty="0" err="1"/>
                <a:t>gibi</a:t>
              </a:r>
              <a:r>
                <a:rPr lang="en-US" dirty="0"/>
                <a:t> </a:t>
              </a:r>
              <a:r>
                <a:rPr lang="en-US" dirty="0" err="1"/>
                <a:t>iklimle</a:t>
              </a:r>
              <a:r>
                <a:rPr lang="en-US" dirty="0"/>
                <a:t> </a:t>
              </a:r>
              <a:r>
                <a:rPr lang="en-US" dirty="0" err="1"/>
                <a:t>ilişkili</a:t>
              </a:r>
              <a:r>
                <a:rPr lang="en-US" dirty="0"/>
                <a:t> </a:t>
              </a:r>
              <a:r>
                <a:rPr lang="en-US" dirty="0" err="1"/>
                <a:t>risklere</a:t>
              </a:r>
              <a:r>
                <a:rPr lang="en-US" dirty="0"/>
                <a:t> </a:t>
              </a:r>
              <a:r>
                <a:rPr lang="en-US" dirty="0" err="1"/>
                <a:t>karşı</a:t>
              </a:r>
              <a:r>
                <a:rPr lang="en-US" dirty="0"/>
                <a:t> </a:t>
              </a:r>
              <a:r>
                <a:rPr lang="en-US" dirty="0" err="1"/>
                <a:t>dayanıklı</a:t>
              </a:r>
              <a:r>
                <a:rPr lang="en-US" dirty="0"/>
                <a:t> </a:t>
              </a:r>
              <a:r>
                <a:rPr lang="en-US" dirty="0" err="1"/>
                <a:t>olmasını</a:t>
              </a:r>
              <a:r>
                <a:rPr lang="en-US" dirty="0"/>
                <a:t> </a:t>
              </a:r>
              <a:r>
                <a:rPr lang="en-US" dirty="0" err="1"/>
                <a:t>sağlamak</a:t>
              </a:r>
              <a:r>
                <a:rPr lang="en-US" dirty="0"/>
                <a:t> </a:t>
              </a:r>
              <a:r>
                <a:rPr lang="en-US" dirty="0" err="1"/>
                <a:t>çok</a:t>
              </a:r>
              <a:r>
                <a:rPr lang="en-US" dirty="0"/>
                <a:t> </a:t>
              </a:r>
              <a:r>
                <a:rPr lang="en-US" dirty="0" err="1"/>
                <a:t>önemlidir</a:t>
              </a:r>
              <a:r>
                <a:rPr lang="en-US" dirty="0"/>
                <a:t>. </a:t>
              </a:r>
              <a:r>
                <a:rPr lang="en-US" dirty="0" err="1"/>
                <a:t>İklim</a:t>
              </a:r>
              <a:r>
                <a:rPr lang="en-US" dirty="0"/>
                <a:t> </a:t>
              </a:r>
              <a:r>
                <a:rPr lang="en-US" dirty="0" err="1"/>
                <a:t>koşullarının</a:t>
              </a:r>
              <a:r>
                <a:rPr lang="en-US" dirty="0"/>
                <a:t> </a:t>
              </a:r>
              <a:r>
                <a:rPr lang="en-US" dirty="0" err="1"/>
                <a:t>sürekli</a:t>
              </a:r>
              <a:r>
                <a:rPr lang="en-US" dirty="0"/>
                <a:t> </a:t>
              </a:r>
              <a:r>
                <a:rPr lang="en-US" dirty="0" err="1"/>
                <a:t>değişim</a:t>
              </a:r>
              <a:r>
                <a:rPr lang="en-US" dirty="0"/>
                <a:t> </a:t>
              </a:r>
              <a:r>
                <a:rPr lang="en-US" dirty="0" err="1"/>
                <a:t>gösterdiği</a:t>
              </a:r>
              <a:r>
                <a:rPr lang="en-US" dirty="0"/>
                <a:t> </a:t>
              </a:r>
              <a:r>
                <a:rPr lang="en-US" dirty="0" err="1"/>
                <a:t>bir</a:t>
              </a:r>
              <a:r>
                <a:rPr lang="en-US" dirty="0"/>
                <a:t> </a:t>
              </a:r>
              <a:r>
                <a:rPr lang="en-US" dirty="0" err="1"/>
                <a:t>dünyada</a:t>
              </a:r>
              <a:r>
                <a:rPr lang="en-US" dirty="0"/>
                <a:t>, </a:t>
              </a:r>
              <a:r>
                <a:rPr lang="en-US" dirty="0" err="1"/>
                <a:t>ulaşım</a:t>
              </a:r>
              <a:r>
                <a:rPr lang="en-US" dirty="0"/>
                <a:t> </a:t>
              </a:r>
              <a:r>
                <a:rPr lang="en-US" dirty="0" err="1"/>
                <a:t>sistemlerinin</a:t>
              </a:r>
              <a:r>
                <a:rPr lang="en-US" dirty="0"/>
                <a:t> </a:t>
              </a:r>
              <a:r>
                <a:rPr lang="en-US" dirty="0" err="1"/>
                <a:t>uzun</a:t>
              </a:r>
              <a:r>
                <a:rPr lang="en-US" dirty="0"/>
                <a:t> </a:t>
              </a:r>
              <a:r>
                <a:rPr lang="en-US" dirty="0" err="1"/>
                <a:t>vadede</a:t>
              </a:r>
              <a:r>
                <a:rPr lang="en-US" dirty="0"/>
                <a:t> </a:t>
              </a:r>
              <a:r>
                <a:rPr lang="en-US" dirty="0" err="1"/>
                <a:t>ve</a:t>
              </a:r>
              <a:r>
                <a:rPr lang="en-US" dirty="0"/>
                <a:t> </a:t>
              </a:r>
              <a:r>
                <a:rPr lang="en-US" dirty="0" err="1"/>
                <a:t>işlevsel</a:t>
              </a:r>
              <a:r>
                <a:rPr lang="en-US" dirty="0"/>
                <a:t> </a:t>
              </a:r>
              <a:r>
                <a:rPr lang="en-US" dirty="0" err="1"/>
                <a:t>bir</a:t>
              </a:r>
              <a:r>
                <a:rPr lang="en-US" dirty="0"/>
                <a:t> </a:t>
              </a:r>
              <a:r>
                <a:rPr lang="en-US" dirty="0" err="1"/>
                <a:t>biçimde</a:t>
              </a:r>
              <a:r>
                <a:rPr lang="en-US" dirty="0"/>
                <a:t> var </a:t>
              </a:r>
              <a:r>
                <a:rPr lang="en-US" dirty="0" err="1"/>
                <a:t>olabilmesi</a:t>
              </a:r>
              <a:r>
                <a:rPr lang="en-US" dirty="0"/>
                <a:t> </a:t>
              </a:r>
              <a:r>
                <a:rPr lang="en-US" dirty="0" err="1"/>
                <a:t>için</a:t>
              </a:r>
              <a:r>
                <a:rPr lang="en-US" dirty="0"/>
                <a:t> </a:t>
              </a:r>
              <a:r>
                <a:rPr lang="en-US" dirty="0" err="1"/>
                <a:t>uyum</a:t>
              </a:r>
              <a:r>
                <a:rPr lang="en-US" dirty="0"/>
                <a:t> </a:t>
              </a:r>
              <a:r>
                <a:rPr lang="en-US" dirty="0" err="1"/>
                <a:t>stratejilerinin</a:t>
              </a:r>
              <a:r>
                <a:rPr lang="en-US" dirty="0"/>
                <a:t> </a:t>
              </a:r>
              <a:r>
                <a:rPr lang="en-US" dirty="0" err="1"/>
                <a:t>entegrasyonu</a:t>
              </a:r>
              <a:r>
                <a:rPr lang="en-US" dirty="0"/>
                <a:t> </a:t>
              </a:r>
              <a:r>
                <a:rPr lang="en-US" dirty="0" err="1"/>
                <a:t>hayati</a:t>
              </a:r>
              <a:r>
                <a:rPr lang="en-US" dirty="0"/>
                <a:t> </a:t>
              </a:r>
              <a:r>
                <a:rPr lang="en-US" dirty="0" err="1"/>
                <a:t>önem</a:t>
              </a:r>
              <a:r>
                <a:rPr lang="en-US" dirty="0"/>
                <a:t> </a:t>
              </a:r>
              <a:r>
                <a:rPr lang="en-US" dirty="0" err="1"/>
                <a:t>taşır</a:t>
              </a:r>
              <a:r>
                <a:rPr lang="en-US" dirty="0"/>
                <a:t>.</a:t>
              </a:r>
            </a:p>
          </p:txBody>
        </p:sp>
      </p:grpSp>
    </p:spTree>
    <p:extLst>
      <p:ext uri="{BB962C8B-B14F-4D97-AF65-F5344CB8AC3E}">
        <p14:creationId xmlns:p14="http://schemas.microsoft.com/office/powerpoint/2010/main" val="10509400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2" name="Picture 1" descr="Magnifying glass showing decling performance">
            <a:extLst>
              <a:ext uri="{FF2B5EF4-FFF2-40B4-BE49-F238E27FC236}">
                <a16:creationId xmlns:a16="http://schemas.microsoft.com/office/drawing/2014/main" id="{1521A8FD-88D2-7D02-2219-787687F7F9ED}"/>
              </a:ext>
            </a:extLst>
          </p:cNvPr>
          <p:cNvPicPr>
            <a:picLocks noChangeAspect="1"/>
          </p:cNvPicPr>
          <p:nvPr/>
        </p:nvPicPr>
        <p:blipFill rotWithShape="1">
          <a:blip r:embed="rId4"/>
          <a:srcRect r="5882" b="-1"/>
          <a:stretch/>
        </p:blipFill>
        <p:spPr>
          <a:xfrm>
            <a:off x="372979" y="1498887"/>
            <a:ext cx="6029465" cy="4276271"/>
          </a:xfrm>
          <a:prstGeom prst="rect">
            <a:avLst/>
          </a:prstGeom>
          <a:effectLst>
            <a:softEdge rad="635000"/>
          </a:effectLst>
        </p:spPr>
      </p:pic>
      <p:sp>
        <p:nvSpPr>
          <p:cNvPr id="3" name="Title 15">
            <a:extLst>
              <a:ext uri="{FF2B5EF4-FFF2-40B4-BE49-F238E27FC236}">
                <a16:creationId xmlns:a16="http://schemas.microsoft.com/office/drawing/2014/main" id="{7DC6C3D3-FBA7-90B5-A49E-D25875E68FF2}"/>
              </a:ext>
            </a:extLst>
          </p:cNvPr>
          <p:cNvSpPr txBox="1">
            <a:spLocks/>
          </p:cNvSpPr>
          <p:nvPr/>
        </p:nvSpPr>
        <p:spPr>
          <a:xfrm>
            <a:off x="6402444" y="782052"/>
            <a:ext cx="7295146" cy="1807837"/>
          </a:xfrm>
          <a:prstGeom prst="rect">
            <a:avLst/>
          </a:prstGeom>
        </p:spPr>
        <p:txBody>
          <a:bodyPr vert="horz" lIns="91440" tIns="45720" rIns="91440" bIns="4572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spcAft>
                <a:spcPts val="600"/>
              </a:spcAft>
              <a:defRPr sz="3200"/>
            </a:pPr>
            <a:r>
              <a:t>Performans Ölçme ve İzleme </a:t>
            </a:r>
          </a:p>
        </p:txBody>
      </p:sp>
      <p:sp>
        <p:nvSpPr>
          <p:cNvPr id="4" name="TextBox 3">
            <a:extLst>
              <a:ext uri="{FF2B5EF4-FFF2-40B4-BE49-F238E27FC236}">
                <a16:creationId xmlns:a16="http://schemas.microsoft.com/office/drawing/2014/main" id="{F98A9CAD-8C63-B739-BF50-CB4E5E857581}"/>
              </a:ext>
            </a:extLst>
          </p:cNvPr>
          <p:cNvSpPr txBox="1"/>
          <p:nvPr/>
        </p:nvSpPr>
        <p:spPr>
          <a:xfrm>
            <a:off x="6402444" y="2537683"/>
            <a:ext cx="5257799" cy="3289681"/>
          </a:xfrm>
          <a:prstGeom prst="rect">
            <a:avLst/>
          </a:prstGeom>
        </p:spPr>
        <p:txBody>
          <a:bodyPr vert="horz" lIns="91440" tIns="45720" rIns="91440" bIns="45720">
            <a:normAutofit fontScale="92500"/>
          </a:bodyPr>
          <a:lstStyle/>
          <a:p>
            <a:pPr indent="-228600" algn="just">
              <a:lnSpc>
                <a:spcPct val="90000"/>
              </a:lnSpc>
              <a:spcAft>
                <a:spcPts val="600"/>
              </a:spcAft>
              <a:buFont typeface="Arial" panose="020B0604020202020204" pitchFamily="34" charset="0"/>
              <a:buChar char="•"/>
            </a:pPr>
            <a:r>
              <a:rPr lang="en-US" dirty="0" err="1"/>
              <a:t>Performansın</a:t>
            </a:r>
            <a:r>
              <a:rPr lang="en-US" dirty="0"/>
              <a:t> </a:t>
            </a:r>
            <a:r>
              <a:rPr lang="en-US" dirty="0" err="1"/>
              <a:t>ölçümü</a:t>
            </a:r>
            <a:r>
              <a:rPr lang="en-US" dirty="0"/>
              <a:t> </a:t>
            </a:r>
            <a:r>
              <a:rPr lang="en-US" dirty="0" err="1"/>
              <a:t>ve</a:t>
            </a:r>
            <a:r>
              <a:rPr lang="en-US" dirty="0"/>
              <a:t> </a:t>
            </a:r>
            <a:r>
              <a:rPr lang="en-US" dirty="0" err="1"/>
              <a:t>izlenmesi</a:t>
            </a:r>
            <a:r>
              <a:rPr lang="en-US" dirty="0"/>
              <a:t>, </a:t>
            </a:r>
            <a:r>
              <a:rPr lang="en-US" dirty="0" err="1"/>
              <a:t>ulaşım</a:t>
            </a:r>
            <a:r>
              <a:rPr lang="en-US" dirty="0"/>
              <a:t> </a:t>
            </a:r>
            <a:r>
              <a:rPr lang="en-US" dirty="0" err="1"/>
              <a:t>planlamasında</a:t>
            </a:r>
            <a:r>
              <a:rPr lang="en-US" dirty="0"/>
              <a:t> </a:t>
            </a:r>
            <a:r>
              <a:rPr lang="en-US" dirty="0" err="1"/>
              <a:t>kritik</a:t>
            </a:r>
            <a:r>
              <a:rPr lang="en-US" dirty="0"/>
              <a:t> </a:t>
            </a:r>
            <a:r>
              <a:rPr lang="en-US" dirty="0" err="1"/>
              <a:t>bir</a:t>
            </a:r>
            <a:r>
              <a:rPr lang="en-US" dirty="0"/>
              <a:t> </a:t>
            </a:r>
            <a:r>
              <a:rPr lang="en-US" dirty="0" err="1"/>
              <a:t>rol</a:t>
            </a:r>
            <a:r>
              <a:rPr lang="en-US" dirty="0"/>
              <a:t> </a:t>
            </a:r>
            <a:r>
              <a:rPr lang="en-US" dirty="0" err="1"/>
              <a:t>üstlenir</a:t>
            </a:r>
            <a:r>
              <a:rPr lang="en-US" dirty="0"/>
              <a:t>. </a:t>
            </a:r>
            <a:r>
              <a:rPr lang="en-US" dirty="0" err="1"/>
              <a:t>Kilit</a:t>
            </a:r>
            <a:r>
              <a:rPr lang="en-US" dirty="0"/>
              <a:t> </a:t>
            </a:r>
            <a:r>
              <a:rPr lang="en-US" dirty="0" err="1"/>
              <a:t>performans</a:t>
            </a:r>
            <a:r>
              <a:rPr lang="en-US" dirty="0"/>
              <a:t> </a:t>
            </a:r>
            <a:r>
              <a:rPr lang="en-US" dirty="0" err="1"/>
              <a:t>göstergeleri</a:t>
            </a:r>
            <a:r>
              <a:rPr lang="en-US" dirty="0"/>
              <a:t> </a:t>
            </a:r>
            <a:r>
              <a:rPr lang="en-US" dirty="0" err="1"/>
              <a:t>belirleyerek</a:t>
            </a:r>
            <a:r>
              <a:rPr lang="en-US" dirty="0"/>
              <a:t>, </a:t>
            </a:r>
            <a:r>
              <a:rPr lang="en-US" dirty="0" err="1"/>
              <a:t>planlamacılar</a:t>
            </a:r>
            <a:r>
              <a:rPr lang="en-US" dirty="0"/>
              <a:t> </a:t>
            </a:r>
            <a:r>
              <a:rPr lang="en-US" dirty="0" err="1"/>
              <a:t>ulaşım</a:t>
            </a:r>
            <a:r>
              <a:rPr lang="en-US" dirty="0"/>
              <a:t> </a:t>
            </a:r>
            <a:r>
              <a:rPr lang="en-US" dirty="0" err="1"/>
              <a:t>projelerinin</a:t>
            </a:r>
            <a:r>
              <a:rPr lang="en-US" dirty="0"/>
              <a:t> </a:t>
            </a:r>
            <a:r>
              <a:rPr lang="en-US" dirty="0" err="1"/>
              <a:t>ve</a:t>
            </a:r>
            <a:r>
              <a:rPr lang="en-US" dirty="0"/>
              <a:t> </a:t>
            </a:r>
            <a:r>
              <a:rPr lang="en-US" dirty="0" err="1"/>
              <a:t>politikalarının</a:t>
            </a:r>
            <a:r>
              <a:rPr lang="en-US" dirty="0"/>
              <a:t> </a:t>
            </a:r>
            <a:r>
              <a:rPr lang="en-US" dirty="0" err="1"/>
              <a:t>etkinliğini</a:t>
            </a:r>
            <a:r>
              <a:rPr lang="en-US" dirty="0"/>
              <a:t> </a:t>
            </a:r>
            <a:r>
              <a:rPr lang="en-US" dirty="0" err="1"/>
              <a:t>analiz</a:t>
            </a:r>
            <a:r>
              <a:rPr lang="en-US" dirty="0"/>
              <a:t> </a:t>
            </a:r>
            <a:r>
              <a:rPr lang="en-US" dirty="0" err="1"/>
              <a:t>edebilirler</a:t>
            </a:r>
            <a:r>
              <a:rPr lang="en-US" dirty="0"/>
              <a:t>.</a:t>
            </a:r>
          </a:p>
          <a:p>
            <a:pPr algn="just">
              <a:lnSpc>
                <a:spcPct val="90000"/>
              </a:lnSpc>
              <a:spcAft>
                <a:spcPts val="600"/>
              </a:spcAft>
            </a:pPr>
            <a:endParaRPr lang="en-US" dirty="0"/>
          </a:p>
          <a:p>
            <a:pPr indent="-228600" algn="just">
              <a:lnSpc>
                <a:spcPct val="90000"/>
              </a:lnSpc>
              <a:spcAft>
                <a:spcPts val="600"/>
              </a:spcAft>
              <a:buFont typeface="Arial" panose="020B0604020202020204" pitchFamily="34" charset="0"/>
              <a:buChar char="•"/>
            </a:pPr>
            <a:r>
              <a:rPr lang="en-US" b="0" i="0" dirty="0" err="1">
                <a:solidFill>
                  <a:srgbClr val="374151"/>
                </a:solidFill>
                <a:effectLst/>
                <a:latin typeface="Söhne"/>
              </a:rPr>
              <a:t>Seyahat</a:t>
            </a:r>
            <a:r>
              <a:rPr lang="en-US" b="0" i="0" dirty="0">
                <a:solidFill>
                  <a:srgbClr val="374151"/>
                </a:solidFill>
                <a:effectLst/>
                <a:latin typeface="Söhne"/>
              </a:rPr>
              <a:t> </a:t>
            </a:r>
            <a:r>
              <a:rPr lang="en-US" b="0" i="0" dirty="0" err="1">
                <a:solidFill>
                  <a:srgbClr val="374151"/>
                </a:solidFill>
                <a:effectLst/>
                <a:latin typeface="Söhne"/>
              </a:rPr>
              <a:t>süreleri</a:t>
            </a:r>
            <a:r>
              <a:rPr lang="en-US" b="0" i="0" dirty="0">
                <a:solidFill>
                  <a:srgbClr val="374151"/>
                </a:solidFill>
                <a:effectLst/>
                <a:latin typeface="Söhne"/>
              </a:rPr>
              <a:t>, </a:t>
            </a:r>
            <a:r>
              <a:rPr lang="en-US" b="0" i="0" dirty="0" err="1">
                <a:solidFill>
                  <a:srgbClr val="374151"/>
                </a:solidFill>
                <a:effectLst/>
                <a:latin typeface="Söhne"/>
              </a:rPr>
              <a:t>ulaşım</a:t>
            </a:r>
            <a:r>
              <a:rPr lang="tr-TR" dirty="0">
                <a:solidFill>
                  <a:srgbClr val="374151"/>
                </a:solidFill>
                <a:latin typeface="Söhne"/>
              </a:rPr>
              <a:t>ın türel</a:t>
            </a:r>
            <a:r>
              <a:rPr lang="en-US" b="0" i="0" dirty="0">
                <a:solidFill>
                  <a:srgbClr val="374151"/>
                </a:solidFill>
                <a:effectLst/>
                <a:latin typeface="Söhne"/>
              </a:rPr>
              <a:t> </a:t>
            </a:r>
            <a:r>
              <a:rPr lang="en-US" b="0" i="0" dirty="0" err="1">
                <a:solidFill>
                  <a:srgbClr val="374151"/>
                </a:solidFill>
                <a:effectLst/>
                <a:latin typeface="Söhne"/>
              </a:rPr>
              <a:t>dağılımları</a:t>
            </a:r>
            <a:r>
              <a:rPr lang="en-US" b="0" i="0" dirty="0">
                <a:solidFill>
                  <a:srgbClr val="374151"/>
                </a:solidFill>
                <a:effectLst/>
                <a:latin typeface="Söhne"/>
              </a:rPr>
              <a:t>, </a:t>
            </a:r>
            <a:r>
              <a:rPr lang="en-US" b="0" i="0" dirty="0" err="1">
                <a:solidFill>
                  <a:srgbClr val="374151"/>
                </a:solidFill>
                <a:effectLst/>
                <a:latin typeface="Söhne"/>
              </a:rPr>
              <a:t>emisyonlar</a:t>
            </a:r>
            <a:r>
              <a:rPr lang="en-US" b="0" i="0" dirty="0">
                <a:solidFill>
                  <a:srgbClr val="374151"/>
                </a:solidFill>
                <a:effectLst/>
                <a:latin typeface="Söhne"/>
              </a:rPr>
              <a:t> </a:t>
            </a:r>
            <a:r>
              <a:rPr lang="en-US" b="0" i="0" dirty="0" err="1">
                <a:solidFill>
                  <a:srgbClr val="374151"/>
                </a:solidFill>
                <a:effectLst/>
                <a:latin typeface="Söhne"/>
              </a:rPr>
              <a:t>ve</a:t>
            </a:r>
            <a:r>
              <a:rPr lang="en-US" b="0" i="0" dirty="0">
                <a:solidFill>
                  <a:srgbClr val="374151"/>
                </a:solidFill>
                <a:effectLst/>
                <a:latin typeface="Söhne"/>
              </a:rPr>
              <a:t> </a:t>
            </a:r>
            <a:r>
              <a:rPr lang="en-US" b="0" i="0" dirty="0" err="1">
                <a:solidFill>
                  <a:srgbClr val="374151"/>
                </a:solidFill>
                <a:effectLst/>
                <a:latin typeface="Söhne"/>
              </a:rPr>
              <a:t>altyapı</a:t>
            </a:r>
            <a:r>
              <a:rPr lang="en-US" b="0" i="0" dirty="0">
                <a:solidFill>
                  <a:srgbClr val="374151"/>
                </a:solidFill>
                <a:effectLst/>
                <a:latin typeface="Söhne"/>
              </a:rPr>
              <a:t> </a:t>
            </a:r>
            <a:r>
              <a:rPr lang="en-US" b="0" i="0" dirty="0" err="1">
                <a:solidFill>
                  <a:srgbClr val="374151"/>
                </a:solidFill>
                <a:effectLst/>
                <a:latin typeface="Söhne"/>
              </a:rPr>
              <a:t>kullanımı</a:t>
            </a:r>
            <a:r>
              <a:rPr lang="en-US" b="0" i="0" dirty="0">
                <a:solidFill>
                  <a:srgbClr val="374151"/>
                </a:solidFill>
                <a:effectLst/>
                <a:latin typeface="Söhne"/>
              </a:rPr>
              <a:t> </a:t>
            </a:r>
            <a:r>
              <a:rPr lang="en-US" b="0" i="0" dirty="0" err="1">
                <a:solidFill>
                  <a:srgbClr val="374151"/>
                </a:solidFill>
                <a:effectLst/>
                <a:latin typeface="Söhne"/>
              </a:rPr>
              <a:t>gibi</a:t>
            </a:r>
            <a:r>
              <a:rPr lang="en-US" b="0" i="0" dirty="0">
                <a:solidFill>
                  <a:srgbClr val="374151"/>
                </a:solidFill>
                <a:effectLst/>
                <a:latin typeface="Söhne"/>
              </a:rPr>
              <a:t> </a:t>
            </a:r>
            <a:r>
              <a:rPr lang="en-US" b="0" i="0" dirty="0" err="1">
                <a:solidFill>
                  <a:srgbClr val="374151"/>
                </a:solidFill>
                <a:effectLst/>
                <a:latin typeface="Söhne"/>
              </a:rPr>
              <a:t>verilerin</a:t>
            </a:r>
            <a:r>
              <a:rPr lang="en-US" b="0" i="0" dirty="0">
                <a:solidFill>
                  <a:srgbClr val="374151"/>
                </a:solidFill>
                <a:effectLst/>
                <a:latin typeface="Söhne"/>
              </a:rPr>
              <a:t> </a:t>
            </a:r>
            <a:r>
              <a:rPr lang="en-US" b="0" i="0" dirty="0" err="1">
                <a:solidFill>
                  <a:srgbClr val="374151"/>
                </a:solidFill>
                <a:effectLst/>
                <a:latin typeface="Söhne"/>
              </a:rPr>
              <a:t>takibi</a:t>
            </a:r>
            <a:r>
              <a:rPr lang="en-US" b="0" i="0" dirty="0">
                <a:solidFill>
                  <a:srgbClr val="374151"/>
                </a:solidFill>
                <a:effectLst/>
                <a:latin typeface="Söhne"/>
              </a:rPr>
              <a:t>, </a:t>
            </a:r>
            <a:r>
              <a:rPr lang="en-US" b="0" i="0" dirty="0" err="1">
                <a:solidFill>
                  <a:srgbClr val="374151"/>
                </a:solidFill>
                <a:effectLst/>
                <a:latin typeface="Söhne"/>
              </a:rPr>
              <a:t>sistemin</a:t>
            </a:r>
            <a:r>
              <a:rPr lang="en-US" b="0" i="0" dirty="0">
                <a:solidFill>
                  <a:srgbClr val="374151"/>
                </a:solidFill>
                <a:effectLst/>
                <a:latin typeface="Söhne"/>
              </a:rPr>
              <a:t> </a:t>
            </a:r>
            <a:r>
              <a:rPr lang="en-US" b="0" i="0" dirty="0" err="1">
                <a:solidFill>
                  <a:srgbClr val="374151"/>
                </a:solidFill>
                <a:effectLst/>
                <a:latin typeface="Söhne"/>
              </a:rPr>
              <a:t>performansı</a:t>
            </a:r>
            <a:r>
              <a:rPr lang="en-US" b="0" i="0" dirty="0">
                <a:solidFill>
                  <a:srgbClr val="374151"/>
                </a:solidFill>
                <a:effectLst/>
                <a:latin typeface="Söhne"/>
              </a:rPr>
              <a:t> </a:t>
            </a:r>
            <a:r>
              <a:rPr lang="en-US" b="0" i="0" dirty="0" err="1">
                <a:solidFill>
                  <a:srgbClr val="374151"/>
                </a:solidFill>
                <a:effectLst/>
                <a:latin typeface="Söhne"/>
              </a:rPr>
              <a:t>hakkında</a:t>
            </a:r>
            <a:r>
              <a:rPr lang="en-US" b="0" i="0" dirty="0">
                <a:solidFill>
                  <a:srgbClr val="374151"/>
                </a:solidFill>
                <a:effectLst/>
                <a:latin typeface="Söhne"/>
              </a:rPr>
              <a:t> </a:t>
            </a:r>
            <a:r>
              <a:rPr lang="en-US" b="0" i="0" dirty="0" err="1">
                <a:solidFill>
                  <a:srgbClr val="374151"/>
                </a:solidFill>
                <a:effectLst/>
                <a:latin typeface="Söhne"/>
              </a:rPr>
              <a:t>değerli</a:t>
            </a:r>
            <a:r>
              <a:rPr lang="en-US" b="0" i="0" dirty="0">
                <a:solidFill>
                  <a:srgbClr val="374151"/>
                </a:solidFill>
                <a:effectLst/>
                <a:latin typeface="Söhne"/>
              </a:rPr>
              <a:t> </a:t>
            </a:r>
            <a:r>
              <a:rPr lang="en-US" b="0" i="0" dirty="0" err="1">
                <a:solidFill>
                  <a:srgbClr val="374151"/>
                </a:solidFill>
                <a:effectLst/>
                <a:latin typeface="Söhne"/>
              </a:rPr>
              <a:t>bilgiler</a:t>
            </a:r>
            <a:r>
              <a:rPr lang="en-US" b="0" i="0" dirty="0">
                <a:solidFill>
                  <a:srgbClr val="374151"/>
                </a:solidFill>
                <a:effectLst/>
                <a:latin typeface="Söhne"/>
              </a:rPr>
              <a:t> </a:t>
            </a:r>
            <a:r>
              <a:rPr lang="en-US" b="0" i="0" dirty="0" err="1">
                <a:solidFill>
                  <a:srgbClr val="374151"/>
                </a:solidFill>
                <a:effectLst/>
                <a:latin typeface="Söhne"/>
              </a:rPr>
              <a:t>sağlar</a:t>
            </a:r>
            <a:r>
              <a:rPr lang="en-US" b="0" i="0" dirty="0">
                <a:solidFill>
                  <a:srgbClr val="374151"/>
                </a:solidFill>
                <a:effectLst/>
                <a:latin typeface="Söhne"/>
              </a:rPr>
              <a:t> </a:t>
            </a:r>
            <a:r>
              <a:rPr lang="en-US" b="0" i="0" dirty="0" err="1">
                <a:solidFill>
                  <a:srgbClr val="374151"/>
                </a:solidFill>
                <a:effectLst/>
                <a:latin typeface="Söhne"/>
              </a:rPr>
              <a:t>ve</a:t>
            </a:r>
            <a:r>
              <a:rPr lang="en-US" b="0" i="0" dirty="0">
                <a:solidFill>
                  <a:srgbClr val="374151"/>
                </a:solidFill>
                <a:effectLst/>
                <a:latin typeface="Söhne"/>
              </a:rPr>
              <a:t> </a:t>
            </a:r>
            <a:r>
              <a:rPr lang="en-US" b="0" i="0" dirty="0" err="1">
                <a:solidFill>
                  <a:srgbClr val="374151"/>
                </a:solidFill>
                <a:effectLst/>
                <a:latin typeface="Söhne"/>
              </a:rPr>
              <a:t>geliştirme</a:t>
            </a:r>
            <a:r>
              <a:rPr lang="en-US" b="0" i="0" dirty="0">
                <a:solidFill>
                  <a:srgbClr val="374151"/>
                </a:solidFill>
                <a:effectLst/>
                <a:latin typeface="Söhne"/>
              </a:rPr>
              <a:t> </a:t>
            </a:r>
            <a:r>
              <a:rPr lang="en-US" b="0" i="0" dirty="0" err="1">
                <a:solidFill>
                  <a:srgbClr val="374151"/>
                </a:solidFill>
                <a:effectLst/>
                <a:latin typeface="Söhne"/>
              </a:rPr>
              <a:t>potansiyeli</a:t>
            </a:r>
            <a:r>
              <a:rPr lang="en-US" b="0" i="0" dirty="0">
                <a:solidFill>
                  <a:srgbClr val="374151"/>
                </a:solidFill>
                <a:effectLst/>
                <a:latin typeface="Söhne"/>
              </a:rPr>
              <a:t> </a:t>
            </a:r>
            <a:r>
              <a:rPr lang="en-US" b="0" i="0" dirty="0" err="1">
                <a:solidFill>
                  <a:srgbClr val="374151"/>
                </a:solidFill>
                <a:effectLst/>
                <a:latin typeface="Söhne"/>
              </a:rPr>
              <a:t>olan</a:t>
            </a:r>
            <a:r>
              <a:rPr lang="en-US" b="0" i="0" dirty="0">
                <a:solidFill>
                  <a:srgbClr val="374151"/>
                </a:solidFill>
                <a:effectLst/>
                <a:latin typeface="Söhne"/>
              </a:rPr>
              <a:t> </a:t>
            </a:r>
            <a:r>
              <a:rPr lang="en-US" b="0" i="0" dirty="0" err="1">
                <a:solidFill>
                  <a:srgbClr val="374151"/>
                </a:solidFill>
                <a:effectLst/>
                <a:latin typeface="Söhne"/>
              </a:rPr>
              <a:t>alanların</a:t>
            </a:r>
            <a:r>
              <a:rPr lang="en-US" b="0" i="0" dirty="0">
                <a:solidFill>
                  <a:srgbClr val="374151"/>
                </a:solidFill>
                <a:effectLst/>
                <a:latin typeface="Söhne"/>
              </a:rPr>
              <a:t> </a:t>
            </a:r>
            <a:r>
              <a:rPr lang="en-US" b="0" i="0" dirty="0" err="1">
                <a:solidFill>
                  <a:srgbClr val="374151"/>
                </a:solidFill>
                <a:effectLst/>
                <a:latin typeface="Söhne"/>
              </a:rPr>
              <a:t>belirlenmesine</a:t>
            </a:r>
            <a:r>
              <a:rPr lang="en-US" b="0" i="0" dirty="0">
                <a:solidFill>
                  <a:srgbClr val="374151"/>
                </a:solidFill>
                <a:effectLst/>
                <a:latin typeface="Söhne"/>
              </a:rPr>
              <a:t> </a:t>
            </a:r>
            <a:r>
              <a:rPr lang="en-US" b="0" i="0" dirty="0" err="1">
                <a:solidFill>
                  <a:srgbClr val="374151"/>
                </a:solidFill>
                <a:effectLst/>
                <a:latin typeface="Söhne"/>
              </a:rPr>
              <a:t>yardımcı</a:t>
            </a:r>
            <a:r>
              <a:rPr lang="en-US" b="0" i="0" dirty="0">
                <a:solidFill>
                  <a:srgbClr val="374151"/>
                </a:solidFill>
                <a:effectLst/>
                <a:latin typeface="Söhne"/>
              </a:rPr>
              <a:t> </a:t>
            </a:r>
            <a:r>
              <a:rPr lang="en-US" b="0" i="0" dirty="0" err="1">
                <a:solidFill>
                  <a:srgbClr val="374151"/>
                </a:solidFill>
                <a:effectLst/>
                <a:latin typeface="Söhne"/>
              </a:rPr>
              <a:t>olur</a:t>
            </a:r>
            <a:r>
              <a:rPr lang="en-US" b="0" i="0" dirty="0">
                <a:solidFill>
                  <a:srgbClr val="374151"/>
                </a:solidFill>
                <a:effectLst/>
                <a:latin typeface="Söhne"/>
              </a:rPr>
              <a:t>. Veri </a:t>
            </a:r>
            <a:r>
              <a:rPr lang="en-US" b="0" i="0" dirty="0" err="1">
                <a:solidFill>
                  <a:srgbClr val="374151"/>
                </a:solidFill>
                <a:effectLst/>
                <a:latin typeface="Söhne"/>
              </a:rPr>
              <a:t>ve</a:t>
            </a:r>
            <a:r>
              <a:rPr lang="en-US" b="0" i="0" dirty="0">
                <a:solidFill>
                  <a:srgbClr val="374151"/>
                </a:solidFill>
                <a:effectLst/>
                <a:latin typeface="Söhne"/>
              </a:rPr>
              <a:t> </a:t>
            </a:r>
            <a:r>
              <a:rPr lang="en-US" b="0" i="0" dirty="0" err="1">
                <a:solidFill>
                  <a:srgbClr val="374151"/>
                </a:solidFill>
                <a:effectLst/>
                <a:latin typeface="Söhne"/>
              </a:rPr>
              <a:t>geri</a:t>
            </a:r>
            <a:r>
              <a:rPr lang="en-US" b="0" i="0" dirty="0">
                <a:solidFill>
                  <a:srgbClr val="374151"/>
                </a:solidFill>
                <a:effectLst/>
                <a:latin typeface="Söhne"/>
              </a:rPr>
              <a:t> </a:t>
            </a:r>
            <a:r>
              <a:rPr lang="en-US" b="0" i="0" dirty="0" err="1">
                <a:solidFill>
                  <a:srgbClr val="374151"/>
                </a:solidFill>
                <a:effectLst/>
                <a:latin typeface="Söhne"/>
              </a:rPr>
              <a:t>dönüşler</a:t>
            </a:r>
            <a:r>
              <a:rPr lang="en-US" b="0" i="0" dirty="0">
                <a:solidFill>
                  <a:srgbClr val="374151"/>
                </a:solidFill>
                <a:effectLst/>
                <a:latin typeface="Söhne"/>
              </a:rPr>
              <a:t> </a:t>
            </a:r>
            <a:r>
              <a:rPr lang="en-US" b="0" i="0" dirty="0" err="1">
                <a:solidFill>
                  <a:srgbClr val="374151"/>
                </a:solidFill>
                <a:effectLst/>
                <a:latin typeface="Söhne"/>
              </a:rPr>
              <a:t>sayesinde</a:t>
            </a:r>
            <a:r>
              <a:rPr lang="en-US" b="0" i="0" dirty="0">
                <a:solidFill>
                  <a:srgbClr val="374151"/>
                </a:solidFill>
                <a:effectLst/>
                <a:latin typeface="Söhne"/>
              </a:rPr>
              <a:t> </a:t>
            </a:r>
            <a:r>
              <a:rPr lang="en-US" b="0" i="0" dirty="0" err="1">
                <a:solidFill>
                  <a:srgbClr val="374151"/>
                </a:solidFill>
                <a:effectLst/>
                <a:latin typeface="Söhne"/>
              </a:rPr>
              <a:t>planlamacılar</a:t>
            </a:r>
            <a:r>
              <a:rPr lang="en-US" b="0" i="0" dirty="0">
                <a:solidFill>
                  <a:srgbClr val="374151"/>
                </a:solidFill>
                <a:effectLst/>
                <a:latin typeface="Söhne"/>
              </a:rPr>
              <a:t> </a:t>
            </a:r>
            <a:r>
              <a:rPr lang="en-US" b="0" i="0" dirty="0" err="1">
                <a:solidFill>
                  <a:srgbClr val="374151"/>
                </a:solidFill>
                <a:effectLst/>
                <a:latin typeface="Söhne"/>
              </a:rPr>
              <a:t>bilinçli</a:t>
            </a:r>
            <a:r>
              <a:rPr lang="en-US" b="0" i="0" dirty="0">
                <a:solidFill>
                  <a:srgbClr val="374151"/>
                </a:solidFill>
                <a:effectLst/>
                <a:latin typeface="Söhne"/>
              </a:rPr>
              <a:t> </a:t>
            </a:r>
            <a:r>
              <a:rPr lang="en-US" b="0" i="0" dirty="0" err="1">
                <a:solidFill>
                  <a:srgbClr val="374151"/>
                </a:solidFill>
                <a:effectLst/>
                <a:latin typeface="Söhne"/>
              </a:rPr>
              <a:t>kararlar</a:t>
            </a:r>
            <a:r>
              <a:rPr lang="en-US" b="0" i="0" dirty="0">
                <a:solidFill>
                  <a:srgbClr val="374151"/>
                </a:solidFill>
                <a:effectLst/>
                <a:latin typeface="Söhne"/>
              </a:rPr>
              <a:t> </a:t>
            </a:r>
            <a:r>
              <a:rPr lang="en-US" b="0" i="0" dirty="0" err="1">
                <a:solidFill>
                  <a:srgbClr val="374151"/>
                </a:solidFill>
                <a:effectLst/>
                <a:latin typeface="Söhne"/>
              </a:rPr>
              <a:t>verebilir</a:t>
            </a:r>
            <a:r>
              <a:rPr lang="en-US" b="0" i="0" dirty="0">
                <a:solidFill>
                  <a:srgbClr val="374151"/>
                </a:solidFill>
                <a:effectLst/>
                <a:latin typeface="Söhne"/>
              </a:rPr>
              <a:t> </a:t>
            </a:r>
            <a:r>
              <a:rPr lang="en-US" b="0" i="0" dirty="0" err="1">
                <a:solidFill>
                  <a:srgbClr val="374151"/>
                </a:solidFill>
                <a:effectLst/>
                <a:latin typeface="Söhne"/>
              </a:rPr>
              <a:t>ve</a:t>
            </a:r>
            <a:r>
              <a:rPr lang="en-US" b="0" i="0" dirty="0">
                <a:solidFill>
                  <a:srgbClr val="374151"/>
                </a:solidFill>
                <a:effectLst/>
                <a:latin typeface="Söhne"/>
              </a:rPr>
              <a:t> </a:t>
            </a:r>
            <a:r>
              <a:rPr lang="en-US" b="0" i="0" dirty="0" err="1">
                <a:solidFill>
                  <a:srgbClr val="374151"/>
                </a:solidFill>
                <a:effectLst/>
                <a:latin typeface="Söhne"/>
              </a:rPr>
              <a:t>ulaşım</a:t>
            </a:r>
            <a:r>
              <a:rPr lang="en-US" b="0" i="0" dirty="0">
                <a:solidFill>
                  <a:srgbClr val="374151"/>
                </a:solidFill>
                <a:effectLst/>
                <a:latin typeface="Söhne"/>
              </a:rPr>
              <a:t> </a:t>
            </a:r>
            <a:r>
              <a:rPr lang="en-US" b="0" i="0" dirty="0" err="1">
                <a:solidFill>
                  <a:srgbClr val="374151"/>
                </a:solidFill>
                <a:effectLst/>
                <a:latin typeface="Söhne"/>
              </a:rPr>
              <a:t>sisteminin</a:t>
            </a:r>
            <a:r>
              <a:rPr lang="en-US" b="0" i="0" dirty="0">
                <a:solidFill>
                  <a:srgbClr val="374151"/>
                </a:solidFill>
                <a:effectLst/>
                <a:latin typeface="Söhne"/>
              </a:rPr>
              <a:t> </a:t>
            </a:r>
            <a:r>
              <a:rPr lang="en-US" b="0" i="0" dirty="0" err="1">
                <a:solidFill>
                  <a:srgbClr val="374151"/>
                </a:solidFill>
                <a:effectLst/>
                <a:latin typeface="Söhne"/>
              </a:rPr>
              <a:t>çevresel</a:t>
            </a:r>
            <a:r>
              <a:rPr lang="en-US" b="0" i="0" dirty="0">
                <a:solidFill>
                  <a:srgbClr val="374151"/>
                </a:solidFill>
                <a:effectLst/>
                <a:latin typeface="Söhne"/>
              </a:rPr>
              <a:t> </a:t>
            </a:r>
            <a:r>
              <a:rPr lang="en-US" b="0" i="0" dirty="0" err="1">
                <a:solidFill>
                  <a:srgbClr val="374151"/>
                </a:solidFill>
                <a:effectLst/>
                <a:latin typeface="Söhne"/>
              </a:rPr>
              <a:t>performansını</a:t>
            </a:r>
            <a:r>
              <a:rPr lang="en-US" b="0" i="0" dirty="0">
                <a:solidFill>
                  <a:srgbClr val="374151"/>
                </a:solidFill>
                <a:effectLst/>
                <a:latin typeface="Söhne"/>
              </a:rPr>
              <a:t> </a:t>
            </a:r>
            <a:r>
              <a:rPr lang="en-US" b="0" i="0" dirty="0" err="1">
                <a:solidFill>
                  <a:srgbClr val="374151"/>
                </a:solidFill>
                <a:effectLst/>
                <a:latin typeface="Söhne"/>
              </a:rPr>
              <a:t>sürekli</a:t>
            </a:r>
            <a:r>
              <a:rPr lang="en-US" b="0" i="0" dirty="0">
                <a:solidFill>
                  <a:srgbClr val="374151"/>
                </a:solidFill>
                <a:effectLst/>
                <a:latin typeface="Söhne"/>
              </a:rPr>
              <a:t> </a:t>
            </a:r>
            <a:r>
              <a:rPr lang="en-US" b="0" i="0" dirty="0" err="1">
                <a:solidFill>
                  <a:srgbClr val="374151"/>
                </a:solidFill>
                <a:effectLst/>
                <a:latin typeface="Söhne"/>
              </a:rPr>
              <a:t>iyileştirmeye</a:t>
            </a:r>
            <a:r>
              <a:rPr lang="en-US" b="0" i="0" dirty="0">
                <a:solidFill>
                  <a:srgbClr val="374151"/>
                </a:solidFill>
                <a:effectLst/>
                <a:latin typeface="Söhne"/>
              </a:rPr>
              <a:t> </a:t>
            </a:r>
            <a:r>
              <a:rPr lang="en-US" b="0" i="0" dirty="0" err="1">
                <a:solidFill>
                  <a:srgbClr val="374151"/>
                </a:solidFill>
                <a:effectLst/>
                <a:latin typeface="Söhne"/>
              </a:rPr>
              <a:t>yönelebilir</a:t>
            </a:r>
            <a:r>
              <a:rPr dirty="0"/>
              <a:t>.</a:t>
            </a:r>
          </a:p>
        </p:txBody>
      </p:sp>
      <p:sp>
        <p:nvSpPr>
          <p:cNvPr id="5" name="Freeform: Shape 4">
            <a:extLst>
              <a:ext uri="{FF2B5EF4-FFF2-40B4-BE49-F238E27FC236}">
                <a16:creationId xmlns:a16="http://schemas.microsoft.com/office/drawing/2014/main" id="{DF7C414C-B8C6-C8DB-5D55-5CE1B33ADFF2}"/>
              </a:ext>
            </a:extLst>
          </p:cNvPr>
          <p:cNvSpPr/>
          <p:nvPr/>
        </p:nvSpPr>
        <p:spPr>
          <a:xfrm>
            <a:off x="6557211" y="2172257"/>
            <a:ext cx="5113421" cy="234059"/>
          </a:xfrm>
          <a:custGeom>
            <a:avLst/>
            <a:gdLst>
              <a:gd name="connsiteX0" fmla="*/ 0 w 5113421"/>
              <a:gd name="connsiteY0" fmla="*/ 65617 h 234059"/>
              <a:gd name="connsiteX1" fmla="*/ 60157 w 5113421"/>
              <a:gd name="connsiteY1" fmla="*/ 77648 h 234059"/>
              <a:gd name="connsiteX2" fmla="*/ 168442 w 5113421"/>
              <a:gd name="connsiteY2" fmla="*/ 113743 h 234059"/>
              <a:gd name="connsiteX3" fmla="*/ 276726 w 5113421"/>
              <a:gd name="connsiteY3" fmla="*/ 125775 h 234059"/>
              <a:gd name="connsiteX4" fmla="*/ 360947 w 5113421"/>
              <a:gd name="connsiteY4" fmla="*/ 137806 h 234059"/>
              <a:gd name="connsiteX5" fmla="*/ 842210 w 5113421"/>
              <a:gd name="connsiteY5" fmla="*/ 113743 h 234059"/>
              <a:gd name="connsiteX6" fmla="*/ 1046747 w 5113421"/>
              <a:gd name="connsiteY6" fmla="*/ 41554 h 234059"/>
              <a:gd name="connsiteX7" fmla="*/ 1179094 w 5113421"/>
              <a:gd name="connsiteY7" fmla="*/ 17490 h 234059"/>
              <a:gd name="connsiteX8" fmla="*/ 1467852 w 5113421"/>
              <a:gd name="connsiteY8" fmla="*/ 77648 h 234059"/>
              <a:gd name="connsiteX9" fmla="*/ 1624263 w 5113421"/>
              <a:gd name="connsiteY9" fmla="*/ 173901 h 234059"/>
              <a:gd name="connsiteX10" fmla="*/ 1888957 w 5113421"/>
              <a:gd name="connsiteY10" fmla="*/ 234059 h 234059"/>
              <a:gd name="connsiteX11" fmla="*/ 2322094 w 5113421"/>
              <a:gd name="connsiteY11" fmla="*/ 222027 h 234059"/>
              <a:gd name="connsiteX12" fmla="*/ 2466473 w 5113421"/>
              <a:gd name="connsiteY12" fmla="*/ 197964 h 234059"/>
              <a:gd name="connsiteX13" fmla="*/ 2671010 w 5113421"/>
              <a:gd name="connsiteY13" fmla="*/ 173901 h 234059"/>
              <a:gd name="connsiteX14" fmla="*/ 3200400 w 5113421"/>
              <a:gd name="connsiteY14" fmla="*/ 149838 h 234059"/>
              <a:gd name="connsiteX15" fmla="*/ 4295273 w 5113421"/>
              <a:gd name="connsiteY15" fmla="*/ 149838 h 234059"/>
              <a:gd name="connsiteX16" fmla="*/ 4692315 w 5113421"/>
              <a:gd name="connsiteY16" fmla="*/ 53585 h 234059"/>
              <a:gd name="connsiteX17" fmla="*/ 4788568 w 5113421"/>
              <a:gd name="connsiteY17" fmla="*/ 29522 h 234059"/>
              <a:gd name="connsiteX18" fmla="*/ 4824663 w 5113421"/>
              <a:gd name="connsiteY18" fmla="*/ 5459 h 234059"/>
              <a:gd name="connsiteX19" fmla="*/ 5113421 w 5113421"/>
              <a:gd name="connsiteY19" fmla="*/ 29522 h 2340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113421" h="234059">
                <a:moveTo>
                  <a:pt x="0" y="65617"/>
                </a:moveTo>
                <a:cubicBezTo>
                  <a:pt x="20052" y="69627"/>
                  <a:pt x="40494" y="72030"/>
                  <a:pt x="60157" y="77648"/>
                </a:cubicBezTo>
                <a:cubicBezTo>
                  <a:pt x="96741" y="88100"/>
                  <a:pt x="131301" y="105489"/>
                  <a:pt x="168442" y="113743"/>
                </a:cubicBezTo>
                <a:cubicBezTo>
                  <a:pt x="203894" y="121621"/>
                  <a:pt x="240690" y="121270"/>
                  <a:pt x="276726" y="125775"/>
                </a:cubicBezTo>
                <a:cubicBezTo>
                  <a:pt x="304866" y="129292"/>
                  <a:pt x="332873" y="133796"/>
                  <a:pt x="360947" y="137806"/>
                </a:cubicBezTo>
                <a:cubicBezTo>
                  <a:pt x="521368" y="129785"/>
                  <a:pt x="682167" y="127364"/>
                  <a:pt x="842210" y="113743"/>
                </a:cubicBezTo>
                <a:cubicBezTo>
                  <a:pt x="898979" y="108912"/>
                  <a:pt x="1001379" y="54516"/>
                  <a:pt x="1046747" y="41554"/>
                </a:cubicBezTo>
                <a:cubicBezTo>
                  <a:pt x="1089861" y="29236"/>
                  <a:pt x="1134978" y="25511"/>
                  <a:pt x="1179094" y="17490"/>
                </a:cubicBezTo>
                <a:cubicBezTo>
                  <a:pt x="1275347" y="37543"/>
                  <a:pt x="1373758" y="49135"/>
                  <a:pt x="1467852" y="77648"/>
                </a:cubicBezTo>
                <a:cubicBezTo>
                  <a:pt x="1697344" y="147191"/>
                  <a:pt x="1492752" y="113203"/>
                  <a:pt x="1624263" y="173901"/>
                </a:cubicBezTo>
                <a:cubicBezTo>
                  <a:pt x="1716622" y="216528"/>
                  <a:pt x="1786404" y="218282"/>
                  <a:pt x="1888957" y="234059"/>
                </a:cubicBezTo>
                <a:cubicBezTo>
                  <a:pt x="2033336" y="230048"/>
                  <a:pt x="2177941" y="231037"/>
                  <a:pt x="2322094" y="222027"/>
                </a:cubicBezTo>
                <a:cubicBezTo>
                  <a:pt x="2370789" y="218984"/>
                  <a:pt x="2418140" y="204631"/>
                  <a:pt x="2466473" y="197964"/>
                </a:cubicBezTo>
                <a:cubicBezTo>
                  <a:pt x="2534478" y="188584"/>
                  <a:pt x="2602585" y="179449"/>
                  <a:pt x="2671010" y="173901"/>
                </a:cubicBezTo>
                <a:cubicBezTo>
                  <a:pt x="2742256" y="168124"/>
                  <a:pt x="3150001" y="151938"/>
                  <a:pt x="3200400" y="149838"/>
                </a:cubicBezTo>
                <a:cubicBezTo>
                  <a:pt x="3444213" y="154618"/>
                  <a:pt x="4025420" y="175137"/>
                  <a:pt x="4295273" y="149838"/>
                </a:cubicBezTo>
                <a:cubicBezTo>
                  <a:pt x="4536794" y="127196"/>
                  <a:pt x="4523451" y="103251"/>
                  <a:pt x="4692315" y="53585"/>
                </a:cubicBezTo>
                <a:cubicBezTo>
                  <a:pt x="4724043" y="44253"/>
                  <a:pt x="4756484" y="37543"/>
                  <a:pt x="4788568" y="29522"/>
                </a:cubicBezTo>
                <a:cubicBezTo>
                  <a:pt x="4800600" y="21501"/>
                  <a:pt x="4810215" y="6061"/>
                  <a:pt x="4824663" y="5459"/>
                </a:cubicBezTo>
                <a:cubicBezTo>
                  <a:pt x="5026822" y="-2965"/>
                  <a:pt x="5006839" y="-6006"/>
                  <a:pt x="5113421" y="29522"/>
                </a:cubicBezTo>
              </a:path>
            </a:pathLst>
          </a:custGeom>
          <a:noFill/>
          <a:ln w="5715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dirty="0"/>
          </a:p>
        </p:txBody>
      </p:sp>
    </p:spTree>
    <p:extLst>
      <p:ext uri="{BB962C8B-B14F-4D97-AF65-F5344CB8AC3E}">
        <p14:creationId xmlns:p14="http://schemas.microsoft.com/office/powerpoint/2010/main" val="24722287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2" name="Picture 1" descr="A picture containing footwear, person, design  Description automatically generated">
            <a:extLst>
              <a:ext uri="{FF2B5EF4-FFF2-40B4-BE49-F238E27FC236}">
                <a16:creationId xmlns:a16="http://schemas.microsoft.com/office/drawing/2014/main" id="{2E2CF5BB-F19D-F468-C1A5-7B932E6EC8E2}"/>
              </a:ext>
            </a:extLst>
          </p:cNvPr>
          <p:cNvPicPr>
            <a:picLocks noChangeAspect="1"/>
          </p:cNvPicPr>
          <p:nvPr/>
        </p:nvPicPr>
        <p:blipFill rotWithShape="1">
          <a:blip r:embed="rId4"/>
          <a:srcRect t="26420" r="-2" b="27540"/>
          <a:stretch/>
        </p:blipFill>
        <p:spPr>
          <a:xfrm>
            <a:off x="6653462" y="1255978"/>
            <a:ext cx="4938081" cy="2273445"/>
          </a:xfrm>
          <a:custGeom>
            <a:avLst/>
            <a:gdLst/>
            <a:ahLst/>
            <a:cxnLst/>
            <a:rect l="l" t="t" r="r" b="b"/>
            <a:pathLst>
              <a:path w="7308975" h="3364992">
                <a:moveTo>
                  <a:pt x="0" y="0"/>
                </a:moveTo>
                <a:lnTo>
                  <a:pt x="7308975" y="0"/>
                </a:lnTo>
                <a:lnTo>
                  <a:pt x="7308975" y="3364992"/>
                </a:lnTo>
                <a:lnTo>
                  <a:pt x="1210305" y="3364992"/>
                </a:lnTo>
                <a:lnTo>
                  <a:pt x="1192705" y="2943200"/>
                </a:lnTo>
                <a:cubicBezTo>
                  <a:pt x="1098874" y="1825108"/>
                  <a:pt x="684692" y="821621"/>
                  <a:pt x="62981" y="69271"/>
                </a:cubicBezTo>
                <a:close/>
              </a:path>
            </a:pathLst>
          </a:custGeom>
          <a:effectLst>
            <a:softEdge rad="31750"/>
          </a:effectLst>
        </p:spPr>
      </p:pic>
      <p:pic>
        <p:nvPicPr>
          <p:cNvPr id="3" name="Picture 2" descr="A person standing in front of a wall with a sign  Description automatically generated with low confidence">
            <a:extLst>
              <a:ext uri="{FF2B5EF4-FFF2-40B4-BE49-F238E27FC236}">
                <a16:creationId xmlns:a16="http://schemas.microsoft.com/office/drawing/2014/main" id="{73F9A316-51C3-FB69-B9AF-8607AA6551AA}"/>
              </a:ext>
            </a:extLst>
          </p:cNvPr>
          <p:cNvPicPr>
            <a:picLocks noChangeAspect="1"/>
          </p:cNvPicPr>
          <p:nvPr/>
        </p:nvPicPr>
        <p:blipFill rotWithShape="1">
          <a:blip r:embed="rId5"/>
          <a:srcRect t="7290" r="-2" b="28765"/>
          <a:stretch/>
        </p:blipFill>
        <p:spPr>
          <a:xfrm>
            <a:off x="6653462" y="3645408"/>
            <a:ext cx="4938082" cy="2273452"/>
          </a:xfrm>
          <a:custGeom>
            <a:avLst/>
            <a:gdLst/>
            <a:ahLst/>
            <a:cxnLst/>
            <a:rect l="l" t="t" r="r" b="b"/>
            <a:pathLst>
              <a:path w="7308975" h="3364992">
                <a:moveTo>
                  <a:pt x="1210305" y="0"/>
                </a:moveTo>
                <a:lnTo>
                  <a:pt x="7308975" y="0"/>
                </a:lnTo>
                <a:lnTo>
                  <a:pt x="7308975" y="3364992"/>
                </a:lnTo>
                <a:lnTo>
                  <a:pt x="0" y="3364992"/>
                </a:lnTo>
                <a:lnTo>
                  <a:pt x="62981" y="3295722"/>
                </a:lnTo>
                <a:cubicBezTo>
                  <a:pt x="684692" y="2543371"/>
                  <a:pt x="1098874" y="1539884"/>
                  <a:pt x="1192705" y="421793"/>
                </a:cubicBezTo>
                <a:close/>
              </a:path>
            </a:pathLst>
          </a:custGeom>
          <a:effectLst>
            <a:softEdge rad="31750"/>
          </a:effectLst>
        </p:spPr>
      </p:pic>
      <p:sp>
        <p:nvSpPr>
          <p:cNvPr id="4" name="Title 2">
            <a:extLst>
              <a:ext uri="{FF2B5EF4-FFF2-40B4-BE49-F238E27FC236}">
                <a16:creationId xmlns:a16="http://schemas.microsoft.com/office/drawing/2014/main" id="{B592F204-68E3-E3F4-B82D-CE9CFA3C8FCF}"/>
              </a:ext>
            </a:extLst>
          </p:cNvPr>
          <p:cNvSpPr txBox="1">
            <a:spLocks/>
          </p:cNvSpPr>
          <p:nvPr/>
        </p:nvSpPr>
        <p:spPr>
          <a:xfrm>
            <a:off x="600456" y="1011936"/>
            <a:ext cx="4832802" cy="1243584"/>
          </a:xfrm>
          <a:prstGeom prst="rect">
            <a:avLst/>
          </a:prstGeom>
        </p:spPr>
        <p:txBody>
          <a:bodyPr vert="horz" lIns="91440" tIns="45720" rIns="91440" bIns="4572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defRPr sz="3400" b="1"/>
            </a:pPr>
            <a:r>
              <a:t>Bölgesel ve Ulusal Politikalarla Entegrasyon</a:t>
            </a:r>
            <a:endParaRPr lang="en-US" sz="3400" b="1" dirty="0"/>
          </a:p>
        </p:txBody>
      </p:sp>
      <p:sp>
        <p:nvSpPr>
          <p:cNvPr id="5" name="Content Placeholder 3">
            <a:extLst>
              <a:ext uri="{FF2B5EF4-FFF2-40B4-BE49-F238E27FC236}">
                <a16:creationId xmlns:a16="http://schemas.microsoft.com/office/drawing/2014/main" id="{A97E5E2F-EBF8-8AE0-B6FB-297AFAFD8159}"/>
              </a:ext>
            </a:extLst>
          </p:cNvPr>
          <p:cNvSpPr txBox="1">
            <a:spLocks/>
          </p:cNvSpPr>
          <p:nvPr/>
        </p:nvSpPr>
        <p:spPr>
          <a:xfrm>
            <a:off x="600455" y="2392700"/>
            <a:ext cx="4832803" cy="3664351"/>
          </a:xfrm>
          <a:prstGeom prst="rect">
            <a:avLst/>
          </a:prstGeom>
        </p:spPr>
        <p:txBody>
          <a:bodyPr vert="horz" lIns="91440" tIns="45720" rIns="91440" bIns="45720">
            <a:normAutofit fontScale="92500"/>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gn="just">
              <a:buFont typeface="Arial" panose="020B0604020202020204" pitchFamily="34" charset="0"/>
              <a:buChar char="•"/>
              <a:defRPr sz="1700"/>
            </a:pPr>
            <a:r>
              <a:rPr lang="en-US" dirty="0" err="1"/>
              <a:t>Bölgesel</a:t>
            </a:r>
            <a:r>
              <a:rPr lang="en-US" dirty="0"/>
              <a:t> </a:t>
            </a:r>
            <a:r>
              <a:rPr lang="en-US" dirty="0" err="1"/>
              <a:t>ve</a:t>
            </a:r>
            <a:r>
              <a:rPr lang="en-US" dirty="0"/>
              <a:t> </a:t>
            </a:r>
            <a:r>
              <a:rPr lang="en-US" dirty="0" err="1"/>
              <a:t>ulusal</a:t>
            </a:r>
            <a:r>
              <a:rPr lang="en-US" dirty="0"/>
              <a:t> </a:t>
            </a:r>
            <a:r>
              <a:rPr lang="en-US" dirty="0" err="1"/>
              <a:t>politikalarla</a:t>
            </a:r>
            <a:r>
              <a:rPr lang="en-US" dirty="0"/>
              <a:t> </a:t>
            </a:r>
            <a:r>
              <a:rPr lang="en-US" dirty="0" err="1"/>
              <a:t>bütünleşik</a:t>
            </a:r>
            <a:r>
              <a:rPr lang="en-US" dirty="0"/>
              <a:t> </a:t>
            </a:r>
            <a:r>
              <a:rPr lang="en-US" dirty="0" err="1"/>
              <a:t>ulaşım</a:t>
            </a:r>
            <a:r>
              <a:rPr lang="en-US" dirty="0"/>
              <a:t> </a:t>
            </a:r>
            <a:r>
              <a:rPr lang="en-US" dirty="0" err="1"/>
              <a:t>planlaması</a:t>
            </a:r>
            <a:r>
              <a:rPr lang="en-US" dirty="0"/>
              <a:t>, </a:t>
            </a:r>
            <a:r>
              <a:rPr lang="en-US" dirty="0" err="1"/>
              <a:t>tutarlı</a:t>
            </a:r>
            <a:r>
              <a:rPr lang="en-US" dirty="0"/>
              <a:t> </a:t>
            </a:r>
            <a:r>
              <a:rPr lang="en-US" dirty="0" err="1"/>
              <a:t>ve</a:t>
            </a:r>
            <a:r>
              <a:rPr lang="en-US" dirty="0"/>
              <a:t> </a:t>
            </a:r>
            <a:r>
              <a:rPr lang="en-US" dirty="0" err="1"/>
              <a:t>sürdürülebilir</a:t>
            </a:r>
            <a:r>
              <a:rPr lang="en-US" dirty="0"/>
              <a:t> </a:t>
            </a:r>
            <a:r>
              <a:rPr lang="en-US" dirty="0" err="1"/>
              <a:t>bir</a:t>
            </a:r>
            <a:r>
              <a:rPr lang="en-US" dirty="0"/>
              <a:t> </a:t>
            </a:r>
            <a:r>
              <a:rPr lang="en-US" dirty="0" err="1"/>
              <a:t>ulaşım</a:t>
            </a:r>
            <a:r>
              <a:rPr lang="en-US" dirty="0"/>
              <a:t> </a:t>
            </a:r>
            <a:r>
              <a:rPr lang="en-US" dirty="0" err="1"/>
              <a:t>ağı</a:t>
            </a:r>
            <a:r>
              <a:rPr lang="en-US" dirty="0"/>
              <a:t> </a:t>
            </a:r>
            <a:r>
              <a:rPr lang="en-US" dirty="0" err="1"/>
              <a:t>oluşturma</a:t>
            </a:r>
            <a:r>
              <a:rPr lang="en-US" dirty="0"/>
              <a:t> </a:t>
            </a:r>
            <a:r>
              <a:rPr lang="en-US" dirty="0" err="1"/>
              <a:t>hedefinde</a:t>
            </a:r>
            <a:r>
              <a:rPr lang="en-US" dirty="0"/>
              <a:t> </a:t>
            </a:r>
            <a:r>
              <a:rPr lang="en-US" dirty="0" err="1"/>
              <a:t>önemli</a:t>
            </a:r>
            <a:r>
              <a:rPr lang="en-US" dirty="0"/>
              <a:t> </a:t>
            </a:r>
            <a:r>
              <a:rPr lang="en-US" dirty="0" err="1"/>
              <a:t>bir</a:t>
            </a:r>
            <a:r>
              <a:rPr lang="en-US" dirty="0"/>
              <a:t> </a:t>
            </a:r>
            <a:r>
              <a:rPr lang="en-US" dirty="0" err="1"/>
              <a:t>ilerlemeyi</a:t>
            </a:r>
            <a:r>
              <a:rPr lang="en-US" dirty="0"/>
              <a:t> </a:t>
            </a:r>
            <a:r>
              <a:rPr lang="en-US" dirty="0" err="1"/>
              <a:t>temsil</a:t>
            </a:r>
            <a:r>
              <a:rPr lang="en-US" dirty="0"/>
              <a:t> </a:t>
            </a:r>
            <a:r>
              <a:rPr lang="en-US" dirty="0" err="1"/>
              <a:t>eder</a:t>
            </a:r>
            <a:r>
              <a:rPr lang="en-US" dirty="0"/>
              <a:t>. Ulaşım </a:t>
            </a:r>
            <a:r>
              <a:rPr lang="en-US" dirty="0" err="1"/>
              <a:t>stratejilerinin</a:t>
            </a:r>
            <a:r>
              <a:rPr lang="en-US" dirty="0"/>
              <a:t>, </a:t>
            </a:r>
            <a:r>
              <a:rPr lang="en-US" dirty="0" err="1"/>
              <a:t>arazi</a:t>
            </a:r>
            <a:r>
              <a:rPr lang="en-US" dirty="0"/>
              <a:t> </a:t>
            </a:r>
            <a:r>
              <a:rPr lang="en-US" dirty="0" err="1"/>
              <a:t>kullanım</a:t>
            </a:r>
            <a:r>
              <a:rPr lang="en-US" dirty="0"/>
              <a:t> </a:t>
            </a:r>
            <a:r>
              <a:rPr lang="en-US" dirty="0" err="1"/>
              <a:t>planlaması</a:t>
            </a:r>
            <a:r>
              <a:rPr lang="en-US" dirty="0"/>
              <a:t>, </a:t>
            </a:r>
            <a:r>
              <a:rPr lang="en-US" dirty="0" err="1"/>
              <a:t>çevre</a:t>
            </a:r>
            <a:r>
              <a:rPr lang="en-US" dirty="0"/>
              <a:t> </a:t>
            </a:r>
            <a:r>
              <a:rPr lang="en-US" dirty="0" err="1"/>
              <a:t>koruma</a:t>
            </a:r>
            <a:r>
              <a:rPr lang="en-US" dirty="0"/>
              <a:t> </a:t>
            </a:r>
            <a:r>
              <a:rPr lang="en-US" dirty="0" err="1"/>
              <a:t>ve</a:t>
            </a:r>
            <a:r>
              <a:rPr lang="en-US" dirty="0"/>
              <a:t> </a:t>
            </a:r>
            <a:r>
              <a:rPr lang="en-US" dirty="0" err="1"/>
              <a:t>iklim</a:t>
            </a:r>
            <a:r>
              <a:rPr lang="en-US" dirty="0"/>
              <a:t> </a:t>
            </a:r>
            <a:r>
              <a:rPr lang="en-US" dirty="0" err="1"/>
              <a:t>eylemi</a:t>
            </a:r>
            <a:r>
              <a:rPr lang="en-US" dirty="0"/>
              <a:t> </a:t>
            </a:r>
            <a:r>
              <a:rPr lang="en-US" dirty="0" err="1"/>
              <a:t>gibi</a:t>
            </a:r>
            <a:r>
              <a:rPr lang="en-US" dirty="0"/>
              <a:t> </a:t>
            </a:r>
            <a:r>
              <a:rPr lang="en-US" dirty="0" err="1"/>
              <a:t>daha</a:t>
            </a:r>
            <a:r>
              <a:rPr lang="en-US" dirty="0"/>
              <a:t> </a:t>
            </a:r>
            <a:r>
              <a:rPr lang="en-US" dirty="0" err="1"/>
              <a:t>geniş</a:t>
            </a:r>
            <a:r>
              <a:rPr lang="en-US" dirty="0"/>
              <a:t> </a:t>
            </a:r>
            <a:r>
              <a:rPr lang="en-US" dirty="0" err="1"/>
              <a:t>politikalarla</a:t>
            </a:r>
            <a:r>
              <a:rPr lang="en-US" dirty="0"/>
              <a:t> </a:t>
            </a:r>
            <a:r>
              <a:rPr lang="en-US" dirty="0" err="1"/>
              <a:t>uyum</a:t>
            </a:r>
            <a:r>
              <a:rPr lang="en-US" dirty="0"/>
              <a:t> </a:t>
            </a:r>
            <a:r>
              <a:rPr lang="en-US" dirty="0" err="1"/>
              <a:t>içinde</a:t>
            </a:r>
            <a:r>
              <a:rPr lang="en-US" dirty="0"/>
              <a:t> </a:t>
            </a:r>
            <a:r>
              <a:rPr lang="en-US" dirty="0" err="1"/>
              <a:t>olması</a:t>
            </a:r>
            <a:r>
              <a:rPr lang="en-US" dirty="0"/>
              <a:t> </a:t>
            </a:r>
            <a:r>
              <a:rPr lang="en-US" dirty="0" err="1"/>
              <a:t>gerekmektedir</a:t>
            </a:r>
            <a:r>
              <a:rPr lang="en-US" dirty="0"/>
              <a:t>.</a:t>
            </a:r>
          </a:p>
          <a:p>
            <a:pPr algn="just">
              <a:buFont typeface="Arial" panose="020B0604020202020204" pitchFamily="34" charset="0"/>
              <a:buChar char="•"/>
              <a:defRPr sz="1700"/>
            </a:pPr>
            <a:endParaRPr lang="en-US" dirty="0"/>
          </a:p>
          <a:p>
            <a:pPr algn="just">
              <a:buFont typeface="Arial" panose="020B0604020202020204" pitchFamily="34" charset="0"/>
              <a:buChar char="•"/>
              <a:defRPr sz="1700"/>
            </a:pPr>
            <a:r>
              <a:rPr lang="en-US" dirty="0" err="1"/>
              <a:t>Komşu</a:t>
            </a:r>
            <a:r>
              <a:rPr lang="en-US" dirty="0"/>
              <a:t> </a:t>
            </a:r>
            <a:r>
              <a:rPr lang="en-US" dirty="0" err="1"/>
              <a:t>şehirlerin</a:t>
            </a:r>
            <a:r>
              <a:rPr lang="en-US" dirty="0"/>
              <a:t> </a:t>
            </a:r>
            <a:r>
              <a:rPr lang="en-US" dirty="0" err="1"/>
              <a:t>ve</a:t>
            </a:r>
            <a:r>
              <a:rPr lang="en-US" dirty="0"/>
              <a:t> </a:t>
            </a:r>
            <a:r>
              <a:rPr lang="en-US" dirty="0" err="1"/>
              <a:t>aynı</a:t>
            </a:r>
            <a:r>
              <a:rPr lang="en-US" dirty="0"/>
              <a:t> </a:t>
            </a:r>
            <a:r>
              <a:rPr lang="en-US" dirty="0" err="1"/>
              <a:t>yetki</a:t>
            </a:r>
            <a:r>
              <a:rPr lang="en-US" dirty="0"/>
              <a:t> </a:t>
            </a:r>
            <a:r>
              <a:rPr lang="en-US" dirty="0" err="1"/>
              <a:t>alanındaki</a:t>
            </a:r>
            <a:r>
              <a:rPr lang="en-US" dirty="0"/>
              <a:t> </a:t>
            </a:r>
            <a:r>
              <a:rPr lang="en-US" dirty="0" err="1"/>
              <a:t>diğer</a:t>
            </a:r>
            <a:r>
              <a:rPr lang="en-US" dirty="0"/>
              <a:t> </a:t>
            </a:r>
            <a:r>
              <a:rPr lang="en-US" dirty="0" err="1"/>
              <a:t>yerleşim</a:t>
            </a:r>
            <a:r>
              <a:rPr lang="en-US" dirty="0"/>
              <a:t> </a:t>
            </a:r>
            <a:r>
              <a:rPr lang="en-US" dirty="0" err="1"/>
              <a:t>birimlerinin</a:t>
            </a:r>
            <a:r>
              <a:rPr lang="en-US" dirty="0"/>
              <a:t> </a:t>
            </a:r>
            <a:r>
              <a:rPr lang="en-US" dirty="0" err="1"/>
              <a:t>işbirliği</a:t>
            </a:r>
            <a:r>
              <a:rPr lang="en-US" dirty="0"/>
              <a:t>, </a:t>
            </a:r>
            <a:r>
              <a:rPr lang="en-US" dirty="0" err="1"/>
              <a:t>bölgesel</a:t>
            </a:r>
            <a:r>
              <a:rPr lang="en-US" dirty="0"/>
              <a:t> </a:t>
            </a:r>
            <a:r>
              <a:rPr lang="en-US" dirty="0" err="1"/>
              <a:t>ulaşım</a:t>
            </a:r>
            <a:r>
              <a:rPr lang="en-US" dirty="0"/>
              <a:t> </a:t>
            </a:r>
            <a:r>
              <a:rPr lang="en-US" dirty="0" err="1"/>
              <a:t>zorluklarına</a:t>
            </a:r>
            <a:r>
              <a:rPr lang="en-US" dirty="0"/>
              <a:t> </a:t>
            </a:r>
            <a:r>
              <a:rPr lang="en-US" dirty="0" err="1"/>
              <a:t>çözüm</a:t>
            </a:r>
            <a:r>
              <a:rPr lang="en-US" dirty="0"/>
              <a:t> </a:t>
            </a:r>
            <a:r>
              <a:rPr lang="en-US" dirty="0" err="1"/>
              <a:t>bulmak</a:t>
            </a:r>
            <a:r>
              <a:rPr lang="en-US" dirty="0"/>
              <a:t>, </a:t>
            </a:r>
            <a:r>
              <a:rPr lang="en-US" dirty="0" err="1"/>
              <a:t>bağlantıları</a:t>
            </a:r>
            <a:r>
              <a:rPr lang="en-US" dirty="0"/>
              <a:t> </a:t>
            </a:r>
            <a:r>
              <a:rPr lang="en-US" dirty="0" err="1"/>
              <a:t>güçlendirmek</a:t>
            </a:r>
            <a:r>
              <a:rPr lang="en-US" dirty="0"/>
              <a:t> </a:t>
            </a:r>
            <a:r>
              <a:rPr lang="en-US" dirty="0" err="1"/>
              <a:t>ve</a:t>
            </a:r>
            <a:r>
              <a:rPr lang="en-US" dirty="0"/>
              <a:t> </a:t>
            </a:r>
            <a:r>
              <a:rPr lang="en-US" dirty="0" err="1"/>
              <a:t>uyumlu</a:t>
            </a:r>
            <a:r>
              <a:rPr lang="en-US" dirty="0"/>
              <a:t> </a:t>
            </a:r>
            <a:r>
              <a:rPr lang="en-US" dirty="0" err="1"/>
              <a:t>planlama</a:t>
            </a:r>
            <a:r>
              <a:rPr lang="en-US" dirty="0"/>
              <a:t> </a:t>
            </a:r>
            <a:r>
              <a:rPr lang="en-US" dirty="0" err="1"/>
              <a:t>yapmayı</a:t>
            </a:r>
            <a:r>
              <a:rPr lang="en-US" dirty="0"/>
              <a:t> </a:t>
            </a:r>
            <a:r>
              <a:rPr lang="en-US" dirty="0" err="1"/>
              <a:t>garanti</a:t>
            </a:r>
            <a:r>
              <a:rPr lang="en-US" dirty="0"/>
              <a:t> </a:t>
            </a:r>
            <a:r>
              <a:rPr lang="en-US" dirty="0" err="1"/>
              <a:t>etmek</a:t>
            </a:r>
            <a:r>
              <a:rPr lang="en-US" dirty="0"/>
              <a:t> </a:t>
            </a:r>
            <a:r>
              <a:rPr lang="en-US" dirty="0" err="1"/>
              <a:t>için</a:t>
            </a:r>
            <a:r>
              <a:rPr lang="en-US" dirty="0"/>
              <a:t> </a:t>
            </a:r>
            <a:r>
              <a:rPr lang="en-US" dirty="0" err="1"/>
              <a:t>kritik</a:t>
            </a:r>
            <a:r>
              <a:rPr lang="en-US" dirty="0"/>
              <a:t> </a:t>
            </a:r>
            <a:r>
              <a:rPr lang="en-US" dirty="0" err="1"/>
              <a:t>öneme</a:t>
            </a:r>
            <a:r>
              <a:rPr lang="en-US" dirty="0"/>
              <a:t> </a:t>
            </a:r>
            <a:r>
              <a:rPr lang="en-US" dirty="0" err="1"/>
              <a:t>sahiptir</a:t>
            </a:r>
            <a:r>
              <a:rPr lang="en-US" dirty="0"/>
              <a:t>. </a:t>
            </a:r>
            <a:r>
              <a:rPr lang="en-US" dirty="0" err="1"/>
              <a:t>Şehirler</a:t>
            </a:r>
            <a:r>
              <a:rPr lang="en-US" dirty="0"/>
              <a:t>, </a:t>
            </a:r>
            <a:r>
              <a:rPr lang="en-US" dirty="0" err="1"/>
              <a:t>bir</a:t>
            </a:r>
            <a:r>
              <a:rPr lang="en-US" dirty="0"/>
              <a:t> </a:t>
            </a:r>
            <a:r>
              <a:rPr lang="en-US" dirty="0" err="1"/>
              <a:t>araya</a:t>
            </a:r>
            <a:r>
              <a:rPr lang="en-US" dirty="0"/>
              <a:t> </a:t>
            </a:r>
            <a:r>
              <a:rPr lang="en-US" dirty="0" err="1"/>
              <a:t>gelerek</a:t>
            </a:r>
            <a:r>
              <a:rPr lang="en-US" dirty="0"/>
              <a:t> </a:t>
            </a:r>
            <a:r>
              <a:rPr lang="en-US" dirty="0" err="1"/>
              <a:t>kaynakları</a:t>
            </a:r>
            <a:r>
              <a:rPr lang="en-US" dirty="0"/>
              <a:t> </a:t>
            </a:r>
            <a:r>
              <a:rPr lang="en-US" dirty="0" err="1"/>
              <a:t>etkin</a:t>
            </a:r>
            <a:r>
              <a:rPr lang="en-US" dirty="0"/>
              <a:t> </a:t>
            </a:r>
            <a:r>
              <a:rPr lang="en-US" dirty="0" err="1"/>
              <a:t>bir</a:t>
            </a:r>
            <a:r>
              <a:rPr lang="en-US" dirty="0"/>
              <a:t> </a:t>
            </a:r>
            <a:r>
              <a:rPr lang="en-US" dirty="0" err="1"/>
              <a:t>şekilde</a:t>
            </a:r>
            <a:r>
              <a:rPr lang="en-US" dirty="0"/>
              <a:t> </a:t>
            </a:r>
            <a:r>
              <a:rPr lang="en-US" dirty="0" err="1"/>
              <a:t>kullanabilir</a:t>
            </a:r>
            <a:r>
              <a:rPr lang="en-US" dirty="0"/>
              <a:t>, </a:t>
            </a:r>
            <a:r>
              <a:rPr lang="en-US" dirty="0" err="1"/>
              <a:t>en</a:t>
            </a:r>
            <a:r>
              <a:rPr lang="en-US" dirty="0"/>
              <a:t> iyi </a:t>
            </a:r>
            <a:r>
              <a:rPr lang="en-US" dirty="0" err="1"/>
              <a:t>uygulamaları</a:t>
            </a:r>
            <a:r>
              <a:rPr lang="en-US" dirty="0"/>
              <a:t> </a:t>
            </a:r>
            <a:r>
              <a:rPr lang="en-US" dirty="0" err="1"/>
              <a:t>birbirleriyle</a:t>
            </a:r>
            <a:r>
              <a:rPr lang="en-US" dirty="0"/>
              <a:t> </a:t>
            </a:r>
            <a:r>
              <a:rPr lang="en-US" dirty="0" err="1"/>
              <a:t>paylaşabilir</a:t>
            </a:r>
            <a:r>
              <a:rPr lang="en-US" dirty="0"/>
              <a:t> </a:t>
            </a:r>
            <a:r>
              <a:rPr lang="en-US" dirty="0" err="1"/>
              <a:t>ve</a:t>
            </a:r>
            <a:r>
              <a:rPr lang="en-US" dirty="0"/>
              <a:t> </a:t>
            </a:r>
            <a:r>
              <a:rPr lang="en-US" dirty="0" err="1"/>
              <a:t>bölgesel</a:t>
            </a:r>
            <a:r>
              <a:rPr lang="en-US" dirty="0"/>
              <a:t> </a:t>
            </a:r>
            <a:r>
              <a:rPr lang="en-US" dirty="0" err="1"/>
              <a:t>ve</a:t>
            </a:r>
            <a:r>
              <a:rPr lang="en-US" dirty="0"/>
              <a:t> </a:t>
            </a:r>
            <a:r>
              <a:rPr lang="en-US" dirty="0" err="1"/>
              <a:t>ulusal</a:t>
            </a:r>
            <a:r>
              <a:rPr lang="en-US" dirty="0"/>
              <a:t> </a:t>
            </a:r>
            <a:r>
              <a:rPr lang="en-US" dirty="0" err="1"/>
              <a:t>hedeflere</a:t>
            </a:r>
            <a:r>
              <a:rPr lang="en-US" dirty="0"/>
              <a:t> </a:t>
            </a:r>
            <a:r>
              <a:rPr lang="en-US" dirty="0" err="1"/>
              <a:t>uygun</a:t>
            </a:r>
            <a:r>
              <a:rPr lang="en-US" dirty="0"/>
              <a:t> </a:t>
            </a:r>
            <a:r>
              <a:rPr lang="en-US" dirty="0" err="1"/>
              <a:t>kapsayıcı</a:t>
            </a:r>
            <a:r>
              <a:rPr lang="en-US" dirty="0"/>
              <a:t> </a:t>
            </a:r>
            <a:r>
              <a:rPr lang="en-US" dirty="0" err="1"/>
              <a:t>ulaşım</a:t>
            </a:r>
            <a:r>
              <a:rPr lang="en-US" dirty="0"/>
              <a:t> </a:t>
            </a:r>
            <a:r>
              <a:rPr lang="en-US" dirty="0" err="1"/>
              <a:t>çözümleri</a:t>
            </a:r>
            <a:r>
              <a:rPr lang="en-US" dirty="0"/>
              <a:t> </a:t>
            </a:r>
            <a:r>
              <a:rPr lang="en-US" dirty="0" err="1"/>
              <a:t>geliştirme</a:t>
            </a:r>
            <a:r>
              <a:rPr lang="en-US" dirty="0"/>
              <a:t> </a:t>
            </a:r>
            <a:r>
              <a:rPr lang="en-US" dirty="0" err="1"/>
              <a:t>potansiyelini</a:t>
            </a:r>
            <a:r>
              <a:rPr lang="en-US" dirty="0"/>
              <a:t> </a:t>
            </a:r>
            <a:r>
              <a:rPr lang="en-US" dirty="0" err="1"/>
              <a:t>keşfedebilirler</a:t>
            </a:r>
            <a:endParaRPr lang="en-US" sz="1700" dirty="0"/>
          </a:p>
        </p:txBody>
      </p:sp>
      <p:pic>
        <p:nvPicPr>
          <p:cNvPr id="6" name="Picture 5" descr="A picture containing circle, font, graphics, diagram  Description automatically generated">
            <a:extLst>
              <a:ext uri="{FF2B5EF4-FFF2-40B4-BE49-F238E27FC236}">
                <a16:creationId xmlns:a16="http://schemas.microsoft.com/office/drawing/2014/main" id="{12D4DEF4-D6E2-D289-664A-8EA4D7FDF53C}"/>
              </a:ext>
            </a:extLst>
          </p:cNvPr>
          <p:cNvPicPr>
            <a:picLocks noChangeAspect="1"/>
          </p:cNvPicPr>
          <p:nvPr/>
        </p:nvPicPr>
        <p:blipFill>
          <a:blip r:embed="rId6"/>
          <a:stretch>
            <a:fillRect/>
          </a:stretch>
        </p:blipFill>
        <p:spPr>
          <a:xfrm>
            <a:off x="5433259" y="2751221"/>
            <a:ext cx="1708804" cy="1708804"/>
          </a:xfrm>
          <a:prstGeom prst="rect">
            <a:avLst/>
          </a:prstGeom>
        </p:spPr>
      </p:pic>
      <p:sp>
        <p:nvSpPr>
          <p:cNvPr id="7" name="Arc 6">
            <a:extLst>
              <a:ext uri="{FF2B5EF4-FFF2-40B4-BE49-F238E27FC236}">
                <a16:creationId xmlns:a16="http://schemas.microsoft.com/office/drawing/2014/main" id="{C5A36259-66BE-1BB0-A905-F49709CD789D}"/>
              </a:ext>
            </a:extLst>
          </p:cNvPr>
          <p:cNvSpPr/>
          <p:nvPr/>
        </p:nvSpPr>
        <p:spPr>
          <a:xfrm>
            <a:off x="3663995" y="2015450"/>
            <a:ext cx="3690927" cy="3180347"/>
          </a:xfrm>
          <a:prstGeom prst="arc">
            <a:avLst>
              <a:gd name="adj1" fmla="val 17761537"/>
              <a:gd name="adj2" fmla="val 3602189"/>
            </a:avLst>
          </a:prstGeom>
          <a:ln w="57150">
            <a:solidFill>
              <a:schemeClr val="accent4"/>
            </a:solidFill>
            <a:prstDash val="lgDash"/>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anchor="ctr"/>
          <a:lstStyle/>
          <a:p>
            <a:pPr algn="ctr"/>
            <a:endParaRPr lang="en-US"/>
          </a:p>
        </p:txBody>
      </p:sp>
    </p:spTree>
    <p:extLst>
      <p:ext uri="{BB962C8B-B14F-4D97-AF65-F5344CB8AC3E}">
        <p14:creationId xmlns:p14="http://schemas.microsoft.com/office/powerpoint/2010/main" val="14382455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ekstniOkvir 3">
            <a:extLst>
              <a:ext uri="{FF2B5EF4-FFF2-40B4-BE49-F238E27FC236}">
                <a16:creationId xmlns:a16="http://schemas.microsoft.com/office/drawing/2014/main" id="{66B5882B-9FA2-CD18-C642-7DE434225110}"/>
              </a:ext>
            </a:extLst>
          </p:cNvPr>
          <p:cNvSpPr txBox="1"/>
          <p:nvPr/>
        </p:nvSpPr>
        <p:spPr>
          <a:xfrm>
            <a:off x="615731" y="1311929"/>
            <a:ext cx="6129102" cy="646331"/>
          </a:xfrm>
          <a:prstGeom prst="rect">
            <a:avLst/>
          </a:prstGeom>
          <a:noFill/>
        </p:spPr>
        <p:txBody>
          <a:bodyPr wrap="square">
            <a:spAutoFit/>
          </a:bodyPr>
          <a:lstStyle/>
          <a:p>
            <a:pPr algn="ctr"/>
            <a:r>
              <a:rPr sz="3600"/>
              <a:t>Ulaşım</a:t>
            </a:r>
            <a:r>
              <a:rPr sz="3200"/>
              <a:t> Planlamasına Giriş</a:t>
            </a:r>
            <a:endParaRPr lang="hr-HR" sz="3200" b="1" dirty="0">
              <a:ea typeface="MS Mincho" panose="02020609040205080304" pitchFamily="49" charset="-128"/>
              <a:cs typeface="Calibri" panose="020F0502020204030204" pitchFamily="34" charset="0"/>
            </a:endParaRPr>
          </a:p>
        </p:txBody>
      </p:sp>
      <p:sp>
        <p:nvSpPr>
          <p:cNvPr id="3" name="TextBox 2">
            <a:extLst>
              <a:ext uri="{FF2B5EF4-FFF2-40B4-BE49-F238E27FC236}">
                <a16:creationId xmlns:a16="http://schemas.microsoft.com/office/drawing/2014/main" id="{941A48B3-F26E-136A-2CFD-63BBC686657C}"/>
              </a:ext>
            </a:extLst>
          </p:cNvPr>
          <p:cNvSpPr txBox="1"/>
          <p:nvPr/>
        </p:nvSpPr>
        <p:spPr>
          <a:xfrm>
            <a:off x="814812" y="2272420"/>
            <a:ext cx="5438117" cy="1200329"/>
          </a:xfrm>
          <a:prstGeom prst="rect">
            <a:avLst/>
          </a:prstGeom>
          <a:noFill/>
        </p:spPr>
        <p:txBody>
          <a:bodyPr wrap="square">
            <a:spAutoFit/>
          </a:bodyPr>
          <a:lstStyle/>
          <a:p>
            <a:pPr algn="just"/>
            <a:r>
              <a:rPr dirty="0" err="1"/>
              <a:t>Şehirlerde</a:t>
            </a:r>
            <a:r>
              <a:rPr dirty="0"/>
              <a:t> </a:t>
            </a:r>
            <a:r>
              <a:rPr dirty="0" err="1"/>
              <a:t>ulaşım</a:t>
            </a:r>
            <a:r>
              <a:rPr dirty="0"/>
              <a:t> </a:t>
            </a:r>
            <a:r>
              <a:rPr dirty="0" err="1"/>
              <a:t>planlaması</a:t>
            </a:r>
            <a:r>
              <a:rPr dirty="0"/>
              <a:t> </a:t>
            </a:r>
            <a:r>
              <a:rPr dirty="0" err="1"/>
              <a:t>sunumuna</a:t>
            </a:r>
            <a:r>
              <a:rPr dirty="0"/>
              <a:t> </a:t>
            </a:r>
            <a:r>
              <a:rPr dirty="0" err="1"/>
              <a:t>hoş</a:t>
            </a:r>
            <a:r>
              <a:rPr dirty="0"/>
              <a:t> </a:t>
            </a:r>
            <a:r>
              <a:rPr dirty="0" err="1"/>
              <a:t>geldiniz</a:t>
            </a:r>
            <a:r>
              <a:rPr dirty="0"/>
              <a:t>. </a:t>
            </a:r>
            <a:r>
              <a:rPr dirty="0" err="1"/>
              <a:t>Bugün</a:t>
            </a:r>
            <a:r>
              <a:rPr dirty="0"/>
              <a:t>, </a:t>
            </a:r>
            <a:r>
              <a:rPr dirty="0" err="1"/>
              <a:t>mekansal</a:t>
            </a:r>
            <a:r>
              <a:rPr dirty="0"/>
              <a:t> </a:t>
            </a:r>
            <a:r>
              <a:rPr dirty="0" err="1"/>
              <a:t>taşıma</a:t>
            </a:r>
            <a:r>
              <a:rPr dirty="0"/>
              <a:t> </a:t>
            </a:r>
            <a:r>
              <a:rPr dirty="0" err="1"/>
              <a:t>planlama</a:t>
            </a:r>
            <a:r>
              <a:rPr dirty="0"/>
              <a:t> </a:t>
            </a:r>
            <a:r>
              <a:rPr dirty="0" err="1"/>
              <a:t>dengelemesinin</a:t>
            </a:r>
            <a:r>
              <a:rPr dirty="0"/>
              <a:t> </a:t>
            </a:r>
            <a:r>
              <a:rPr dirty="0" err="1"/>
              <a:t>temel</a:t>
            </a:r>
            <a:r>
              <a:rPr dirty="0"/>
              <a:t> </a:t>
            </a:r>
            <a:r>
              <a:rPr dirty="0" err="1"/>
              <a:t>ilkelerini</a:t>
            </a:r>
            <a:r>
              <a:rPr dirty="0"/>
              <a:t> </a:t>
            </a:r>
            <a:r>
              <a:rPr dirty="0" err="1"/>
              <a:t>inceleyeceğiz</a:t>
            </a:r>
            <a:r>
              <a:rPr dirty="0"/>
              <a:t> </a:t>
            </a:r>
            <a:r>
              <a:rPr dirty="0" err="1"/>
              <a:t>ve</a:t>
            </a:r>
            <a:r>
              <a:rPr dirty="0"/>
              <a:t> </a:t>
            </a:r>
            <a:r>
              <a:rPr dirty="0" err="1"/>
              <a:t>etkili</a:t>
            </a:r>
            <a:r>
              <a:rPr dirty="0"/>
              <a:t> </a:t>
            </a:r>
            <a:r>
              <a:rPr dirty="0" err="1"/>
              <a:t>ulaşım</a:t>
            </a:r>
            <a:r>
              <a:rPr dirty="0"/>
              <a:t> </a:t>
            </a:r>
            <a:r>
              <a:rPr dirty="0" err="1"/>
              <a:t>planlarının</a:t>
            </a:r>
            <a:r>
              <a:rPr dirty="0"/>
              <a:t> </a:t>
            </a:r>
            <a:r>
              <a:rPr dirty="0" err="1"/>
              <a:t>geliştirme</a:t>
            </a:r>
            <a:r>
              <a:rPr dirty="0"/>
              <a:t> </a:t>
            </a:r>
            <a:r>
              <a:rPr dirty="0" err="1"/>
              <a:t>sürecine</a:t>
            </a:r>
            <a:r>
              <a:rPr dirty="0"/>
              <a:t> </a:t>
            </a:r>
            <a:r>
              <a:rPr dirty="0" err="1"/>
              <a:t>daha</a:t>
            </a:r>
            <a:r>
              <a:rPr dirty="0"/>
              <a:t> </a:t>
            </a:r>
            <a:r>
              <a:rPr dirty="0" err="1"/>
              <a:t>detaylı</a:t>
            </a:r>
            <a:r>
              <a:rPr dirty="0"/>
              <a:t> </a:t>
            </a:r>
            <a:r>
              <a:rPr dirty="0" err="1"/>
              <a:t>bir</a:t>
            </a:r>
            <a:r>
              <a:rPr dirty="0"/>
              <a:t> </a:t>
            </a:r>
            <a:r>
              <a:rPr dirty="0" err="1"/>
              <a:t>şekilde</a:t>
            </a:r>
            <a:r>
              <a:rPr dirty="0"/>
              <a:t> </a:t>
            </a:r>
            <a:r>
              <a:rPr dirty="0" err="1"/>
              <a:t>değineceğiz</a:t>
            </a:r>
            <a:r>
              <a:rPr dirty="0"/>
              <a:t>.</a:t>
            </a:r>
          </a:p>
        </p:txBody>
      </p:sp>
      <p:pic>
        <p:nvPicPr>
          <p:cNvPr id="4" name="Picture 3" descr="A person and person holding a sign  Description automatically generated with medium confidence">
            <a:extLst>
              <a:ext uri="{FF2B5EF4-FFF2-40B4-BE49-F238E27FC236}">
                <a16:creationId xmlns:a16="http://schemas.microsoft.com/office/drawing/2014/main" id="{7C48C12D-2243-48EB-1351-A5356629195D}"/>
              </a:ext>
            </a:extLst>
          </p:cNvPr>
          <p:cNvPicPr>
            <a:picLocks noChangeAspect="1"/>
          </p:cNvPicPr>
          <p:nvPr/>
        </p:nvPicPr>
        <p:blipFill>
          <a:blip r:embed="rId4"/>
          <a:stretch>
            <a:fillRect/>
          </a:stretch>
        </p:blipFill>
        <p:spPr>
          <a:xfrm>
            <a:off x="7481711" y="1542770"/>
            <a:ext cx="4413956" cy="4413956"/>
          </a:xfrm>
          <a:prstGeom prst="rect">
            <a:avLst/>
          </a:prstGeom>
        </p:spPr>
      </p:pic>
      <p:pic>
        <p:nvPicPr>
          <p:cNvPr id="5" name="Picture 4" descr="A picture containing clipart, mammal, cartoon, illustration  Description automatically generated">
            <a:extLst>
              <a:ext uri="{FF2B5EF4-FFF2-40B4-BE49-F238E27FC236}">
                <a16:creationId xmlns:a16="http://schemas.microsoft.com/office/drawing/2014/main" id="{C5864A4D-8FCD-3E03-2839-946C86B0E9B9}"/>
              </a:ext>
            </a:extLst>
          </p:cNvPr>
          <p:cNvPicPr>
            <a:picLocks noChangeAspect="1"/>
          </p:cNvPicPr>
          <p:nvPr/>
        </p:nvPicPr>
        <p:blipFill>
          <a:blip r:embed="rId5"/>
          <a:stretch>
            <a:fillRect/>
          </a:stretch>
        </p:blipFill>
        <p:spPr>
          <a:xfrm>
            <a:off x="3255140" y="3557774"/>
            <a:ext cx="2683933" cy="2683933"/>
          </a:xfrm>
          <a:prstGeom prst="rect">
            <a:avLst/>
          </a:prstGeom>
        </p:spPr>
      </p:pic>
    </p:spTree>
    <p:extLst>
      <p:ext uri="{BB962C8B-B14F-4D97-AF65-F5344CB8AC3E}">
        <p14:creationId xmlns:p14="http://schemas.microsoft.com/office/powerpoint/2010/main" val="5178900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2" name="Content Placeholder 2">
            <a:extLst>
              <a:ext uri="{FF2B5EF4-FFF2-40B4-BE49-F238E27FC236}">
                <a16:creationId xmlns:a16="http://schemas.microsoft.com/office/drawing/2014/main" id="{97918F19-2083-67CE-47D4-5CAC80A3FB98}"/>
              </a:ext>
            </a:extLst>
          </p:cNvPr>
          <p:cNvGraphicFramePr>
            <a:graphicFrameLocks/>
          </p:cNvGraphicFramePr>
          <p:nvPr>
            <p:extLst>
              <p:ext uri="{D42A27DB-BD31-4B8C-83A1-F6EECF244321}">
                <p14:modId xmlns:p14="http://schemas.microsoft.com/office/powerpoint/2010/main" val="2262003554"/>
              </p:ext>
            </p:extLst>
          </p:nvPr>
        </p:nvGraphicFramePr>
        <p:xfrm>
          <a:off x="796990" y="2259469"/>
          <a:ext cx="10598020" cy="376540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itle 5">
            <a:extLst>
              <a:ext uri="{FF2B5EF4-FFF2-40B4-BE49-F238E27FC236}">
                <a16:creationId xmlns:a16="http://schemas.microsoft.com/office/drawing/2014/main" id="{0BF8BAD4-B557-8453-561A-E7FA47FD0C57}"/>
              </a:ext>
            </a:extLst>
          </p:cNvPr>
          <p:cNvSpPr txBox="1">
            <a:spLocks/>
          </p:cNvSpPr>
          <p:nvPr/>
        </p:nvSpPr>
        <p:spPr>
          <a:xfrm>
            <a:off x="393360" y="1331579"/>
            <a:ext cx="11676680" cy="918560"/>
          </a:xfrm>
          <a:prstGeom prst="rect">
            <a:avLst/>
          </a:prstGeom>
        </p:spPr>
        <p:txBody>
          <a:bodyPr vert="horz" lIns="91440" tIns="45720" rIns="91440" bIns="4572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defRPr sz="3200" b="1"/>
            </a:pPr>
            <a:r>
              <a:t>Ulaşım Planlamasının Ana İlkelerinin Teorik Temellerine Giriş</a:t>
            </a:r>
            <a:endParaRPr lang="en-US" sz="3200" b="1" dirty="0"/>
          </a:p>
        </p:txBody>
      </p:sp>
    </p:spTree>
    <p:extLst>
      <p:ext uri="{BB962C8B-B14F-4D97-AF65-F5344CB8AC3E}">
        <p14:creationId xmlns:p14="http://schemas.microsoft.com/office/powerpoint/2010/main" val="11767647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DF141BE8-F772-B545-8E10-5F29625C36DA}"/>
              </a:ext>
            </a:extLst>
          </p:cNvPr>
          <p:cNvSpPr txBox="1">
            <a:spLocks/>
          </p:cNvSpPr>
          <p:nvPr/>
        </p:nvSpPr>
        <p:spPr>
          <a:xfrm>
            <a:off x="274360" y="900509"/>
            <a:ext cx="4430900" cy="1022484"/>
          </a:xfrm>
          <a:prstGeom prst="rect">
            <a:avLst/>
          </a:prstGeom>
        </p:spPr>
        <p:txBody>
          <a:bodyPr vert="horz" lIns="91440" tIns="45720" rIns="91440" bIns="4572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sz="3200" b="1"/>
            </a:pPr>
            <a:r>
              <a:rPr dirty="0" err="1"/>
              <a:t>Sunumun</a:t>
            </a:r>
            <a:r>
              <a:rPr dirty="0"/>
              <a:t> 2. </a:t>
            </a:r>
            <a:r>
              <a:rPr dirty="0" err="1"/>
              <a:t>bölümünde</a:t>
            </a:r>
            <a:r>
              <a:rPr dirty="0"/>
              <a:t> </a:t>
            </a:r>
            <a:r>
              <a:rPr lang="tr-TR" dirty="0"/>
              <a:t>neleri kapsayacak</a:t>
            </a:r>
            <a:r>
              <a:rPr dirty="0"/>
              <a:t>?</a:t>
            </a:r>
          </a:p>
        </p:txBody>
      </p:sp>
      <p:pic>
        <p:nvPicPr>
          <p:cNvPr id="3" name="Picture 2" descr="A person standing in front of a projector screen  Description automatically generated with medium confidence">
            <a:extLst>
              <a:ext uri="{FF2B5EF4-FFF2-40B4-BE49-F238E27FC236}">
                <a16:creationId xmlns:a16="http://schemas.microsoft.com/office/drawing/2014/main" id="{7C6979A9-C5A0-9663-3AC8-A986AD185C17}"/>
              </a:ext>
            </a:extLst>
          </p:cNvPr>
          <p:cNvPicPr>
            <a:picLocks noChangeAspect="1"/>
          </p:cNvPicPr>
          <p:nvPr/>
        </p:nvPicPr>
        <p:blipFill rotWithShape="1">
          <a:blip r:embed="rId4"/>
          <a:srcRect l="8571" r="9300" b="-1"/>
          <a:stretch/>
        </p:blipFill>
        <p:spPr>
          <a:xfrm>
            <a:off x="503196" y="1868233"/>
            <a:ext cx="4278264" cy="4089258"/>
          </a:xfrm>
          <a:prstGeom prst="rect">
            <a:avLst/>
          </a:prstGeom>
        </p:spPr>
      </p:pic>
      <p:sp>
        <p:nvSpPr>
          <p:cNvPr id="4" name="TextBox 3">
            <a:extLst>
              <a:ext uri="{FF2B5EF4-FFF2-40B4-BE49-F238E27FC236}">
                <a16:creationId xmlns:a16="http://schemas.microsoft.com/office/drawing/2014/main" id="{A7E57154-7A99-BF6D-5F4E-EA704AB239D7}"/>
              </a:ext>
            </a:extLst>
          </p:cNvPr>
          <p:cNvSpPr txBox="1"/>
          <p:nvPr/>
        </p:nvSpPr>
        <p:spPr>
          <a:xfrm>
            <a:off x="5584046" y="1511559"/>
            <a:ext cx="6455554" cy="4729539"/>
          </a:xfrm>
          <a:prstGeom prst="rect">
            <a:avLst/>
          </a:prstGeom>
        </p:spPr>
        <p:txBody>
          <a:bodyPr vert="horz" lIns="91440" tIns="45720" rIns="91440" bIns="45720" anchor="ctr">
            <a:normAutofit/>
          </a:bodyPr>
          <a:lstStyle/>
          <a:p>
            <a:pPr algn="just">
              <a:lnSpc>
                <a:spcPct val="90000"/>
              </a:lnSpc>
              <a:spcAft>
                <a:spcPts val="600"/>
              </a:spcAft>
              <a:defRPr sz="1700"/>
            </a:pPr>
            <a:r>
              <a:rPr lang="en-US" dirty="0" err="1"/>
              <a:t>Sunumun</a:t>
            </a:r>
            <a:r>
              <a:rPr lang="en-US" dirty="0"/>
              <a:t> </a:t>
            </a:r>
            <a:r>
              <a:rPr lang="en-US" dirty="0" err="1"/>
              <a:t>ikinci</a:t>
            </a:r>
            <a:r>
              <a:rPr lang="en-US" dirty="0"/>
              <a:t> </a:t>
            </a:r>
            <a:r>
              <a:rPr lang="en-US" dirty="0" err="1"/>
              <a:t>bölümü</a:t>
            </a:r>
            <a:r>
              <a:rPr lang="en-US" dirty="0"/>
              <a:t>, </a:t>
            </a:r>
            <a:r>
              <a:rPr lang="en-US" dirty="0" err="1"/>
              <a:t>aşağıdaki</a:t>
            </a:r>
            <a:r>
              <a:rPr lang="en-US" dirty="0"/>
              <a:t> </a:t>
            </a:r>
            <a:r>
              <a:rPr lang="en-US" dirty="0" err="1"/>
              <a:t>temel</a:t>
            </a:r>
            <a:r>
              <a:rPr lang="en-US" dirty="0"/>
              <a:t> </a:t>
            </a:r>
            <a:r>
              <a:rPr lang="en-US" dirty="0" err="1"/>
              <a:t>konuları</a:t>
            </a:r>
            <a:r>
              <a:rPr lang="en-US" dirty="0"/>
              <a:t> </a:t>
            </a:r>
            <a:r>
              <a:rPr lang="en-US" dirty="0" err="1"/>
              <a:t>ele</a:t>
            </a:r>
            <a:r>
              <a:rPr lang="en-US" dirty="0"/>
              <a:t> </a:t>
            </a:r>
            <a:r>
              <a:rPr lang="en-US" dirty="0" err="1"/>
              <a:t>alacaktır</a:t>
            </a:r>
            <a:r>
              <a:rPr lang="en-US" dirty="0"/>
              <a:t>:</a:t>
            </a:r>
          </a:p>
          <a:p>
            <a:pPr algn="just">
              <a:lnSpc>
                <a:spcPct val="90000"/>
              </a:lnSpc>
              <a:spcAft>
                <a:spcPts val="600"/>
              </a:spcAft>
              <a:defRPr sz="1700"/>
            </a:pPr>
            <a:endParaRPr lang="en-US" dirty="0"/>
          </a:p>
          <a:p>
            <a:pPr marL="285750" indent="-285750" algn="just">
              <a:lnSpc>
                <a:spcPct val="90000"/>
              </a:lnSpc>
              <a:spcAft>
                <a:spcPts val="600"/>
              </a:spcAft>
              <a:buFont typeface="Arial" panose="020B0604020202020204" pitchFamily="34" charset="0"/>
              <a:buChar char="•"/>
              <a:defRPr sz="1700"/>
            </a:pPr>
            <a:r>
              <a:rPr lang="en-US" dirty="0"/>
              <a:t>Ulaşım </a:t>
            </a:r>
            <a:r>
              <a:rPr lang="en-US" dirty="0" err="1"/>
              <a:t>planlamasının</a:t>
            </a:r>
            <a:r>
              <a:rPr lang="en-US" dirty="0"/>
              <a:t> </a:t>
            </a:r>
            <a:r>
              <a:rPr lang="en-US" dirty="0" err="1"/>
              <a:t>teorik</a:t>
            </a:r>
            <a:r>
              <a:rPr lang="en-US" dirty="0"/>
              <a:t> </a:t>
            </a:r>
            <a:r>
              <a:rPr lang="en-US" dirty="0" err="1"/>
              <a:t>çerçevesi</a:t>
            </a:r>
            <a:r>
              <a:rPr lang="en-US" dirty="0"/>
              <a:t>, </a:t>
            </a:r>
            <a:r>
              <a:rPr lang="en-US" dirty="0" err="1"/>
              <a:t>ekonomik</a:t>
            </a:r>
            <a:r>
              <a:rPr lang="en-US" dirty="0"/>
              <a:t> </a:t>
            </a:r>
            <a:r>
              <a:rPr lang="en-US" dirty="0" err="1"/>
              <a:t>prensipler</a:t>
            </a:r>
            <a:r>
              <a:rPr lang="en-US" dirty="0"/>
              <a:t>, </a:t>
            </a:r>
            <a:r>
              <a:rPr lang="en-US" dirty="0" err="1"/>
              <a:t>sosyal</a:t>
            </a:r>
            <a:r>
              <a:rPr lang="en-US" dirty="0"/>
              <a:t> </a:t>
            </a:r>
            <a:r>
              <a:rPr lang="en-US" dirty="0" err="1"/>
              <a:t>adalet</a:t>
            </a:r>
            <a:r>
              <a:rPr lang="en-US" dirty="0"/>
              <a:t> </a:t>
            </a:r>
            <a:r>
              <a:rPr lang="en-US" dirty="0" err="1"/>
              <a:t>kavramları</a:t>
            </a:r>
            <a:r>
              <a:rPr lang="en-US" dirty="0"/>
              <a:t> </a:t>
            </a:r>
            <a:r>
              <a:rPr lang="en-US" dirty="0" err="1"/>
              <a:t>ve</a:t>
            </a:r>
            <a:r>
              <a:rPr lang="en-US" dirty="0"/>
              <a:t> </a:t>
            </a:r>
            <a:r>
              <a:rPr lang="en-US" dirty="0" err="1"/>
              <a:t>çevresel</a:t>
            </a:r>
            <a:r>
              <a:rPr lang="en-US" dirty="0"/>
              <a:t> </a:t>
            </a:r>
            <a:r>
              <a:rPr lang="en-US" dirty="0" err="1"/>
              <a:t>sürdürülebilirlik</a:t>
            </a:r>
            <a:r>
              <a:rPr lang="en-US" dirty="0"/>
              <a:t> </a:t>
            </a:r>
            <a:r>
              <a:rPr lang="en-US" dirty="0" err="1"/>
              <a:t>gibi</a:t>
            </a:r>
            <a:r>
              <a:rPr lang="en-US" dirty="0"/>
              <a:t> </a:t>
            </a:r>
            <a:r>
              <a:rPr lang="en-US" dirty="0" err="1"/>
              <a:t>faktörler</a:t>
            </a:r>
            <a:r>
              <a:rPr lang="en-US" dirty="0"/>
              <a:t> </a:t>
            </a:r>
            <a:r>
              <a:rPr lang="en-US" dirty="0" err="1"/>
              <a:t>arasında</a:t>
            </a:r>
            <a:r>
              <a:rPr lang="en-US" dirty="0"/>
              <a:t> </a:t>
            </a:r>
            <a:r>
              <a:rPr lang="en-US" dirty="0" err="1"/>
              <a:t>yer</a:t>
            </a:r>
            <a:r>
              <a:rPr lang="en-US" dirty="0"/>
              <a:t> </a:t>
            </a:r>
            <a:r>
              <a:rPr lang="en-US" dirty="0" err="1"/>
              <a:t>alır</a:t>
            </a:r>
            <a:r>
              <a:rPr lang="en-US" dirty="0"/>
              <a:t>.</a:t>
            </a:r>
          </a:p>
          <a:p>
            <a:pPr marL="285750" indent="-285750" algn="just">
              <a:lnSpc>
                <a:spcPct val="90000"/>
              </a:lnSpc>
              <a:spcAft>
                <a:spcPts val="600"/>
              </a:spcAft>
              <a:buFont typeface="Arial" panose="020B0604020202020204" pitchFamily="34" charset="0"/>
              <a:buChar char="•"/>
              <a:defRPr sz="1700"/>
            </a:pPr>
            <a:r>
              <a:rPr lang="en-US" dirty="0" err="1"/>
              <a:t>Seyahat</a:t>
            </a:r>
            <a:r>
              <a:rPr lang="en-US" dirty="0"/>
              <a:t> </a:t>
            </a:r>
            <a:r>
              <a:rPr lang="en-US" dirty="0" err="1"/>
              <a:t>talebi</a:t>
            </a:r>
            <a:r>
              <a:rPr lang="en-US" dirty="0"/>
              <a:t> </a:t>
            </a:r>
            <a:r>
              <a:rPr lang="en-US" dirty="0" err="1"/>
              <a:t>analizi</a:t>
            </a:r>
            <a:r>
              <a:rPr lang="en-US" dirty="0"/>
              <a:t> </a:t>
            </a:r>
            <a:r>
              <a:rPr lang="en-US" dirty="0" err="1"/>
              <a:t>ve</a:t>
            </a:r>
            <a:r>
              <a:rPr lang="en-US" dirty="0"/>
              <a:t> </a:t>
            </a:r>
            <a:r>
              <a:rPr lang="en-US" dirty="0" err="1"/>
              <a:t>tahmin</a:t>
            </a:r>
            <a:r>
              <a:rPr lang="en-US" dirty="0"/>
              <a:t> </a:t>
            </a:r>
            <a:r>
              <a:rPr lang="en-US" dirty="0" err="1"/>
              <a:t>teknikleri</a:t>
            </a:r>
            <a:r>
              <a:rPr lang="en-US" dirty="0"/>
              <a:t>, </a:t>
            </a:r>
            <a:r>
              <a:rPr lang="en-US" dirty="0" err="1"/>
              <a:t>gelecek</a:t>
            </a:r>
            <a:r>
              <a:rPr lang="en-US" dirty="0"/>
              <a:t> </a:t>
            </a:r>
            <a:r>
              <a:rPr lang="en-US" dirty="0" err="1"/>
              <a:t>ulaşım</a:t>
            </a:r>
            <a:r>
              <a:rPr lang="en-US" dirty="0"/>
              <a:t> </a:t>
            </a:r>
            <a:r>
              <a:rPr lang="en-US" dirty="0" err="1"/>
              <a:t>ihtiyaçlarını</a:t>
            </a:r>
            <a:r>
              <a:rPr lang="en-US" dirty="0"/>
              <a:t> </a:t>
            </a:r>
            <a:r>
              <a:rPr lang="en-US" dirty="0" err="1"/>
              <a:t>öngörmek</a:t>
            </a:r>
            <a:r>
              <a:rPr lang="en-US" dirty="0"/>
              <a:t> </a:t>
            </a:r>
            <a:r>
              <a:rPr lang="en-US" dirty="0" err="1"/>
              <a:t>için</a:t>
            </a:r>
            <a:r>
              <a:rPr lang="en-US" dirty="0"/>
              <a:t> </a:t>
            </a:r>
            <a:r>
              <a:rPr lang="en-US" dirty="0" err="1"/>
              <a:t>kullanılan</a:t>
            </a:r>
            <a:r>
              <a:rPr lang="en-US" dirty="0"/>
              <a:t> </a:t>
            </a:r>
            <a:r>
              <a:rPr lang="en-US" dirty="0" err="1"/>
              <a:t>çeşitli</a:t>
            </a:r>
            <a:r>
              <a:rPr lang="en-US" dirty="0"/>
              <a:t> </a:t>
            </a:r>
            <a:r>
              <a:rPr lang="en-US" dirty="0" err="1"/>
              <a:t>modeller</a:t>
            </a:r>
            <a:r>
              <a:rPr lang="en-US" dirty="0"/>
              <a:t> </a:t>
            </a:r>
            <a:r>
              <a:rPr lang="en-US" dirty="0" err="1"/>
              <a:t>ve</a:t>
            </a:r>
            <a:r>
              <a:rPr lang="en-US" dirty="0"/>
              <a:t> </a:t>
            </a:r>
            <a:r>
              <a:rPr lang="en-US" dirty="0" err="1"/>
              <a:t>yöntemler</a:t>
            </a:r>
            <a:r>
              <a:rPr lang="en-US" dirty="0"/>
              <a:t> </a:t>
            </a:r>
            <a:r>
              <a:rPr lang="en-US" dirty="0" err="1"/>
              <a:t>üzerinde</a:t>
            </a:r>
            <a:r>
              <a:rPr lang="en-US" dirty="0"/>
              <a:t> </a:t>
            </a:r>
            <a:r>
              <a:rPr lang="en-US" dirty="0" err="1"/>
              <a:t>durur</a:t>
            </a:r>
            <a:r>
              <a:rPr lang="en-US" dirty="0"/>
              <a:t>.</a:t>
            </a:r>
          </a:p>
          <a:p>
            <a:pPr marL="285750" indent="-285750" algn="just">
              <a:lnSpc>
                <a:spcPct val="90000"/>
              </a:lnSpc>
              <a:spcAft>
                <a:spcPts val="600"/>
              </a:spcAft>
              <a:buFont typeface="Arial" panose="020B0604020202020204" pitchFamily="34" charset="0"/>
              <a:buChar char="•"/>
              <a:defRPr sz="1700"/>
            </a:pPr>
            <a:r>
              <a:rPr lang="en-US" dirty="0"/>
              <a:t>Ulaşım </a:t>
            </a:r>
            <a:r>
              <a:rPr lang="en-US" dirty="0" err="1"/>
              <a:t>projeleri</a:t>
            </a:r>
            <a:r>
              <a:rPr lang="en-US" dirty="0"/>
              <a:t> </a:t>
            </a:r>
            <a:r>
              <a:rPr lang="en-US" dirty="0" err="1"/>
              <a:t>için</a:t>
            </a:r>
            <a:r>
              <a:rPr lang="en-US" dirty="0"/>
              <a:t> </a:t>
            </a:r>
            <a:r>
              <a:rPr lang="en-US" dirty="0" err="1"/>
              <a:t>ölçüm</a:t>
            </a:r>
            <a:r>
              <a:rPr lang="en-US" dirty="0"/>
              <a:t> </a:t>
            </a:r>
            <a:r>
              <a:rPr lang="en-US" dirty="0" err="1"/>
              <a:t>ve</a:t>
            </a:r>
            <a:r>
              <a:rPr lang="en-US" dirty="0"/>
              <a:t> </a:t>
            </a:r>
            <a:r>
              <a:rPr lang="en-US" dirty="0" err="1"/>
              <a:t>değerlendirme</a:t>
            </a:r>
            <a:r>
              <a:rPr lang="en-US" dirty="0"/>
              <a:t> </a:t>
            </a:r>
            <a:r>
              <a:rPr lang="en-US" dirty="0" err="1"/>
              <a:t>yöntemleri</a:t>
            </a:r>
            <a:r>
              <a:rPr lang="en-US" dirty="0"/>
              <a:t>, </a:t>
            </a:r>
            <a:r>
              <a:rPr lang="en-US" dirty="0" err="1"/>
              <a:t>maliyet-fayda</a:t>
            </a:r>
            <a:r>
              <a:rPr lang="en-US" dirty="0"/>
              <a:t> </a:t>
            </a:r>
            <a:r>
              <a:rPr lang="en-US" dirty="0" err="1"/>
              <a:t>analizi</a:t>
            </a:r>
            <a:r>
              <a:rPr lang="en-US" dirty="0"/>
              <a:t>, </a:t>
            </a:r>
            <a:r>
              <a:rPr lang="en-US" dirty="0" err="1"/>
              <a:t>çevresel</a:t>
            </a:r>
            <a:r>
              <a:rPr lang="en-US" dirty="0"/>
              <a:t> </a:t>
            </a:r>
            <a:r>
              <a:rPr lang="en-US" dirty="0" err="1"/>
              <a:t>etki</a:t>
            </a:r>
            <a:r>
              <a:rPr lang="en-US" dirty="0"/>
              <a:t> </a:t>
            </a:r>
            <a:r>
              <a:rPr lang="en-US" dirty="0" err="1"/>
              <a:t>değerlendirmeleri</a:t>
            </a:r>
            <a:r>
              <a:rPr lang="en-US" dirty="0"/>
              <a:t> </a:t>
            </a:r>
            <a:r>
              <a:rPr lang="en-US" dirty="0" err="1"/>
              <a:t>ve</a:t>
            </a:r>
            <a:r>
              <a:rPr lang="en-US" dirty="0"/>
              <a:t> net </a:t>
            </a:r>
            <a:r>
              <a:rPr lang="en-US" dirty="0" err="1"/>
              <a:t>varlık</a:t>
            </a:r>
            <a:r>
              <a:rPr lang="en-US" dirty="0"/>
              <a:t> </a:t>
            </a:r>
            <a:r>
              <a:rPr lang="en-US" dirty="0" err="1"/>
              <a:t>değerlendirmeleri</a:t>
            </a:r>
            <a:r>
              <a:rPr lang="en-US" dirty="0"/>
              <a:t> </a:t>
            </a:r>
            <a:r>
              <a:rPr lang="en-US" dirty="0" err="1"/>
              <a:t>gibi</a:t>
            </a:r>
            <a:r>
              <a:rPr lang="en-US" dirty="0"/>
              <a:t> </a:t>
            </a:r>
            <a:r>
              <a:rPr lang="en-US" dirty="0" err="1"/>
              <a:t>çeşitli</a:t>
            </a:r>
            <a:r>
              <a:rPr lang="en-US" dirty="0"/>
              <a:t> </a:t>
            </a:r>
            <a:r>
              <a:rPr lang="en-US" dirty="0" err="1"/>
              <a:t>unsurları</a:t>
            </a:r>
            <a:r>
              <a:rPr lang="en-US" dirty="0"/>
              <a:t> </a:t>
            </a:r>
            <a:r>
              <a:rPr lang="en-US" dirty="0" err="1"/>
              <a:t>kapsar</a:t>
            </a:r>
            <a:r>
              <a:rPr lang="en-US" dirty="0"/>
              <a:t>.</a:t>
            </a:r>
          </a:p>
          <a:p>
            <a:pPr algn="just">
              <a:lnSpc>
                <a:spcPct val="90000"/>
              </a:lnSpc>
              <a:spcAft>
                <a:spcPts val="600"/>
              </a:spcAft>
              <a:defRPr sz="1700"/>
            </a:pPr>
            <a:endParaRPr lang="en-US" dirty="0"/>
          </a:p>
          <a:p>
            <a:pPr algn="just">
              <a:lnSpc>
                <a:spcPct val="90000"/>
              </a:lnSpc>
              <a:spcAft>
                <a:spcPts val="600"/>
              </a:spcAft>
              <a:defRPr sz="1700"/>
            </a:pPr>
            <a:r>
              <a:rPr lang="en-US" dirty="0"/>
              <a:t>Bu </a:t>
            </a:r>
            <a:r>
              <a:rPr lang="en-US" dirty="0" err="1"/>
              <a:t>teorik</a:t>
            </a:r>
            <a:r>
              <a:rPr lang="en-US" dirty="0"/>
              <a:t> </a:t>
            </a:r>
            <a:r>
              <a:rPr lang="en-US" dirty="0" err="1"/>
              <a:t>yönleri</a:t>
            </a:r>
            <a:r>
              <a:rPr lang="en-US" dirty="0"/>
              <a:t> </a:t>
            </a:r>
            <a:r>
              <a:rPr lang="en-US" dirty="0" err="1"/>
              <a:t>detaylı</a:t>
            </a:r>
            <a:r>
              <a:rPr lang="en-US" dirty="0"/>
              <a:t> </a:t>
            </a:r>
            <a:r>
              <a:rPr lang="en-US" dirty="0" err="1"/>
              <a:t>bir</a:t>
            </a:r>
            <a:r>
              <a:rPr lang="en-US" dirty="0"/>
              <a:t> </a:t>
            </a:r>
            <a:r>
              <a:rPr lang="en-US" dirty="0" err="1"/>
              <a:t>şekilde</a:t>
            </a:r>
            <a:r>
              <a:rPr lang="en-US" dirty="0"/>
              <a:t> </a:t>
            </a:r>
            <a:r>
              <a:rPr lang="en-US" dirty="0" err="1"/>
              <a:t>ele</a:t>
            </a:r>
            <a:r>
              <a:rPr lang="en-US" dirty="0"/>
              <a:t> </a:t>
            </a:r>
            <a:r>
              <a:rPr lang="en-US" dirty="0" err="1"/>
              <a:t>alarak</a:t>
            </a:r>
            <a:r>
              <a:rPr lang="en-US" dirty="0"/>
              <a:t>, </a:t>
            </a:r>
            <a:r>
              <a:rPr lang="en-US" dirty="0" err="1"/>
              <a:t>ulaşım</a:t>
            </a:r>
            <a:r>
              <a:rPr lang="en-US" dirty="0"/>
              <a:t> </a:t>
            </a:r>
            <a:r>
              <a:rPr lang="en-US" dirty="0" err="1"/>
              <a:t>planlamasını</a:t>
            </a:r>
            <a:r>
              <a:rPr lang="en-US" dirty="0"/>
              <a:t> </a:t>
            </a:r>
            <a:r>
              <a:rPr lang="en-US" dirty="0" err="1"/>
              <a:t>yönlendiren</a:t>
            </a:r>
            <a:r>
              <a:rPr lang="en-US" dirty="0"/>
              <a:t> </a:t>
            </a:r>
            <a:r>
              <a:rPr lang="en-US" dirty="0" err="1"/>
              <a:t>prensiplere</a:t>
            </a:r>
            <a:r>
              <a:rPr lang="en-US" dirty="0"/>
              <a:t> </a:t>
            </a:r>
            <a:r>
              <a:rPr lang="en-US" dirty="0" err="1"/>
              <a:t>sağlam</a:t>
            </a:r>
            <a:r>
              <a:rPr lang="en-US" dirty="0"/>
              <a:t> </a:t>
            </a:r>
            <a:r>
              <a:rPr lang="en-US" dirty="0" err="1"/>
              <a:t>bir</a:t>
            </a:r>
            <a:r>
              <a:rPr lang="en-US" dirty="0"/>
              <a:t> </a:t>
            </a:r>
            <a:r>
              <a:rPr lang="en-US" dirty="0" err="1"/>
              <a:t>temel</a:t>
            </a:r>
            <a:r>
              <a:rPr lang="en-US" dirty="0"/>
              <a:t> </a:t>
            </a:r>
            <a:r>
              <a:rPr lang="en-US" dirty="0" err="1"/>
              <a:t>kazanacaksınız</a:t>
            </a:r>
            <a:r>
              <a:rPr lang="en-US" dirty="0"/>
              <a:t>. </a:t>
            </a:r>
            <a:r>
              <a:rPr lang="en-US" dirty="0" err="1"/>
              <a:t>Böylece</a:t>
            </a:r>
            <a:r>
              <a:rPr lang="en-US" dirty="0"/>
              <a:t>, </a:t>
            </a:r>
            <a:r>
              <a:rPr lang="en-US" dirty="0" err="1"/>
              <a:t>bilinçli</a:t>
            </a:r>
            <a:r>
              <a:rPr lang="en-US" dirty="0"/>
              <a:t> </a:t>
            </a:r>
            <a:r>
              <a:rPr lang="en-US" dirty="0" err="1"/>
              <a:t>kararlar</a:t>
            </a:r>
            <a:r>
              <a:rPr lang="en-US" dirty="0"/>
              <a:t> </a:t>
            </a:r>
            <a:r>
              <a:rPr lang="en-US" dirty="0" err="1"/>
              <a:t>alarak</a:t>
            </a:r>
            <a:r>
              <a:rPr lang="en-US" dirty="0"/>
              <a:t> </a:t>
            </a:r>
            <a:r>
              <a:rPr lang="en-US" dirty="0" err="1"/>
              <a:t>sürdürülebilir</a:t>
            </a:r>
            <a:r>
              <a:rPr lang="en-US" dirty="0"/>
              <a:t> </a:t>
            </a:r>
            <a:r>
              <a:rPr lang="en-US" dirty="0" err="1"/>
              <a:t>kentsel</a:t>
            </a:r>
            <a:r>
              <a:rPr lang="en-US" dirty="0"/>
              <a:t> </a:t>
            </a:r>
            <a:r>
              <a:rPr lang="en-US" dirty="0" err="1"/>
              <a:t>hareketlilik</a:t>
            </a:r>
            <a:r>
              <a:rPr lang="en-US" dirty="0"/>
              <a:t> </a:t>
            </a:r>
            <a:r>
              <a:rPr lang="en-US" dirty="0" err="1"/>
              <a:t>için</a:t>
            </a:r>
            <a:r>
              <a:rPr lang="en-US" dirty="0"/>
              <a:t> </a:t>
            </a:r>
            <a:r>
              <a:rPr lang="en-US" dirty="0" err="1"/>
              <a:t>aktif</a:t>
            </a:r>
            <a:r>
              <a:rPr lang="en-US" dirty="0"/>
              <a:t> </a:t>
            </a:r>
            <a:r>
              <a:rPr lang="en-US" dirty="0" err="1"/>
              <a:t>katkılar</a:t>
            </a:r>
            <a:r>
              <a:rPr lang="en-US" dirty="0"/>
              <a:t> </a:t>
            </a:r>
            <a:r>
              <a:rPr lang="en-US" dirty="0" err="1"/>
              <a:t>sunabileceksiniz</a:t>
            </a:r>
            <a:r>
              <a:rPr lang="tr-TR" dirty="0"/>
              <a:t>.</a:t>
            </a:r>
            <a:endParaRPr lang="en-US" dirty="0"/>
          </a:p>
        </p:txBody>
      </p:sp>
      <p:cxnSp>
        <p:nvCxnSpPr>
          <p:cNvPr id="5" name="Straight Connector 4">
            <a:extLst>
              <a:ext uri="{FF2B5EF4-FFF2-40B4-BE49-F238E27FC236}">
                <a16:creationId xmlns:a16="http://schemas.microsoft.com/office/drawing/2014/main" id="{9928CD8C-8FCE-9418-CC4C-A2769C512387}"/>
              </a:ext>
            </a:extLst>
          </p:cNvPr>
          <p:cNvCxnSpPr/>
          <p:nvPr/>
        </p:nvCxnSpPr>
        <p:spPr>
          <a:xfrm>
            <a:off x="5094514" y="1259633"/>
            <a:ext cx="0" cy="4898571"/>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836613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F5EEDBB1-F580-173B-6EA9-4E58CEEF45D9}"/>
              </a:ext>
            </a:extLst>
          </p:cNvPr>
          <p:cNvSpPr txBox="1">
            <a:spLocks/>
          </p:cNvSpPr>
          <p:nvPr/>
        </p:nvSpPr>
        <p:spPr>
          <a:xfrm>
            <a:off x="692459" y="1606679"/>
            <a:ext cx="10807082" cy="4285102"/>
          </a:xfrm>
          <a:prstGeom prst="rect">
            <a:avLst/>
          </a:prstGeom>
        </p:spPr>
        <p:txBody>
          <a:bodyPr vert="horz" lIns="91440" tIns="45720" rIns="91440" bIns="4572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defRPr>
            </a:pPr>
            <a:r>
              <a:t>Soru zamanı</a:t>
            </a:r>
            <a:endParaRPr lang="en-US" sz="6600" dirty="0"/>
          </a:p>
        </p:txBody>
      </p:sp>
      <p:pic>
        <p:nvPicPr>
          <p:cNvPr id="3" name="Picture 2" descr="A picture containing text, screenshot, font, graphics  Description automatically generated">
            <a:extLst>
              <a:ext uri="{FF2B5EF4-FFF2-40B4-BE49-F238E27FC236}">
                <a16:creationId xmlns:a16="http://schemas.microsoft.com/office/drawing/2014/main" id="{EA0C5503-7461-AFE9-80EE-F058A749C301}"/>
              </a:ext>
            </a:extLst>
          </p:cNvPr>
          <p:cNvPicPr>
            <a:picLocks noChangeAspect="1"/>
          </p:cNvPicPr>
          <p:nvPr/>
        </p:nvPicPr>
        <p:blipFill>
          <a:blip r:embed="rId4"/>
          <a:stretch>
            <a:fillRect/>
          </a:stretch>
        </p:blipFill>
        <p:spPr>
          <a:xfrm rot="20664587">
            <a:off x="613634" y="1672389"/>
            <a:ext cx="3340729" cy="3340729"/>
          </a:xfrm>
          <a:prstGeom prst="rect">
            <a:avLst/>
          </a:prstGeom>
          <a:effectLst>
            <a:softEdge rad="635000"/>
          </a:effectLst>
        </p:spPr>
      </p:pic>
      <p:pic>
        <p:nvPicPr>
          <p:cNvPr id="4" name="Picture 3" descr="A notebook with a question mark on it  Description automatically generated with medium confidence">
            <a:extLst>
              <a:ext uri="{FF2B5EF4-FFF2-40B4-BE49-F238E27FC236}">
                <a16:creationId xmlns:a16="http://schemas.microsoft.com/office/drawing/2014/main" id="{051E7F49-9420-CB43-67C0-BFAE4755DF9F}"/>
              </a:ext>
            </a:extLst>
          </p:cNvPr>
          <p:cNvPicPr>
            <a:picLocks noChangeAspect="1"/>
          </p:cNvPicPr>
          <p:nvPr/>
        </p:nvPicPr>
        <p:blipFill>
          <a:blip r:embed="rId5"/>
          <a:stretch>
            <a:fillRect/>
          </a:stretch>
        </p:blipFill>
        <p:spPr>
          <a:xfrm>
            <a:off x="6541324" y="966219"/>
            <a:ext cx="3320403" cy="2216008"/>
          </a:xfrm>
          <a:prstGeom prst="rect">
            <a:avLst/>
          </a:prstGeom>
          <a:effectLst>
            <a:softEdge rad="317500"/>
          </a:effectLst>
        </p:spPr>
      </p:pic>
      <p:pic>
        <p:nvPicPr>
          <p:cNvPr id="5" name="Picture 4" descr="A group of question marks on a blue background  Description automatically generated with medium confidence">
            <a:extLst>
              <a:ext uri="{FF2B5EF4-FFF2-40B4-BE49-F238E27FC236}">
                <a16:creationId xmlns:a16="http://schemas.microsoft.com/office/drawing/2014/main" id="{F3940950-BB4E-20EB-CEE5-22F20733D064}"/>
              </a:ext>
            </a:extLst>
          </p:cNvPr>
          <p:cNvPicPr>
            <a:picLocks noChangeAspect="1"/>
          </p:cNvPicPr>
          <p:nvPr/>
        </p:nvPicPr>
        <p:blipFill>
          <a:blip r:embed="rId6"/>
          <a:stretch>
            <a:fillRect/>
          </a:stretch>
        </p:blipFill>
        <p:spPr>
          <a:xfrm>
            <a:off x="8955055" y="3264615"/>
            <a:ext cx="2860472" cy="2860472"/>
          </a:xfrm>
          <a:prstGeom prst="rect">
            <a:avLst/>
          </a:prstGeom>
          <a:effectLst>
            <a:softEdge rad="127000"/>
          </a:effectLst>
        </p:spPr>
      </p:pic>
    </p:spTree>
    <p:extLst>
      <p:ext uri="{BB962C8B-B14F-4D97-AF65-F5344CB8AC3E}">
        <p14:creationId xmlns:p14="http://schemas.microsoft.com/office/powerpoint/2010/main" val="239967448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ABB9A-8381-E048-B51B-ADFD36312BC9}"/>
              </a:ext>
            </a:extLst>
          </p:cNvPr>
          <p:cNvSpPr>
            <a:spLocks noGrp="1"/>
          </p:cNvSpPr>
          <p:nvPr>
            <p:ph type="ctrTitle"/>
          </p:nvPr>
        </p:nvSpPr>
        <p:spPr>
          <a:xfrm>
            <a:off x="1524000" y="1871720"/>
            <a:ext cx="9144000" cy="1579871"/>
          </a:xfrm>
        </p:spPr>
        <p:txBody>
          <a:bodyPr>
            <a:normAutofit fontScale="90000"/>
          </a:bodyPr>
          <a:lstStyle/>
          <a:p>
            <a:pPr>
              <a:defRPr sz="4000" b="1">
                <a:effectLst/>
                <a:latin typeface="Myriad Pro" panose="020B0503030403020204" pitchFamily="34" charset="0"/>
                <a:ea typeface="MS Mincho" panose="02020609040205080304" pitchFamily="49" charset="-128"/>
                <a:cs typeface="Calibri" panose="020F0502020204030204" pitchFamily="34" charset="0"/>
              </a:defRPr>
            </a:pPr>
            <a:r>
              <a:t>SMART Ankara Sürdürülebilir Kentsel Ulaşım Planı</a:t>
            </a:r>
            <a:br>
              <a:rPr lang="hr-HR" sz="3600" dirty="0">
                <a:effectLst/>
                <a:latin typeface="Myriad Pro" panose="020B0503030403020204" pitchFamily="34" charset="0"/>
                <a:ea typeface="MS Mincho" panose="02020609040205080304" pitchFamily="49" charset="-128"/>
                <a:cs typeface="Microsoft Uighur" panose="02000000000000000000" pitchFamily="2" charset="-78"/>
              </a:rPr>
            </a:br>
            <a:endParaRPr lang="en-TR" sz="4000" b="1" dirty="0">
              <a:latin typeface="Myriad Pro" panose="020B0503030403020204" pitchFamily="34" charset="0"/>
            </a:endParaRPr>
          </a:p>
        </p:txBody>
      </p:sp>
      <p:sp>
        <p:nvSpPr>
          <p:cNvPr id="4" name="TextBox 3">
            <a:extLst>
              <a:ext uri="{FF2B5EF4-FFF2-40B4-BE49-F238E27FC236}">
                <a16:creationId xmlns:a16="http://schemas.microsoft.com/office/drawing/2014/main" id="{D0D0616E-23C9-121E-6510-58C59F454CE5}"/>
              </a:ext>
            </a:extLst>
          </p:cNvPr>
          <p:cNvSpPr txBox="1"/>
          <p:nvPr/>
        </p:nvSpPr>
        <p:spPr>
          <a:xfrm>
            <a:off x="2704687" y="3840651"/>
            <a:ext cx="6719970" cy="954107"/>
          </a:xfrm>
          <a:prstGeom prst="rect">
            <a:avLst/>
          </a:prstGeom>
          <a:noFill/>
        </p:spPr>
        <p:txBody>
          <a:bodyPr wrap="square" anchor="ctr">
            <a:spAutoFit/>
          </a:bodyPr>
          <a:lstStyle/>
          <a:p>
            <a:pPr algn="ctr">
              <a:defRPr sz="28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defRPr>
            </a:pPr>
            <a:r>
              <a:t>Ulaşım Planlamasının Ana İlkelerinin Teorik Temellerine Giriş </a:t>
            </a:r>
            <a:endParaRPr lang="en-US" dirty="0"/>
          </a:p>
        </p:txBody>
      </p:sp>
    </p:spTree>
    <p:extLst>
      <p:ext uri="{BB962C8B-B14F-4D97-AF65-F5344CB8AC3E}">
        <p14:creationId xmlns:p14="http://schemas.microsoft.com/office/powerpoint/2010/main" val="346863624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TekstniOkvir 3">
            <a:extLst>
              <a:ext uri="{FF2B5EF4-FFF2-40B4-BE49-F238E27FC236}">
                <a16:creationId xmlns:a16="http://schemas.microsoft.com/office/drawing/2014/main" id="{CF5ED112-659E-11FA-5E1E-185D5C3E5BD8}"/>
              </a:ext>
            </a:extLst>
          </p:cNvPr>
          <p:cNvSpPr txBox="1"/>
          <p:nvPr/>
        </p:nvSpPr>
        <p:spPr>
          <a:xfrm>
            <a:off x="615731" y="1451311"/>
            <a:ext cx="8061738" cy="1200329"/>
          </a:xfrm>
          <a:prstGeom prst="rect">
            <a:avLst/>
          </a:prstGeom>
          <a:noFill/>
        </p:spPr>
        <p:txBody>
          <a:bodyPr wrap="square">
            <a:spAutoFit/>
          </a:bodyPr>
          <a:lstStyle/>
          <a:p>
            <a:pPr algn="ctr">
              <a:defRPr sz="3600" b="1"/>
            </a:pPr>
            <a:r>
              <a:rPr dirty="0">
                <a:solidFill>
                  <a:srgbClr val="000000"/>
                </a:solidFill>
                <a:effectLst/>
                <a:ea typeface="Times New Roman" panose="02020603050405020304" pitchFamily="18" charset="0"/>
                <a:cs typeface="Times New Roman" panose="02020603050405020304" pitchFamily="18" charset="0"/>
              </a:rPr>
              <a:t>Ulaşım </a:t>
            </a:r>
            <a:r>
              <a:rPr dirty="0" err="1">
                <a:solidFill>
                  <a:srgbClr val="000000"/>
                </a:solidFill>
                <a:effectLst/>
                <a:ea typeface="Times New Roman" panose="02020603050405020304" pitchFamily="18" charset="0"/>
                <a:cs typeface="Times New Roman" panose="02020603050405020304" pitchFamily="18" charset="0"/>
              </a:rPr>
              <a:t>planlamasının</a:t>
            </a:r>
            <a:r>
              <a:rPr dirty="0">
                <a:solidFill>
                  <a:srgbClr val="000000"/>
                </a:solidFill>
                <a:effectLst/>
                <a:ea typeface="Times New Roman" panose="02020603050405020304" pitchFamily="18" charset="0"/>
                <a:cs typeface="Times New Roman" panose="02020603050405020304" pitchFamily="18" charset="0"/>
              </a:rPr>
              <a:t> </a:t>
            </a:r>
            <a:r>
              <a:rPr dirty="0" err="1">
                <a:solidFill>
                  <a:srgbClr val="000000"/>
                </a:solidFill>
                <a:effectLst/>
                <a:ea typeface="Times New Roman" panose="02020603050405020304" pitchFamily="18" charset="0"/>
                <a:cs typeface="Times New Roman" panose="02020603050405020304" pitchFamily="18" charset="0"/>
              </a:rPr>
              <a:t>temel</a:t>
            </a:r>
            <a:r>
              <a:rPr dirty="0">
                <a:solidFill>
                  <a:srgbClr val="000000"/>
                </a:solidFill>
                <a:effectLst/>
                <a:ea typeface="Times New Roman" panose="02020603050405020304" pitchFamily="18" charset="0"/>
                <a:cs typeface="Times New Roman" panose="02020603050405020304" pitchFamily="18" charset="0"/>
              </a:rPr>
              <a:t> </a:t>
            </a:r>
            <a:r>
              <a:rPr dirty="0" err="1">
                <a:solidFill>
                  <a:srgbClr val="000000"/>
                </a:solidFill>
                <a:effectLst/>
                <a:ea typeface="Times New Roman" panose="02020603050405020304" pitchFamily="18" charset="0"/>
                <a:cs typeface="Times New Roman" panose="02020603050405020304" pitchFamily="18" charset="0"/>
              </a:rPr>
              <a:t>ilkelerine</a:t>
            </a:r>
            <a:r>
              <a:rPr lang="tr-TR" dirty="0">
                <a:solidFill>
                  <a:srgbClr val="000000"/>
                </a:solidFill>
                <a:effectLst/>
                <a:ea typeface="Times New Roman" panose="02020603050405020304" pitchFamily="18" charset="0"/>
                <a:cs typeface="Times New Roman" panose="02020603050405020304" pitchFamily="18" charset="0"/>
              </a:rPr>
              <a:t> </a:t>
            </a:r>
            <a:r>
              <a:rPr dirty="0" err="1"/>
              <a:t>giriş</a:t>
            </a:r>
            <a:endParaRPr lang="en-US" sz="3600" b="1" dirty="0">
              <a:ea typeface="MS Mincho" panose="02020609040205080304" pitchFamily="49" charset="-128"/>
              <a:cs typeface="Calibri" panose="020F0502020204030204" pitchFamily="34" charset="0"/>
            </a:endParaRPr>
          </a:p>
        </p:txBody>
      </p:sp>
      <p:sp>
        <p:nvSpPr>
          <p:cNvPr id="2" name="TextBox 1">
            <a:extLst>
              <a:ext uri="{FF2B5EF4-FFF2-40B4-BE49-F238E27FC236}">
                <a16:creationId xmlns:a16="http://schemas.microsoft.com/office/drawing/2014/main" id="{33D25691-1A2A-3862-2B23-9E8866076CE3}"/>
              </a:ext>
            </a:extLst>
          </p:cNvPr>
          <p:cNvSpPr txBox="1"/>
          <p:nvPr/>
        </p:nvSpPr>
        <p:spPr>
          <a:xfrm>
            <a:off x="781616" y="3123446"/>
            <a:ext cx="7895853" cy="2800767"/>
          </a:xfrm>
          <a:prstGeom prst="rect">
            <a:avLst/>
          </a:prstGeom>
          <a:noFill/>
        </p:spPr>
        <p:txBody>
          <a:bodyPr wrap="square">
            <a:spAutoFit/>
          </a:bodyPr>
          <a:lstStyle/>
          <a:p>
            <a:pPr algn="just">
              <a:defRPr sz="1600"/>
            </a:pPr>
            <a:r>
              <a:rPr lang="en-US" dirty="0"/>
              <a:t>Kentsel </a:t>
            </a:r>
            <a:r>
              <a:rPr lang="en-US" dirty="0" err="1"/>
              <a:t>ulaşım</a:t>
            </a:r>
            <a:r>
              <a:rPr lang="en-US" dirty="0"/>
              <a:t> </a:t>
            </a:r>
            <a:r>
              <a:rPr lang="en-US" dirty="0" err="1"/>
              <a:t>planlamasının</a:t>
            </a:r>
            <a:r>
              <a:rPr lang="en-US" dirty="0"/>
              <a:t> </a:t>
            </a:r>
            <a:r>
              <a:rPr lang="en-US" dirty="0" err="1"/>
              <a:t>temel</a:t>
            </a:r>
            <a:r>
              <a:rPr lang="en-US" dirty="0"/>
              <a:t> </a:t>
            </a:r>
            <a:r>
              <a:rPr lang="en-US" dirty="0" err="1"/>
              <a:t>ilkelerine</a:t>
            </a:r>
            <a:r>
              <a:rPr lang="en-US" dirty="0"/>
              <a:t> </a:t>
            </a:r>
            <a:r>
              <a:rPr lang="en-US" dirty="0" err="1"/>
              <a:t>hoş</a:t>
            </a:r>
            <a:r>
              <a:rPr lang="en-US" dirty="0"/>
              <a:t> </a:t>
            </a:r>
            <a:r>
              <a:rPr lang="en-US" dirty="0" err="1"/>
              <a:t>geldiniz</a:t>
            </a:r>
            <a:r>
              <a:rPr lang="en-US" dirty="0"/>
              <a:t>. Bu </a:t>
            </a:r>
            <a:r>
              <a:rPr lang="en-US" dirty="0" err="1"/>
              <a:t>bölümde</a:t>
            </a:r>
            <a:r>
              <a:rPr lang="en-US" dirty="0"/>
              <a:t>, </a:t>
            </a:r>
            <a:r>
              <a:rPr lang="en-US" dirty="0" err="1"/>
              <a:t>ulaşım</a:t>
            </a:r>
            <a:r>
              <a:rPr lang="en-US" dirty="0"/>
              <a:t> </a:t>
            </a:r>
            <a:r>
              <a:rPr lang="en-US" dirty="0" err="1"/>
              <a:t>planlamasının</a:t>
            </a:r>
            <a:r>
              <a:rPr lang="en-US" dirty="0"/>
              <a:t> </a:t>
            </a:r>
            <a:r>
              <a:rPr lang="en-US" dirty="0" err="1"/>
              <a:t>teorik</a:t>
            </a:r>
            <a:r>
              <a:rPr lang="en-US" dirty="0"/>
              <a:t> </a:t>
            </a:r>
            <a:r>
              <a:rPr lang="en-US" dirty="0" err="1"/>
              <a:t>temelleri</a:t>
            </a:r>
            <a:r>
              <a:rPr lang="en-US" dirty="0"/>
              <a:t> </a:t>
            </a:r>
            <a:r>
              <a:rPr lang="en-US" dirty="0" err="1"/>
              <a:t>ve</a:t>
            </a:r>
            <a:r>
              <a:rPr lang="en-US" dirty="0"/>
              <a:t> </a:t>
            </a:r>
            <a:r>
              <a:rPr lang="en-US" dirty="0" err="1"/>
              <a:t>temel</a:t>
            </a:r>
            <a:r>
              <a:rPr lang="en-US" dirty="0"/>
              <a:t> </a:t>
            </a:r>
            <a:r>
              <a:rPr lang="en-US" dirty="0" err="1"/>
              <a:t>ilkeleri</a:t>
            </a:r>
            <a:r>
              <a:rPr lang="en-US" dirty="0"/>
              <a:t> </a:t>
            </a:r>
            <a:r>
              <a:rPr lang="en-US" dirty="0" err="1"/>
              <a:t>detaylı</a:t>
            </a:r>
            <a:r>
              <a:rPr lang="en-US" dirty="0"/>
              <a:t> </a:t>
            </a:r>
            <a:r>
              <a:rPr lang="en-US" dirty="0" err="1"/>
              <a:t>olarak</a:t>
            </a:r>
            <a:r>
              <a:rPr lang="en-US" dirty="0"/>
              <a:t> </a:t>
            </a:r>
            <a:r>
              <a:rPr lang="en-US" dirty="0" err="1"/>
              <a:t>ele</a:t>
            </a:r>
            <a:r>
              <a:rPr lang="en-US" dirty="0"/>
              <a:t> </a:t>
            </a:r>
            <a:r>
              <a:rPr lang="en-US" dirty="0" err="1"/>
              <a:t>alınacak</a:t>
            </a:r>
            <a:r>
              <a:rPr lang="en-US" dirty="0"/>
              <a:t>. </a:t>
            </a:r>
            <a:r>
              <a:rPr lang="en-US" dirty="0" err="1"/>
              <a:t>Seyahat</a:t>
            </a:r>
            <a:r>
              <a:rPr lang="en-US" dirty="0"/>
              <a:t> </a:t>
            </a:r>
            <a:r>
              <a:rPr lang="en-US" dirty="0" err="1"/>
              <a:t>talebi</a:t>
            </a:r>
            <a:r>
              <a:rPr lang="en-US" dirty="0"/>
              <a:t> </a:t>
            </a:r>
            <a:r>
              <a:rPr lang="en-US" dirty="0" err="1"/>
              <a:t>analizi</a:t>
            </a:r>
            <a:r>
              <a:rPr lang="en-US" dirty="0"/>
              <a:t>, </a:t>
            </a:r>
            <a:r>
              <a:rPr lang="en-US" dirty="0" err="1"/>
              <a:t>tahmin</a:t>
            </a:r>
            <a:r>
              <a:rPr lang="en-US" dirty="0"/>
              <a:t> </a:t>
            </a:r>
            <a:r>
              <a:rPr lang="en-US" dirty="0" err="1"/>
              <a:t>teknikleri</a:t>
            </a:r>
            <a:r>
              <a:rPr lang="en-US" dirty="0"/>
              <a:t>, </a:t>
            </a:r>
            <a:r>
              <a:rPr lang="en-US" dirty="0" err="1"/>
              <a:t>ulaşım</a:t>
            </a:r>
            <a:r>
              <a:rPr lang="en-US" dirty="0"/>
              <a:t> </a:t>
            </a:r>
            <a:r>
              <a:rPr lang="en-US" dirty="0" err="1"/>
              <a:t>modları</a:t>
            </a:r>
            <a:r>
              <a:rPr lang="en-US" dirty="0"/>
              <a:t>, </a:t>
            </a:r>
            <a:r>
              <a:rPr lang="en-US" dirty="0" err="1"/>
              <a:t>otopark</a:t>
            </a:r>
            <a:r>
              <a:rPr lang="en-US" dirty="0"/>
              <a:t> </a:t>
            </a:r>
            <a:r>
              <a:rPr lang="en-US" dirty="0" err="1"/>
              <a:t>yönetimi</a:t>
            </a:r>
            <a:r>
              <a:rPr lang="en-US" dirty="0"/>
              <a:t>, </a:t>
            </a:r>
            <a:r>
              <a:rPr lang="en-US" dirty="0" err="1"/>
              <a:t>kentsel</a:t>
            </a:r>
            <a:r>
              <a:rPr lang="en-US" dirty="0"/>
              <a:t> </a:t>
            </a:r>
            <a:r>
              <a:rPr lang="en-US" dirty="0" err="1"/>
              <a:t>planlama</a:t>
            </a:r>
            <a:r>
              <a:rPr lang="en-US" dirty="0"/>
              <a:t>, </a:t>
            </a:r>
            <a:r>
              <a:rPr lang="en-US" dirty="0" err="1"/>
              <a:t>kent</a:t>
            </a:r>
            <a:r>
              <a:rPr lang="en-US" dirty="0"/>
              <a:t> </a:t>
            </a:r>
            <a:r>
              <a:rPr lang="en-US" dirty="0" err="1"/>
              <a:t>lojistiği</a:t>
            </a:r>
            <a:r>
              <a:rPr lang="en-US" dirty="0"/>
              <a:t>, </a:t>
            </a:r>
            <a:r>
              <a:rPr lang="en-US" dirty="0" err="1"/>
              <a:t>paylaşımlı</a:t>
            </a:r>
            <a:r>
              <a:rPr lang="en-US" dirty="0"/>
              <a:t> </a:t>
            </a:r>
            <a:r>
              <a:rPr lang="en-US" dirty="0" err="1"/>
              <a:t>hareketlilik</a:t>
            </a:r>
            <a:r>
              <a:rPr lang="en-US" dirty="0"/>
              <a:t> </a:t>
            </a:r>
            <a:r>
              <a:rPr lang="en-US" dirty="0" err="1"/>
              <a:t>ve</a:t>
            </a:r>
            <a:r>
              <a:rPr lang="en-US" dirty="0"/>
              <a:t> </a:t>
            </a:r>
            <a:r>
              <a:rPr lang="en-US" dirty="0" err="1"/>
              <a:t>akıllı</a:t>
            </a:r>
            <a:r>
              <a:rPr lang="en-US" dirty="0"/>
              <a:t> </a:t>
            </a:r>
            <a:r>
              <a:rPr lang="en-US" dirty="0" err="1"/>
              <a:t>ulaşım</a:t>
            </a:r>
            <a:r>
              <a:rPr lang="en-US" dirty="0"/>
              <a:t> </a:t>
            </a:r>
            <a:r>
              <a:rPr lang="en-US" dirty="0" err="1"/>
              <a:t>sistemleri</a:t>
            </a:r>
            <a:r>
              <a:rPr lang="en-US" dirty="0"/>
              <a:t> </a:t>
            </a:r>
            <a:r>
              <a:rPr lang="en-US" dirty="0" err="1"/>
              <a:t>üzerinde</a:t>
            </a:r>
            <a:r>
              <a:rPr lang="en-US" dirty="0"/>
              <a:t> </a:t>
            </a:r>
            <a:r>
              <a:rPr lang="en-US" dirty="0" err="1"/>
              <a:t>duracağız</a:t>
            </a:r>
            <a:r>
              <a:rPr lang="en-US" dirty="0"/>
              <a:t>.</a:t>
            </a:r>
          </a:p>
          <a:p>
            <a:pPr algn="just">
              <a:defRPr sz="1600"/>
            </a:pPr>
            <a:endParaRPr lang="en-US" dirty="0"/>
          </a:p>
          <a:p>
            <a:pPr algn="just">
              <a:defRPr sz="1600"/>
            </a:pPr>
            <a:r>
              <a:rPr lang="en-US" dirty="0" err="1"/>
              <a:t>Farklı</a:t>
            </a:r>
            <a:r>
              <a:rPr lang="en-US" dirty="0"/>
              <a:t> </a:t>
            </a:r>
            <a:r>
              <a:rPr lang="en-US" dirty="0" err="1"/>
              <a:t>modeller</a:t>
            </a:r>
            <a:r>
              <a:rPr lang="en-US" dirty="0"/>
              <a:t> </a:t>
            </a:r>
            <a:r>
              <a:rPr lang="en-US" dirty="0" err="1"/>
              <a:t>ve</a:t>
            </a:r>
            <a:r>
              <a:rPr lang="en-US" dirty="0"/>
              <a:t> </a:t>
            </a:r>
            <a:r>
              <a:rPr lang="en-US" dirty="0" err="1"/>
              <a:t>metodolojiler</a:t>
            </a:r>
            <a:r>
              <a:rPr lang="en-US" dirty="0"/>
              <a:t> </a:t>
            </a:r>
            <a:r>
              <a:rPr lang="en-US" dirty="0" err="1"/>
              <a:t>aracılığıyla</a:t>
            </a:r>
            <a:r>
              <a:rPr lang="en-US" dirty="0"/>
              <a:t> </a:t>
            </a:r>
            <a:r>
              <a:rPr lang="en-US" dirty="0" err="1"/>
              <a:t>gelecekteki</a:t>
            </a:r>
            <a:r>
              <a:rPr lang="en-US" dirty="0"/>
              <a:t> </a:t>
            </a:r>
            <a:r>
              <a:rPr lang="en-US" dirty="0" err="1"/>
              <a:t>ulaşım</a:t>
            </a:r>
            <a:r>
              <a:rPr lang="en-US" dirty="0"/>
              <a:t> </a:t>
            </a:r>
            <a:r>
              <a:rPr lang="en-US" dirty="0" err="1"/>
              <a:t>ihtiyaçlarının</a:t>
            </a:r>
            <a:r>
              <a:rPr lang="en-US" dirty="0"/>
              <a:t> </a:t>
            </a:r>
            <a:r>
              <a:rPr lang="en-US" dirty="0" err="1"/>
              <a:t>nasıl</a:t>
            </a:r>
            <a:r>
              <a:rPr lang="en-US" dirty="0"/>
              <a:t> </a:t>
            </a:r>
            <a:r>
              <a:rPr lang="en-US" dirty="0" err="1"/>
              <a:t>öngörüldüğünü</a:t>
            </a:r>
            <a:r>
              <a:rPr lang="en-US" dirty="0"/>
              <a:t> </a:t>
            </a:r>
            <a:r>
              <a:rPr lang="en-US" dirty="0" err="1"/>
              <a:t>değerlendireceğiz</a:t>
            </a:r>
            <a:r>
              <a:rPr lang="en-US" dirty="0"/>
              <a:t>. </a:t>
            </a:r>
            <a:r>
              <a:rPr lang="en-US" dirty="0" err="1"/>
              <a:t>Ayrıca</a:t>
            </a:r>
            <a:r>
              <a:rPr lang="en-US" dirty="0"/>
              <a:t>, </a:t>
            </a:r>
            <a:r>
              <a:rPr lang="en-US" dirty="0" err="1"/>
              <a:t>maliyet-fayda</a:t>
            </a:r>
            <a:r>
              <a:rPr lang="en-US" dirty="0"/>
              <a:t> </a:t>
            </a:r>
            <a:r>
              <a:rPr lang="en-US" dirty="0" err="1"/>
              <a:t>analizi</a:t>
            </a:r>
            <a:r>
              <a:rPr lang="en-US" dirty="0"/>
              <a:t>, </a:t>
            </a:r>
            <a:r>
              <a:rPr lang="en-US" dirty="0" err="1"/>
              <a:t>çevresel</a:t>
            </a:r>
            <a:r>
              <a:rPr lang="en-US" dirty="0"/>
              <a:t> </a:t>
            </a:r>
            <a:r>
              <a:rPr lang="en-US" dirty="0" err="1"/>
              <a:t>etki</a:t>
            </a:r>
            <a:r>
              <a:rPr lang="en-US" dirty="0"/>
              <a:t> </a:t>
            </a:r>
            <a:r>
              <a:rPr lang="en-US" dirty="0" err="1"/>
              <a:t>değerlendirmeleri</a:t>
            </a:r>
            <a:r>
              <a:rPr lang="en-US" dirty="0"/>
              <a:t> </a:t>
            </a:r>
            <a:r>
              <a:rPr lang="en-US" dirty="0" err="1"/>
              <a:t>ve</a:t>
            </a:r>
            <a:r>
              <a:rPr lang="en-US" dirty="0"/>
              <a:t> net </a:t>
            </a:r>
            <a:r>
              <a:rPr lang="en-US" dirty="0" err="1"/>
              <a:t>varlık</a:t>
            </a:r>
            <a:r>
              <a:rPr lang="en-US" dirty="0"/>
              <a:t> </a:t>
            </a:r>
            <a:r>
              <a:rPr lang="en-US" dirty="0" err="1"/>
              <a:t>değerlendirmeleri</a:t>
            </a:r>
            <a:r>
              <a:rPr lang="en-US" dirty="0"/>
              <a:t> </a:t>
            </a:r>
            <a:r>
              <a:rPr lang="en-US" dirty="0" err="1"/>
              <a:t>gibi</a:t>
            </a:r>
            <a:r>
              <a:rPr lang="en-US" dirty="0"/>
              <a:t> </a:t>
            </a:r>
            <a:r>
              <a:rPr lang="en-US" dirty="0" err="1"/>
              <a:t>faktörlerle</a:t>
            </a:r>
            <a:r>
              <a:rPr lang="en-US" dirty="0"/>
              <a:t> </a:t>
            </a:r>
            <a:r>
              <a:rPr lang="en-US" dirty="0" err="1"/>
              <a:t>ulaşım</a:t>
            </a:r>
            <a:r>
              <a:rPr lang="en-US" dirty="0"/>
              <a:t> </a:t>
            </a:r>
            <a:r>
              <a:rPr lang="en-US" dirty="0" err="1"/>
              <a:t>projelerinin</a:t>
            </a:r>
            <a:r>
              <a:rPr lang="en-US" dirty="0"/>
              <a:t> </a:t>
            </a:r>
            <a:r>
              <a:rPr lang="en-US" dirty="0" err="1"/>
              <a:t>değerlendirmesini</a:t>
            </a:r>
            <a:r>
              <a:rPr lang="en-US" dirty="0"/>
              <a:t> </a:t>
            </a:r>
            <a:r>
              <a:rPr lang="en-US" dirty="0" err="1"/>
              <a:t>gerçekleştireceğiz</a:t>
            </a:r>
            <a:r>
              <a:rPr lang="en-US" dirty="0"/>
              <a:t>. </a:t>
            </a:r>
            <a:r>
              <a:rPr lang="en-US" dirty="0" err="1"/>
              <a:t>Özellikle</a:t>
            </a:r>
            <a:r>
              <a:rPr lang="en-US" dirty="0"/>
              <a:t> </a:t>
            </a:r>
            <a:r>
              <a:rPr lang="en-US" dirty="0" err="1"/>
              <a:t>Ankara'daki</a:t>
            </a:r>
            <a:r>
              <a:rPr lang="en-US" dirty="0"/>
              <a:t> </a:t>
            </a:r>
            <a:r>
              <a:rPr lang="en-US" dirty="0" err="1"/>
              <a:t>ulaşım</a:t>
            </a:r>
            <a:r>
              <a:rPr lang="en-US" dirty="0"/>
              <a:t> </a:t>
            </a:r>
            <a:r>
              <a:rPr lang="en-US" dirty="0" err="1"/>
              <a:t>planlaması</a:t>
            </a:r>
            <a:r>
              <a:rPr lang="en-US" dirty="0"/>
              <a:t> </a:t>
            </a:r>
            <a:r>
              <a:rPr lang="en-US" dirty="0" err="1"/>
              <a:t>üzerine</a:t>
            </a:r>
            <a:r>
              <a:rPr lang="en-US" dirty="0"/>
              <a:t> </a:t>
            </a:r>
            <a:r>
              <a:rPr lang="en-US" dirty="0" err="1"/>
              <a:t>yoğunlaşacağız</a:t>
            </a:r>
            <a:r>
              <a:rPr lang="en-US" dirty="0"/>
              <a:t>.</a:t>
            </a:r>
          </a:p>
          <a:p>
            <a:pPr algn="just">
              <a:defRPr sz="1600"/>
            </a:pPr>
            <a:endParaRPr lang="en-US" dirty="0"/>
          </a:p>
        </p:txBody>
      </p:sp>
      <p:pic>
        <p:nvPicPr>
          <p:cNvPr id="5" name="Picture 4" descr="A picture containing clothing, footwear, dress, cartoon  Description automatically generated">
            <a:extLst>
              <a:ext uri="{FF2B5EF4-FFF2-40B4-BE49-F238E27FC236}">
                <a16:creationId xmlns:a16="http://schemas.microsoft.com/office/drawing/2014/main" id="{7FBA9E64-572E-B307-9E8A-8021F15BB1E8}"/>
              </a:ext>
            </a:extLst>
          </p:cNvPr>
          <p:cNvPicPr>
            <a:picLocks noChangeAspect="1"/>
          </p:cNvPicPr>
          <p:nvPr/>
        </p:nvPicPr>
        <p:blipFill>
          <a:blip r:embed="rId4"/>
          <a:stretch>
            <a:fillRect/>
          </a:stretch>
        </p:blipFill>
        <p:spPr>
          <a:xfrm>
            <a:off x="8840195" y="1920290"/>
            <a:ext cx="3258577" cy="3312437"/>
          </a:xfrm>
          <a:prstGeom prst="rect">
            <a:avLst/>
          </a:prstGeom>
        </p:spPr>
      </p:pic>
    </p:spTree>
    <p:extLst>
      <p:ext uri="{BB962C8B-B14F-4D97-AF65-F5344CB8AC3E}">
        <p14:creationId xmlns:p14="http://schemas.microsoft.com/office/powerpoint/2010/main" val="365264081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BF3ABE35-5E67-2D38-8AA2-486190DE4BEF}"/>
              </a:ext>
            </a:extLst>
          </p:cNvPr>
          <p:cNvGraphicFramePr/>
          <p:nvPr>
            <p:extLst>
              <p:ext uri="{D42A27DB-BD31-4B8C-83A1-F6EECF244321}">
                <p14:modId xmlns:p14="http://schemas.microsoft.com/office/powerpoint/2010/main" val="3383046034"/>
              </p:ext>
            </p:extLst>
          </p:nvPr>
        </p:nvGraphicFramePr>
        <p:xfrm>
          <a:off x="241300" y="101600"/>
          <a:ext cx="12179300" cy="70155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ekstniOkvir 3">
            <a:extLst>
              <a:ext uri="{FF2B5EF4-FFF2-40B4-BE49-F238E27FC236}">
                <a16:creationId xmlns:a16="http://schemas.microsoft.com/office/drawing/2014/main" id="{CF5ED112-659E-11FA-5E1E-185D5C3E5BD8}"/>
              </a:ext>
            </a:extLst>
          </p:cNvPr>
          <p:cNvSpPr txBox="1"/>
          <p:nvPr/>
        </p:nvSpPr>
        <p:spPr>
          <a:xfrm>
            <a:off x="3728140" y="3286217"/>
            <a:ext cx="4735719" cy="646331"/>
          </a:xfrm>
          <a:prstGeom prst="rect">
            <a:avLst/>
          </a:prstGeom>
          <a:noFill/>
        </p:spPr>
        <p:txBody>
          <a:bodyPr wrap="square">
            <a:spAutoFit/>
          </a:bodyPr>
          <a:lstStyle/>
          <a:p>
            <a:pPr lvl="0">
              <a:defRPr sz="3600"/>
            </a:pPr>
            <a:r>
              <a:t>Ulaşım planlaması </a:t>
            </a:r>
          </a:p>
        </p:txBody>
      </p:sp>
    </p:spTree>
    <p:extLst>
      <p:ext uri="{BB962C8B-B14F-4D97-AF65-F5344CB8AC3E}">
        <p14:creationId xmlns:p14="http://schemas.microsoft.com/office/powerpoint/2010/main" val="17037659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TekstniOkvir 3">
            <a:extLst>
              <a:ext uri="{FF2B5EF4-FFF2-40B4-BE49-F238E27FC236}">
                <a16:creationId xmlns:a16="http://schemas.microsoft.com/office/drawing/2014/main" id="{CF5ED112-659E-11FA-5E1E-185D5C3E5BD8}"/>
              </a:ext>
            </a:extLst>
          </p:cNvPr>
          <p:cNvSpPr txBox="1"/>
          <p:nvPr/>
        </p:nvSpPr>
        <p:spPr>
          <a:xfrm>
            <a:off x="0" y="889996"/>
            <a:ext cx="5667470" cy="646331"/>
          </a:xfrm>
          <a:prstGeom prst="rect">
            <a:avLst/>
          </a:prstGeom>
          <a:noFill/>
        </p:spPr>
        <p:txBody>
          <a:bodyPr wrap="square">
            <a:spAutoFit/>
          </a:bodyPr>
          <a:lstStyle/>
          <a:p>
            <a:pPr algn="ctr">
              <a:defRPr sz="3600"/>
            </a:pPr>
            <a:r>
              <a:rPr dirty="0" err="1"/>
              <a:t>Neleri</a:t>
            </a:r>
            <a:r>
              <a:rPr dirty="0"/>
              <a:t> </a:t>
            </a:r>
            <a:r>
              <a:rPr dirty="0" err="1"/>
              <a:t>kapsayacak</a:t>
            </a:r>
            <a:r>
              <a:rPr dirty="0"/>
              <a:t>?</a:t>
            </a:r>
            <a:endParaRPr lang="hr-HR" sz="3600" b="1" dirty="0">
              <a:ea typeface="MS Mincho" panose="02020609040205080304" pitchFamily="49" charset="-128"/>
              <a:cs typeface="Calibri" panose="020F0502020204030204" pitchFamily="34" charset="0"/>
            </a:endParaRPr>
          </a:p>
        </p:txBody>
      </p:sp>
      <p:sp>
        <p:nvSpPr>
          <p:cNvPr id="2" name="TextBox 1">
            <a:extLst>
              <a:ext uri="{FF2B5EF4-FFF2-40B4-BE49-F238E27FC236}">
                <a16:creationId xmlns:a16="http://schemas.microsoft.com/office/drawing/2014/main" id="{33D25691-1A2A-3862-2B23-9E8866076CE3}"/>
              </a:ext>
            </a:extLst>
          </p:cNvPr>
          <p:cNvSpPr txBox="1"/>
          <p:nvPr/>
        </p:nvSpPr>
        <p:spPr>
          <a:xfrm>
            <a:off x="464082" y="1689910"/>
            <a:ext cx="8328356" cy="4478149"/>
          </a:xfrm>
          <a:prstGeom prst="rect">
            <a:avLst/>
          </a:prstGeom>
          <a:noFill/>
        </p:spPr>
        <p:txBody>
          <a:bodyPr wrap="square">
            <a:spAutoFit/>
          </a:bodyPr>
          <a:lstStyle/>
          <a:p>
            <a:pPr algn="just">
              <a:defRPr sz="1600"/>
            </a:pPr>
            <a:r>
              <a:rPr lang="en-US" sz="1500" dirty="0"/>
              <a:t>Ulaşım </a:t>
            </a:r>
            <a:r>
              <a:rPr lang="en-US" sz="1500" dirty="0" err="1"/>
              <a:t>planlaması</a:t>
            </a:r>
            <a:r>
              <a:rPr lang="en-US" sz="1500" dirty="0"/>
              <a:t>, </a:t>
            </a:r>
            <a:r>
              <a:rPr lang="en-US" sz="1500" dirty="0" err="1"/>
              <a:t>kentsel</a:t>
            </a:r>
            <a:r>
              <a:rPr lang="en-US" sz="1500" dirty="0"/>
              <a:t> </a:t>
            </a:r>
            <a:r>
              <a:rPr lang="en-US" sz="1500" dirty="0" err="1"/>
              <a:t>ve</a:t>
            </a:r>
            <a:r>
              <a:rPr lang="en-US" sz="1500" dirty="0"/>
              <a:t> </a:t>
            </a:r>
            <a:r>
              <a:rPr lang="en-US" sz="1500" dirty="0" err="1"/>
              <a:t>bölgesel</a:t>
            </a:r>
            <a:r>
              <a:rPr lang="en-US" sz="1500" dirty="0"/>
              <a:t> </a:t>
            </a:r>
            <a:r>
              <a:rPr lang="en-US" sz="1500" dirty="0" err="1"/>
              <a:t>planlamanın</a:t>
            </a:r>
            <a:r>
              <a:rPr lang="en-US" sz="1500" dirty="0"/>
              <a:t> </a:t>
            </a:r>
            <a:r>
              <a:rPr lang="en-US" sz="1500" dirty="0" err="1"/>
              <a:t>önemli</a:t>
            </a:r>
            <a:r>
              <a:rPr lang="en-US" sz="1500" dirty="0"/>
              <a:t> </a:t>
            </a:r>
            <a:r>
              <a:rPr lang="en-US" sz="1500" dirty="0" err="1"/>
              <a:t>bir</a:t>
            </a:r>
            <a:r>
              <a:rPr lang="en-US" sz="1500" dirty="0"/>
              <a:t> </a:t>
            </a:r>
            <a:r>
              <a:rPr lang="en-US" sz="1500" dirty="0" err="1"/>
              <a:t>kısmını</a:t>
            </a:r>
            <a:r>
              <a:rPr lang="en-US" sz="1500" dirty="0"/>
              <a:t> </a:t>
            </a:r>
            <a:r>
              <a:rPr lang="en-US" sz="1500" dirty="0" err="1"/>
              <a:t>oluşturur</a:t>
            </a:r>
            <a:r>
              <a:rPr lang="en-US" sz="1500" dirty="0"/>
              <a:t>. </a:t>
            </a:r>
            <a:r>
              <a:rPr lang="en-US" sz="1500" dirty="0" err="1"/>
              <a:t>Verimli</a:t>
            </a:r>
            <a:r>
              <a:rPr lang="en-US" sz="1500" dirty="0"/>
              <a:t> </a:t>
            </a:r>
            <a:r>
              <a:rPr lang="en-US" sz="1500" dirty="0" err="1"/>
              <a:t>bir</a:t>
            </a:r>
            <a:r>
              <a:rPr lang="en-US" sz="1500" dirty="0"/>
              <a:t> </a:t>
            </a:r>
            <a:r>
              <a:rPr lang="en-US" sz="1500" dirty="0" err="1"/>
              <a:t>ulaşım</a:t>
            </a:r>
            <a:r>
              <a:rPr lang="en-US" sz="1500" dirty="0"/>
              <a:t> </a:t>
            </a:r>
            <a:r>
              <a:rPr lang="en-US" sz="1500" dirty="0" err="1"/>
              <a:t>planlaması</a:t>
            </a:r>
            <a:r>
              <a:rPr lang="en-US" sz="1500" dirty="0"/>
              <a:t>; </a:t>
            </a:r>
            <a:r>
              <a:rPr lang="en-US" sz="1500" dirty="0" err="1"/>
              <a:t>hareket</a:t>
            </a:r>
            <a:r>
              <a:rPr lang="en-US" sz="1500" dirty="0"/>
              <a:t> </a:t>
            </a:r>
            <a:r>
              <a:rPr lang="en-US" sz="1500" dirty="0" err="1"/>
              <a:t>özgürlüğünün</a:t>
            </a:r>
            <a:r>
              <a:rPr lang="en-US" sz="1500" dirty="0"/>
              <a:t> </a:t>
            </a:r>
            <a:r>
              <a:rPr lang="en-US" sz="1500" dirty="0" err="1"/>
              <a:t>artmasını</a:t>
            </a:r>
            <a:r>
              <a:rPr lang="en-US" sz="1500" dirty="0"/>
              <a:t>, </a:t>
            </a:r>
            <a:r>
              <a:rPr lang="en-US" sz="1500" dirty="0" err="1"/>
              <a:t>trafik</a:t>
            </a:r>
            <a:r>
              <a:rPr lang="en-US" sz="1500" dirty="0"/>
              <a:t> </a:t>
            </a:r>
            <a:r>
              <a:rPr lang="en-US" sz="1500" dirty="0" err="1"/>
              <a:t>sıkışıklığının</a:t>
            </a:r>
            <a:r>
              <a:rPr lang="en-US" sz="1500" dirty="0"/>
              <a:t> </a:t>
            </a:r>
            <a:r>
              <a:rPr lang="en-US" sz="1500" dirty="0" err="1"/>
              <a:t>azalmasını</a:t>
            </a:r>
            <a:r>
              <a:rPr lang="en-US" sz="1500" dirty="0"/>
              <a:t>, </a:t>
            </a:r>
            <a:r>
              <a:rPr lang="en-US" sz="1500" dirty="0" err="1"/>
              <a:t>erişilebilirliğin</a:t>
            </a:r>
            <a:r>
              <a:rPr lang="en-US" sz="1500" dirty="0"/>
              <a:t> </a:t>
            </a:r>
            <a:r>
              <a:rPr lang="en-US" sz="1500" dirty="0" err="1"/>
              <a:t>gelişmesini</a:t>
            </a:r>
            <a:r>
              <a:rPr lang="en-US" sz="1500" dirty="0"/>
              <a:t> </a:t>
            </a:r>
            <a:r>
              <a:rPr lang="en-US" sz="1500" dirty="0" err="1"/>
              <a:t>ve</a:t>
            </a:r>
            <a:r>
              <a:rPr lang="en-US" sz="1500" dirty="0"/>
              <a:t> </a:t>
            </a:r>
            <a:r>
              <a:rPr lang="en-US" sz="1500" dirty="0" err="1"/>
              <a:t>daha</a:t>
            </a:r>
            <a:r>
              <a:rPr lang="en-US" sz="1500" dirty="0"/>
              <a:t> </a:t>
            </a:r>
            <a:r>
              <a:rPr lang="en-US" sz="1500" dirty="0" err="1"/>
              <a:t>sürdürülebilir</a:t>
            </a:r>
            <a:r>
              <a:rPr lang="en-US" sz="1500" dirty="0"/>
              <a:t>, </a:t>
            </a:r>
            <a:r>
              <a:rPr lang="en-US" sz="1500" dirty="0" err="1"/>
              <a:t>yaşanabilir</a:t>
            </a:r>
            <a:r>
              <a:rPr lang="en-US" sz="1500" dirty="0"/>
              <a:t> </a:t>
            </a:r>
            <a:r>
              <a:rPr lang="en-US" sz="1500" dirty="0" err="1"/>
              <a:t>bir</a:t>
            </a:r>
            <a:r>
              <a:rPr lang="en-US" sz="1500" dirty="0"/>
              <a:t> </a:t>
            </a:r>
            <a:r>
              <a:rPr lang="en-US" sz="1500" dirty="0" err="1"/>
              <a:t>kent</a:t>
            </a:r>
            <a:r>
              <a:rPr lang="en-US" sz="1500" dirty="0"/>
              <a:t> </a:t>
            </a:r>
            <a:r>
              <a:rPr lang="en-US" sz="1500" dirty="0" err="1"/>
              <a:t>oluşmasını</a:t>
            </a:r>
            <a:r>
              <a:rPr lang="en-US" sz="1500" dirty="0"/>
              <a:t> </a:t>
            </a:r>
            <a:r>
              <a:rPr lang="en-US" sz="1500" dirty="0" err="1"/>
              <a:t>sağlayabilir</a:t>
            </a:r>
            <a:r>
              <a:rPr lang="en-US" sz="1500" dirty="0"/>
              <a:t>. </a:t>
            </a:r>
            <a:r>
              <a:rPr lang="en-US" sz="1500" dirty="0" err="1"/>
              <a:t>Özellikle</a:t>
            </a:r>
            <a:r>
              <a:rPr lang="en-US" sz="1500" dirty="0"/>
              <a:t> </a:t>
            </a:r>
            <a:r>
              <a:rPr lang="en-US" sz="1500" dirty="0" err="1"/>
              <a:t>hızlı</a:t>
            </a:r>
            <a:r>
              <a:rPr lang="en-US" sz="1500" dirty="0"/>
              <a:t> </a:t>
            </a:r>
            <a:r>
              <a:rPr lang="en-US" sz="1500" dirty="0" err="1"/>
              <a:t>büyüme</a:t>
            </a:r>
            <a:r>
              <a:rPr lang="en-US" sz="1500" dirty="0"/>
              <a:t> </a:t>
            </a:r>
            <a:r>
              <a:rPr lang="en-US" sz="1500" dirty="0" err="1"/>
              <a:t>ve</a:t>
            </a:r>
            <a:r>
              <a:rPr lang="en-US" sz="1500" dirty="0"/>
              <a:t> </a:t>
            </a:r>
            <a:r>
              <a:rPr lang="en-US" sz="1500" dirty="0" err="1"/>
              <a:t>artan</a:t>
            </a:r>
            <a:r>
              <a:rPr lang="en-US" sz="1500" dirty="0"/>
              <a:t> </a:t>
            </a:r>
            <a:r>
              <a:rPr lang="en-US" sz="1500" dirty="0" err="1"/>
              <a:t>ulaşım</a:t>
            </a:r>
            <a:r>
              <a:rPr lang="en-US" sz="1500" dirty="0"/>
              <a:t> </a:t>
            </a:r>
            <a:r>
              <a:rPr lang="en-US" sz="1500" dirty="0" err="1"/>
              <a:t>talebi</a:t>
            </a:r>
            <a:r>
              <a:rPr lang="en-US" sz="1500" dirty="0"/>
              <a:t> </a:t>
            </a:r>
            <a:r>
              <a:rPr lang="en-US" sz="1500" dirty="0" err="1"/>
              <a:t>sebebiyle</a:t>
            </a:r>
            <a:r>
              <a:rPr lang="en-US" sz="1500" dirty="0"/>
              <a:t>, </a:t>
            </a:r>
            <a:r>
              <a:rPr lang="en-US" sz="1500" dirty="0" err="1"/>
              <a:t>Ankara'nın</a:t>
            </a:r>
            <a:r>
              <a:rPr lang="en-US" sz="1500" dirty="0"/>
              <a:t> </a:t>
            </a:r>
            <a:r>
              <a:rPr lang="en-US" sz="1500" dirty="0" err="1"/>
              <a:t>ulaşım</a:t>
            </a:r>
            <a:r>
              <a:rPr lang="en-US" sz="1500" dirty="0"/>
              <a:t> </a:t>
            </a:r>
            <a:r>
              <a:rPr lang="en-US" sz="1500" dirty="0" err="1"/>
              <a:t>planlaması</a:t>
            </a:r>
            <a:r>
              <a:rPr lang="en-US" sz="1500" dirty="0"/>
              <a:t> </a:t>
            </a:r>
            <a:r>
              <a:rPr lang="en-US" sz="1500" dirty="0" err="1"/>
              <a:t>büyük</a:t>
            </a:r>
            <a:r>
              <a:rPr lang="en-US" sz="1500" dirty="0"/>
              <a:t> </a:t>
            </a:r>
            <a:r>
              <a:rPr lang="en-US" sz="1500" dirty="0" err="1"/>
              <a:t>önem</a:t>
            </a:r>
            <a:r>
              <a:rPr lang="en-US" sz="1500" dirty="0"/>
              <a:t> </a:t>
            </a:r>
            <a:r>
              <a:rPr lang="en-US" sz="1500" dirty="0" err="1"/>
              <a:t>taşır</a:t>
            </a:r>
            <a:r>
              <a:rPr lang="en-US" sz="1500" dirty="0"/>
              <a:t>.</a:t>
            </a:r>
          </a:p>
          <a:p>
            <a:pPr algn="just">
              <a:defRPr sz="1600"/>
            </a:pPr>
            <a:endParaRPr lang="en-US" sz="1500" dirty="0"/>
          </a:p>
          <a:p>
            <a:pPr algn="just">
              <a:defRPr sz="1600"/>
            </a:pPr>
            <a:r>
              <a:rPr lang="en-US" sz="1500" dirty="0"/>
              <a:t>Bu </a:t>
            </a:r>
            <a:r>
              <a:rPr lang="en-US" sz="1500" dirty="0" err="1"/>
              <a:t>sunum</a:t>
            </a:r>
            <a:r>
              <a:rPr lang="en-US" sz="1500" dirty="0"/>
              <a:t>, </a:t>
            </a:r>
            <a:r>
              <a:rPr lang="en-US" sz="1500" dirty="0" err="1"/>
              <a:t>aşağıdaki</a:t>
            </a:r>
            <a:r>
              <a:rPr lang="en-US" sz="1500" dirty="0"/>
              <a:t> </a:t>
            </a:r>
            <a:r>
              <a:rPr lang="en-US" sz="1500" dirty="0" err="1"/>
              <a:t>ulaşım</a:t>
            </a:r>
            <a:r>
              <a:rPr lang="en-US" sz="1500" dirty="0"/>
              <a:t> </a:t>
            </a:r>
            <a:r>
              <a:rPr lang="en-US" sz="1500" dirty="0" err="1"/>
              <a:t>planlama</a:t>
            </a:r>
            <a:r>
              <a:rPr lang="en-US" sz="1500" dirty="0"/>
              <a:t> </a:t>
            </a:r>
            <a:r>
              <a:rPr lang="en-US" sz="1500" dirty="0" err="1"/>
              <a:t>ilkelerini</a:t>
            </a:r>
            <a:r>
              <a:rPr lang="en-US" sz="1500" dirty="0"/>
              <a:t> </a:t>
            </a:r>
            <a:r>
              <a:rPr lang="en-US" sz="1500" dirty="0" err="1"/>
              <a:t>kapsar</a:t>
            </a:r>
            <a:r>
              <a:rPr lang="en-US" sz="1500" dirty="0"/>
              <a:t>:</a:t>
            </a:r>
          </a:p>
          <a:p>
            <a:pPr algn="just">
              <a:defRPr sz="1600"/>
            </a:pPr>
            <a:endParaRPr lang="en-US" sz="1500" dirty="0"/>
          </a:p>
          <a:p>
            <a:pPr marL="285750" indent="-285750" algn="just">
              <a:buFont typeface="Arial" panose="020B0604020202020204" pitchFamily="34" charset="0"/>
              <a:buChar char="•"/>
              <a:defRPr sz="1600"/>
            </a:pPr>
            <a:r>
              <a:rPr lang="en-US" sz="1500" dirty="0" err="1"/>
              <a:t>Seyahat</a:t>
            </a:r>
            <a:r>
              <a:rPr lang="en-US" sz="1500" dirty="0"/>
              <a:t> </a:t>
            </a:r>
            <a:r>
              <a:rPr lang="en-US" sz="1500" dirty="0" err="1"/>
              <a:t>Talebi</a:t>
            </a:r>
            <a:r>
              <a:rPr lang="en-US" sz="1500" dirty="0"/>
              <a:t> </a:t>
            </a:r>
            <a:r>
              <a:rPr lang="en-US" sz="1500" dirty="0" err="1"/>
              <a:t>ve</a:t>
            </a:r>
            <a:r>
              <a:rPr lang="en-US" sz="1500" dirty="0"/>
              <a:t> </a:t>
            </a:r>
            <a:r>
              <a:rPr lang="en-US" sz="1500" dirty="0" err="1"/>
              <a:t>Tahmin</a:t>
            </a:r>
            <a:r>
              <a:rPr lang="en-US" sz="1500" dirty="0"/>
              <a:t> </a:t>
            </a:r>
            <a:r>
              <a:rPr lang="en-US" sz="1500" dirty="0" err="1"/>
              <a:t>Tekniklerinin</a:t>
            </a:r>
            <a:r>
              <a:rPr lang="en-US" sz="1500" dirty="0"/>
              <a:t> </a:t>
            </a:r>
            <a:r>
              <a:rPr lang="en-US" sz="1500" dirty="0" err="1"/>
              <a:t>Analizi</a:t>
            </a:r>
            <a:r>
              <a:rPr lang="en-US" sz="1500" dirty="0"/>
              <a:t>,</a:t>
            </a:r>
          </a:p>
          <a:p>
            <a:pPr marL="285750" indent="-285750" algn="just">
              <a:buFont typeface="Arial" panose="020B0604020202020204" pitchFamily="34" charset="0"/>
              <a:buChar char="•"/>
              <a:defRPr sz="1600"/>
            </a:pPr>
            <a:r>
              <a:rPr lang="en-US" sz="1500" dirty="0"/>
              <a:t>Ulaşım </a:t>
            </a:r>
            <a:r>
              <a:rPr lang="en-US" sz="1500" dirty="0" err="1"/>
              <a:t>Yöntemlerinin</a:t>
            </a:r>
            <a:r>
              <a:rPr lang="en-US" sz="1500" dirty="0"/>
              <a:t> </a:t>
            </a:r>
            <a:r>
              <a:rPr lang="en-US" sz="1500" dirty="0" err="1"/>
              <a:t>Seçimi</a:t>
            </a:r>
            <a:r>
              <a:rPr lang="en-US" sz="1500" dirty="0"/>
              <a:t>,</a:t>
            </a:r>
          </a:p>
          <a:p>
            <a:pPr marL="285750" indent="-285750" algn="just">
              <a:buFont typeface="Arial" panose="020B0604020202020204" pitchFamily="34" charset="0"/>
              <a:buChar char="•"/>
              <a:defRPr sz="1600"/>
            </a:pPr>
            <a:r>
              <a:rPr lang="en-US" sz="1500" dirty="0" err="1"/>
              <a:t>Otopark</a:t>
            </a:r>
            <a:r>
              <a:rPr lang="en-US" sz="1500" dirty="0"/>
              <a:t> </a:t>
            </a:r>
            <a:r>
              <a:rPr lang="en-US" sz="1500" dirty="0" err="1"/>
              <a:t>Yönetimi</a:t>
            </a:r>
            <a:r>
              <a:rPr lang="en-US" sz="1500" dirty="0"/>
              <a:t>,</a:t>
            </a:r>
          </a:p>
          <a:p>
            <a:pPr marL="285750" indent="-285750" algn="just">
              <a:buFont typeface="Arial" panose="020B0604020202020204" pitchFamily="34" charset="0"/>
              <a:buChar char="•"/>
              <a:defRPr sz="1600"/>
            </a:pPr>
            <a:r>
              <a:rPr lang="en-US" sz="1500" dirty="0"/>
              <a:t>Kentsel </a:t>
            </a:r>
            <a:r>
              <a:rPr lang="en-US" sz="1500" dirty="0" err="1"/>
              <a:t>Planlama</a:t>
            </a:r>
            <a:r>
              <a:rPr lang="en-US" sz="1500" dirty="0"/>
              <a:t> </a:t>
            </a:r>
            <a:r>
              <a:rPr lang="en-US" sz="1500" dirty="0" err="1"/>
              <a:t>ve</a:t>
            </a:r>
            <a:r>
              <a:rPr lang="en-US" sz="1500" dirty="0"/>
              <a:t> </a:t>
            </a:r>
            <a:r>
              <a:rPr lang="en-US" sz="1500" dirty="0" err="1"/>
              <a:t>Arazi</a:t>
            </a:r>
            <a:r>
              <a:rPr lang="en-US" sz="1500" dirty="0"/>
              <a:t> </a:t>
            </a:r>
            <a:r>
              <a:rPr lang="en-US" sz="1500" dirty="0" err="1"/>
              <a:t>Kullanımı</a:t>
            </a:r>
            <a:r>
              <a:rPr lang="en-US" sz="1500" dirty="0"/>
              <a:t>,</a:t>
            </a:r>
          </a:p>
          <a:p>
            <a:pPr marL="285750" indent="-285750" algn="just">
              <a:buFont typeface="Arial" panose="020B0604020202020204" pitchFamily="34" charset="0"/>
              <a:buChar char="•"/>
              <a:defRPr sz="1600"/>
            </a:pPr>
            <a:r>
              <a:rPr lang="en-US" sz="1500" dirty="0" err="1"/>
              <a:t>Şehir</a:t>
            </a:r>
            <a:r>
              <a:rPr lang="en-US" sz="1500" dirty="0"/>
              <a:t> </a:t>
            </a:r>
            <a:r>
              <a:rPr lang="en-US" sz="1500" dirty="0" err="1"/>
              <a:t>Lojistiği</a:t>
            </a:r>
            <a:r>
              <a:rPr lang="en-US" sz="1500" dirty="0"/>
              <a:t>,</a:t>
            </a:r>
          </a:p>
          <a:p>
            <a:pPr marL="285750" indent="-285750" algn="just">
              <a:buFont typeface="Arial" panose="020B0604020202020204" pitchFamily="34" charset="0"/>
              <a:buChar char="•"/>
              <a:defRPr sz="1600"/>
            </a:pPr>
            <a:r>
              <a:rPr lang="en-US" sz="1500" dirty="0" err="1"/>
              <a:t>Paylaşımlı</a:t>
            </a:r>
            <a:r>
              <a:rPr lang="en-US" sz="1500" dirty="0"/>
              <a:t> </a:t>
            </a:r>
            <a:r>
              <a:rPr lang="en-US" sz="1500" dirty="0" err="1"/>
              <a:t>Hareketlilik</a:t>
            </a:r>
            <a:r>
              <a:rPr lang="en-US" sz="1500" dirty="0"/>
              <a:t>,</a:t>
            </a:r>
          </a:p>
          <a:p>
            <a:pPr marL="285750" indent="-285750" algn="just">
              <a:buFont typeface="Arial" panose="020B0604020202020204" pitchFamily="34" charset="0"/>
              <a:buChar char="•"/>
              <a:defRPr sz="1600"/>
            </a:pPr>
            <a:r>
              <a:rPr lang="en-US" sz="1500" dirty="0" err="1"/>
              <a:t>Akıllı</a:t>
            </a:r>
            <a:r>
              <a:rPr lang="en-US" sz="1500" dirty="0"/>
              <a:t> Ulaşım </a:t>
            </a:r>
            <a:r>
              <a:rPr lang="en-US" sz="1500" dirty="0" err="1"/>
              <a:t>Sistemleri</a:t>
            </a:r>
            <a:r>
              <a:rPr lang="en-US" sz="1500" dirty="0"/>
              <a:t> (AUS),</a:t>
            </a:r>
          </a:p>
          <a:p>
            <a:pPr marL="285750" indent="-285750" algn="just">
              <a:buFont typeface="Arial" panose="020B0604020202020204" pitchFamily="34" charset="0"/>
              <a:buChar char="•"/>
              <a:defRPr sz="1600"/>
            </a:pPr>
            <a:r>
              <a:rPr lang="en-US" sz="1500" dirty="0" err="1"/>
              <a:t>Ankara'da</a:t>
            </a:r>
            <a:r>
              <a:rPr lang="en-US" sz="1500" dirty="0"/>
              <a:t> </a:t>
            </a:r>
            <a:r>
              <a:rPr lang="en-US" sz="1500" dirty="0" err="1"/>
              <a:t>ulaşım</a:t>
            </a:r>
            <a:r>
              <a:rPr lang="en-US" sz="1500" dirty="0"/>
              <a:t> </a:t>
            </a:r>
            <a:r>
              <a:rPr lang="en-US" sz="1500" dirty="0" err="1"/>
              <a:t>planlama</a:t>
            </a:r>
            <a:r>
              <a:rPr lang="en-US" sz="1500" dirty="0"/>
              <a:t> </a:t>
            </a:r>
            <a:r>
              <a:rPr lang="en-US" sz="1500" dirty="0" err="1"/>
              <a:t>tedbirlerinin</a:t>
            </a:r>
            <a:r>
              <a:rPr lang="en-US" sz="1500" dirty="0"/>
              <a:t> </a:t>
            </a:r>
            <a:r>
              <a:rPr lang="en-US" sz="1500" dirty="0" err="1"/>
              <a:t>etkisi</a:t>
            </a:r>
            <a:r>
              <a:rPr lang="en-US" sz="1500" dirty="0"/>
              <a:t>.</a:t>
            </a:r>
            <a:endParaRPr lang="tr-TR" sz="1500" dirty="0"/>
          </a:p>
          <a:p>
            <a:pPr algn="just">
              <a:defRPr sz="1600"/>
            </a:pPr>
            <a:endParaRPr lang="en-US" sz="1500" dirty="0"/>
          </a:p>
          <a:p>
            <a:pPr algn="just">
              <a:defRPr sz="1600"/>
            </a:pPr>
            <a:r>
              <a:rPr lang="en-US" sz="1500" dirty="0"/>
              <a:t>Bu </a:t>
            </a:r>
            <a:r>
              <a:rPr lang="en-US" sz="1500" dirty="0" err="1"/>
              <a:t>ilkeleri</a:t>
            </a:r>
            <a:r>
              <a:rPr lang="en-US" sz="1500" dirty="0"/>
              <a:t> </a:t>
            </a:r>
            <a:r>
              <a:rPr lang="en-US" sz="1500" dirty="0" err="1"/>
              <a:t>anlayarak</a:t>
            </a:r>
            <a:r>
              <a:rPr lang="en-US" sz="1500" dirty="0"/>
              <a:t> </a:t>
            </a:r>
            <a:r>
              <a:rPr lang="en-US" sz="1500" dirty="0" err="1"/>
              <a:t>ve</a:t>
            </a:r>
            <a:r>
              <a:rPr lang="en-US" sz="1500" dirty="0"/>
              <a:t> </a:t>
            </a:r>
            <a:r>
              <a:rPr lang="en-US" sz="1500" dirty="0" err="1"/>
              <a:t>Ankara'daki</a:t>
            </a:r>
            <a:r>
              <a:rPr lang="en-US" sz="1500" dirty="0"/>
              <a:t> </a:t>
            </a:r>
            <a:r>
              <a:rPr lang="en-US" sz="1500" dirty="0" err="1"/>
              <a:t>ulaşım</a:t>
            </a:r>
            <a:r>
              <a:rPr lang="en-US" sz="1500" dirty="0"/>
              <a:t> </a:t>
            </a:r>
            <a:r>
              <a:rPr lang="en-US" sz="1500" dirty="0" err="1"/>
              <a:t>planlamasına</a:t>
            </a:r>
            <a:r>
              <a:rPr lang="en-US" sz="1500" dirty="0"/>
              <a:t> </a:t>
            </a:r>
            <a:r>
              <a:rPr lang="en-US" sz="1500" dirty="0" err="1"/>
              <a:t>uygulayarak</a:t>
            </a:r>
            <a:r>
              <a:rPr lang="en-US" sz="1500" dirty="0"/>
              <a:t>, </a:t>
            </a:r>
            <a:r>
              <a:rPr lang="en-US" sz="1500" dirty="0" err="1"/>
              <a:t>şehrin</a:t>
            </a:r>
            <a:r>
              <a:rPr lang="en-US" sz="1500" dirty="0"/>
              <a:t> </a:t>
            </a:r>
            <a:r>
              <a:rPr lang="en-US" sz="1500" dirty="0" err="1"/>
              <a:t>ulaşım</a:t>
            </a:r>
            <a:r>
              <a:rPr lang="en-US" sz="1500" dirty="0"/>
              <a:t> </a:t>
            </a:r>
            <a:r>
              <a:rPr lang="en-US" sz="1500" dirty="0" err="1"/>
              <a:t>ihtiyaçlarını</a:t>
            </a:r>
            <a:r>
              <a:rPr lang="en-US" sz="1500" dirty="0"/>
              <a:t> </a:t>
            </a:r>
            <a:r>
              <a:rPr lang="en-US" sz="1500" dirty="0" err="1"/>
              <a:t>karşılamak</a:t>
            </a:r>
            <a:r>
              <a:rPr lang="en-US" sz="1500" dirty="0"/>
              <a:t> </a:t>
            </a:r>
            <a:r>
              <a:rPr lang="en-US" sz="1500" dirty="0" err="1"/>
              <a:t>için</a:t>
            </a:r>
            <a:r>
              <a:rPr lang="en-US" sz="1500" dirty="0"/>
              <a:t> </a:t>
            </a:r>
            <a:r>
              <a:rPr lang="en-US" sz="1500" dirty="0" err="1"/>
              <a:t>etkili</a:t>
            </a:r>
            <a:r>
              <a:rPr lang="en-US" sz="1500" dirty="0"/>
              <a:t> </a:t>
            </a:r>
            <a:r>
              <a:rPr lang="en-US" sz="1500" dirty="0" err="1"/>
              <a:t>stratejiler</a:t>
            </a:r>
            <a:r>
              <a:rPr lang="en-US" sz="1500" dirty="0"/>
              <a:t> </a:t>
            </a:r>
            <a:r>
              <a:rPr lang="en-US" sz="1500" dirty="0" err="1"/>
              <a:t>geliştirmek</a:t>
            </a:r>
            <a:r>
              <a:rPr lang="en-US" sz="1500" dirty="0"/>
              <a:t> </a:t>
            </a:r>
            <a:r>
              <a:rPr lang="en-US" sz="1500" dirty="0" err="1"/>
              <a:t>ve</a:t>
            </a:r>
            <a:r>
              <a:rPr lang="en-US" sz="1500" dirty="0"/>
              <a:t> </a:t>
            </a:r>
            <a:r>
              <a:rPr lang="en-US" sz="1500" dirty="0" err="1"/>
              <a:t>uygulamak</a:t>
            </a:r>
            <a:r>
              <a:rPr lang="en-US" sz="1500" dirty="0"/>
              <a:t> </a:t>
            </a:r>
            <a:r>
              <a:rPr lang="en-US" sz="1500" dirty="0" err="1"/>
              <a:t>mümkündür</a:t>
            </a:r>
            <a:r>
              <a:rPr lang="en-US" sz="1500" dirty="0"/>
              <a:t>. Bu </a:t>
            </a:r>
            <a:r>
              <a:rPr lang="en-US" sz="1500" dirty="0" err="1"/>
              <a:t>stratejiler</a:t>
            </a:r>
            <a:r>
              <a:rPr lang="en-US" sz="1500" dirty="0"/>
              <a:t>, </a:t>
            </a:r>
            <a:r>
              <a:rPr lang="en-US" sz="1500" dirty="0" err="1"/>
              <a:t>tüm</a:t>
            </a:r>
            <a:r>
              <a:rPr lang="en-US" sz="1500" dirty="0"/>
              <a:t> </a:t>
            </a:r>
            <a:r>
              <a:rPr lang="en-US" sz="1500" dirty="0" err="1"/>
              <a:t>sakinler</a:t>
            </a:r>
            <a:r>
              <a:rPr lang="en-US" sz="1500" dirty="0"/>
              <a:t> </a:t>
            </a:r>
            <a:r>
              <a:rPr lang="en-US" sz="1500" dirty="0" err="1"/>
              <a:t>için</a:t>
            </a:r>
            <a:r>
              <a:rPr lang="en-US" sz="1500" dirty="0"/>
              <a:t> </a:t>
            </a:r>
            <a:r>
              <a:rPr lang="en-US" sz="1500" dirty="0" err="1"/>
              <a:t>sürdürülebilir</a:t>
            </a:r>
            <a:r>
              <a:rPr lang="en-US" sz="1500" dirty="0"/>
              <a:t> </a:t>
            </a:r>
            <a:r>
              <a:rPr lang="en-US" sz="1500" dirty="0" err="1"/>
              <a:t>ve</a:t>
            </a:r>
            <a:r>
              <a:rPr lang="en-US" sz="1500" dirty="0"/>
              <a:t> </a:t>
            </a:r>
            <a:r>
              <a:rPr lang="en-US" sz="1500" dirty="0" err="1"/>
              <a:t>adil</a:t>
            </a:r>
            <a:r>
              <a:rPr lang="en-US" sz="1500" dirty="0"/>
              <a:t> </a:t>
            </a:r>
            <a:r>
              <a:rPr lang="en-US" sz="1500" dirty="0" err="1"/>
              <a:t>bir</a:t>
            </a:r>
            <a:r>
              <a:rPr lang="en-US" sz="1500" dirty="0"/>
              <a:t> </a:t>
            </a:r>
            <a:r>
              <a:rPr lang="en-US" sz="1500" dirty="0" err="1"/>
              <a:t>hareketlilik</a:t>
            </a:r>
            <a:r>
              <a:rPr lang="en-US" sz="1500" dirty="0"/>
              <a:t> </a:t>
            </a:r>
            <a:r>
              <a:rPr lang="en-US" sz="1500" dirty="0" err="1"/>
              <a:t>sağlamayı</a:t>
            </a:r>
            <a:r>
              <a:rPr lang="en-US" sz="1500" dirty="0"/>
              <a:t> </a:t>
            </a:r>
            <a:r>
              <a:rPr lang="en-US" sz="1500" dirty="0" err="1"/>
              <a:t>hedefler</a:t>
            </a:r>
            <a:endParaRPr lang="en-US" sz="1500" dirty="0"/>
          </a:p>
        </p:txBody>
      </p:sp>
      <p:pic>
        <p:nvPicPr>
          <p:cNvPr id="6" name="Picture 5" descr="A collage of different buildings  Description automatically generated with low confidence">
            <a:extLst>
              <a:ext uri="{FF2B5EF4-FFF2-40B4-BE49-F238E27FC236}">
                <a16:creationId xmlns:a16="http://schemas.microsoft.com/office/drawing/2014/main" id="{67B9BAF1-593D-721C-9203-EA534D2D13FC}"/>
              </a:ext>
            </a:extLst>
          </p:cNvPr>
          <p:cNvPicPr>
            <a:picLocks noChangeAspect="1"/>
          </p:cNvPicPr>
          <p:nvPr/>
        </p:nvPicPr>
        <p:blipFill>
          <a:blip r:embed="rId4"/>
          <a:stretch>
            <a:fillRect/>
          </a:stretch>
        </p:blipFill>
        <p:spPr>
          <a:xfrm>
            <a:off x="8969750" y="889996"/>
            <a:ext cx="2681074" cy="5077056"/>
          </a:xfrm>
          <a:prstGeom prst="rect">
            <a:avLst/>
          </a:prstGeom>
          <a:effectLst>
            <a:softEdge rad="63500"/>
          </a:effectLst>
        </p:spPr>
      </p:pic>
      <p:pic>
        <p:nvPicPr>
          <p:cNvPr id="8" name="Picture 7" descr="A picture containing screenshot, graphic design, text, graphics  Description automatically generated">
            <a:extLst>
              <a:ext uri="{FF2B5EF4-FFF2-40B4-BE49-F238E27FC236}">
                <a16:creationId xmlns:a16="http://schemas.microsoft.com/office/drawing/2014/main" id="{5F11EAE6-0298-4D9A-167D-0CD7441523DE}"/>
              </a:ext>
            </a:extLst>
          </p:cNvPr>
          <p:cNvPicPr>
            <a:picLocks noChangeAspect="1"/>
          </p:cNvPicPr>
          <p:nvPr/>
        </p:nvPicPr>
        <p:blipFill>
          <a:blip r:embed="rId5"/>
          <a:stretch>
            <a:fillRect/>
          </a:stretch>
        </p:blipFill>
        <p:spPr>
          <a:xfrm>
            <a:off x="6573307" y="2948959"/>
            <a:ext cx="2219131" cy="2219131"/>
          </a:xfrm>
          <a:prstGeom prst="rect">
            <a:avLst/>
          </a:prstGeom>
          <a:effectLst>
            <a:softEdge rad="317500"/>
          </a:effectLst>
        </p:spPr>
      </p:pic>
    </p:spTree>
    <p:extLst>
      <p:ext uri="{BB962C8B-B14F-4D97-AF65-F5344CB8AC3E}">
        <p14:creationId xmlns:p14="http://schemas.microsoft.com/office/powerpoint/2010/main" val="22057469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ABB9A-8381-E048-B51B-ADFD36312BC9}"/>
              </a:ext>
            </a:extLst>
          </p:cNvPr>
          <p:cNvSpPr>
            <a:spLocks noGrp="1"/>
          </p:cNvSpPr>
          <p:nvPr>
            <p:ph type="ctrTitle"/>
          </p:nvPr>
        </p:nvSpPr>
        <p:spPr>
          <a:xfrm>
            <a:off x="1524000" y="2446699"/>
            <a:ext cx="9144000" cy="1964602"/>
          </a:xfrm>
        </p:spPr>
        <p:txBody>
          <a:bodyPr>
            <a:normAutofit fontScale="90000"/>
          </a:bodyPr>
          <a:lstStyle/>
          <a:p>
            <a:pPr>
              <a:defRPr sz="7000" b="1"/>
            </a:pPr>
            <a:r>
              <a:t>Seyahat Talebi ve Tahmin Tekniklerinin Analizi </a:t>
            </a:r>
            <a:endParaRPr lang="en-TR" sz="7000" b="1" dirty="0">
              <a:latin typeface="Myriad Pro" panose="020B0503030403020204" pitchFamily="34" charset="0"/>
            </a:endParaRPr>
          </a:p>
        </p:txBody>
      </p:sp>
    </p:spTree>
    <p:extLst>
      <p:ext uri="{BB962C8B-B14F-4D97-AF65-F5344CB8AC3E}">
        <p14:creationId xmlns:p14="http://schemas.microsoft.com/office/powerpoint/2010/main" val="42350946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9" name="Picture 8" descr="A picture containing office supplies, stationery, pen, office instrument  Description automatically generated">
            <a:extLst>
              <a:ext uri="{FF2B5EF4-FFF2-40B4-BE49-F238E27FC236}">
                <a16:creationId xmlns:a16="http://schemas.microsoft.com/office/drawing/2014/main" id="{233CC6FD-B6F7-7213-C143-FD4068CC7948}"/>
              </a:ext>
            </a:extLst>
          </p:cNvPr>
          <p:cNvPicPr>
            <a:picLocks noChangeAspect="1"/>
          </p:cNvPicPr>
          <p:nvPr/>
        </p:nvPicPr>
        <p:blipFill>
          <a:blip r:embed="rId4"/>
          <a:stretch>
            <a:fillRect/>
          </a:stretch>
        </p:blipFill>
        <p:spPr>
          <a:xfrm>
            <a:off x="8985191" y="3933455"/>
            <a:ext cx="2342951" cy="1561967"/>
          </a:xfrm>
          <a:prstGeom prst="rect">
            <a:avLst/>
          </a:prstGeom>
          <a:effectLst>
            <a:softEdge rad="317500"/>
          </a:effectLst>
        </p:spPr>
      </p:pic>
      <p:sp>
        <p:nvSpPr>
          <p:cNvPr id="4" name="TekstniOkvir 3">
            <a:extLst>
              <a:ext uri="{FF2B5EF4-FFF2-40B4-BE49-F238E27FC236}">
                <a16:creationId xmlns:a16="http://schemas.microsoft.com/office/drawing/2014/main" id="{CF5ED112-659E-11FA-5E1E-185D5C3E5BD8}"/>
              </a:ext>
            </a:extLst>
          </p:cNvPr>
          <p:cNvSpPr txBox="1"/>
          <p:nvPr/>
        </p:nvSpPr>
        <p:spPr>
          <a:xfrm>
            <a:off x="-99588" y="889996"/>
            <a:ext cx="5667470" cy="646331"/>
          </a:xfrm>
          <a:prstGeom prst="rect">
            <a:avLst/>
          </a:prstGeom>
          <a:noFill/>
        </p:spPr>
        <p:txBody>
          <a:bodyPr wrap="square">
            <a:spAutoFit/>
          </a:bodyPr>
          <a:lstStyle/>
          <a:p>
            <a:pPr algn="ctr">
              <a:defRPr sz="3600"/>
            </a:pPr>
            <a:r>
              <a:t>Seyahat Davranışı Anketleri</a:t>
            </a:r>
            <a:endParaRPr lang="hr-HR" sz="3600" b="1" dirty="0">
              <a:ea typeface="MS Mincho" panose="02020609040205080304" pitchFamily="49" charset="-128"/>
              <a:cs typeface="Calibri" panose="020F0502020204030204" pitchFamily="34" charset="0"/>
            </a:endParaRPr>
          </a:p>
        </p:txBody>
      </p:sp>
      <p:sp>
        <p:nvSpPr>
          <p:cNvPr id="5" name="TextBox 4">
            <a:extLst>
              <a:ext uri="{FF2B5EF4-FFF2-40B4-BE49-F238E27FC236}">
                <a16:creationId xmlns:a16="http://schemas.microsoft.com/office/drawing/2014/main" id="{4BDD3902-171E-7775-38EB-8B2265046508}"/>
              </a:ext>
            </a:extLst>
          </p:cNvPr>
          <p:cNvSpPr txBox="1"/>
          <p:nvPr/>
        </p:nvSpPr>
        <p:spPr>
          <a:xfrm>
            <a:off x="383673" y="2173178"/>
            <a:ext cx="8007789" cy="4031873"/>
          </a:xfrm>
          <a:prstGeom prst="rect">
            <a:avLst/>
          </a:prstGeom>
          <a:noFill/>
        </p:spPr>
        <p:txBody>
          <a:bodyPr wrap="square">
            <a:spAutoFit/>
          </a:bodyPr>
          <a:lstStyle/>
          <a:p>
            <a:pPr algn="just">
              <a:defRPr sz="1600"/>
            </a:pPr>
            <a:r>
              <a:rPr lang="en-US" dirty="0" err="1"/>
              <a:t>Ankara'daki</a:t>
            </a:r>
            <a:r>
              <a:rPr lang="en-US" dirty="0"/>
              <a:t> </a:t>
            </a:r>
            <a:r>
              <a:rPr lang="en-US" dirty="0" err="1"/>
              <a:t>ulaşım</a:t>
            </a:r>
            <a:r>
              <a:rPr lang="en-US" dirty="0"/>
              <a:t> </a:t>
            </a:r>
            <a:r>
              <a:rPr lang="en-US" dirty="0" err="1"/>
              <a:t>planlamacıları</a:t>
            </a:r>
            <a:r>
              <a:rPr lang="en-US" dirty="0"/>
              <a:t> </a:t>
            </a:r>
            <a:r>
              <a:rPr lang="en-US" dirty="0" err="1"/>
              <a:t>için</a:t>
            </a:r>
            <a:r>
              <a:rPr lang="en-US" dirty="0"/>
              <a:t> </a:t>
            </a:r>
            <a:r>
              <a:rPr lang="en-US" dirty="0" err="1"/>
              <a:t>seyahat</a:t>
            </a:r>
            <a:r>
              <a:rPr lang="en-US" dirty="0"/>
              <a:t> </a:t>
            </a:r>
            <a:r>
              <a:rPr lang="en-US" dirty="0" err="1"/>
              <a:t>davranışı</a:t>
            </a:r>
            <a:r>
              <a:rPr lang="en-US" dirty="0"/>
              <a:t> </a:t>
            </a:r>
            <a:r>
              <a:rPr lang="en-US" dirty="0" err="1"/>
              <a:t>anketleri</a:t>
            </a:r>
            <a:r>
              <a:rPr lang="en-US" dirty="0"/>
              <a:t> </a:t>
            </a:r>
            <a:r>
              <a:rPr lang="en-US" dirty="0" err="1"/>
              <a:t>kritik</a:t>
            </a:r>
            <a:r>
              <a:rPr lang="en-US" dirty="0"/>
              <a:t> </a:t>
            </a:r>
            <a:r>
              <a:rPr lang="en-US" dirty="0" err="1"/>
              <a:t>bir</a:t>
            </a:r>
            <a:r>
              <a:rPr lang="en-US" dirty="0"/>
              <a:t> </a:t>
            </a:r>
            <a:r>
              <a:rPr lang="en-US" dirty="0" err="1"/>
              <a:t>araçtır</a:t>
            </a:r>
            <a:r>
              <a:rPr lang="en-US" dirty="0"/>
              <a:t>. </a:t>
            </a:r>
            <a:r>
              <a:rPr lang="en-US" dirty="0" err="1"/>
              <a:t>Seyahat</a:t>
            </a:r>
            <a:r>
              <a:rPr lang="en-US" dirty="0"/>
              <a:t> </a:t>
            </a:r>
            <a:r>
              <a:rPr lang="en-US" dirty="0" err="1"/>
              <a:t>kalıpları</a:t>
            </a:r>
            <a:r>
              <a:rPr lang="en-US" dirty="0"/>
              <a:t>, </a:t>
            </a:r>
            <a:r>
              <a:rPr lang="en-US" dirty="0" err="1"/>
              <a:t>amaçları</a:t>
            </a:r>
            <a:r>
              <a:rPr lang="en-US" dirty="0"/>
              <a:t> </a:t>
            </a:r>
            <a:r>
              <a:rPr lang="en-US" dirty="0" err="1"/>
              <a:t>ve</a:t>
            </a:r>
            <a:r>
              <a:rPr lang="en-US" dirty="0"/>
              <a:t> </a:t>
            </a:r>
            <a:r>
              <a:rPr lang="en-US" dirty="0" err="1"/>
              <a:t>türlerini</a:t>
            </a:r>
            <a:r>
              <a:rPr lang="en-US" dirty="0"/>
              <a:t> </a:t>
            </a:r>
            <a:r>
              <a:rPr lang="en-US" dirty="0" err="1"/>
              <a:t>anlamak</a:t>
            </a:r>
            <a:r>
              <a:rPr lang="en-US" dirty="0"/>
              <a:t>, </a:t>
            </a:r>
            <a:r>
              <a:rPr lang="en-US" dirty="0" err="1"/>
              <a:t>planlamacılara</a:t>
            </a:r>
            <a:r>
              <a:rPr lang="en-US" dirty="0"/>
              <a:t> </a:t>
            </a:r>
            <a:r>
              <a:rPr lang="en-US" dirty="0" err="1"/>
              <a:t>yüksek</a:t>
            </a:r>
            <a:r>
              <a:rPr lang="en-US" dirty="0"/>
              <a:t> </a:t>
            </a:r>
            <a:r>
              <a:rPr lang="en-US" dirty="0" err="1"/>
              <a:t>talebe</a:t>
            </a:r>
            <a:r>
              <a:rPr lang="en-US" dirty="0"/>
              <a:t> </a:t>
            </a:r>
            <a:r>
              <a:rPr lang="en-US" dirty="0" err="1"/>
              <a:t>sahip</a:t>
            </a:r>
            <a:r>
              <a:rPr lang="en-US" dirty="0"/>
              <a:t> </a:t>
            </a:r>
            <a:r>
              <a:rPr lang="en-US" dirty="0" err="1"/>
              <a:t>bölgeleri</a:t>
            </a:r>
            <a:r>
              <a:rPr lang="en-US" dirty="0"/>
              <a:t> </a:t>
            </a:r>
            <a:r>
              <a:rPr lang="en-US" dirty="0" err="1"/>
              <a:t>belirleme</a:t>
            </a:r>
            <a:r>
              <a:rPr lang="en-US" dirty="0"/>
              <a:t> </a:t>
            </a:r>
            <a:r>
              <a:rPr lang="en-US" dirty="0" err="1"/>
              <a:t>ve</a:t>
            </a:r>
            <a:r>
              <a:rPr lang="en-US" dirty="0"/>
              <a:t> </a:t>
            </a:r>
            <a:r>
              <a:rPr lang="en-US" dirty="0" err="1"/>
              <a:t>bu</a:t>
            </a:r>
            <a:r>
              <a:rPr lang="en-US" dirty="0"/>
              <a:t> </a:t>
            </a:r>
            <a:r>
              <a:rPr lang="en-US" dirty="0" err="1"/>
              <a:t>taleplere</a:t>
            </a:r>
            <a:r>
              <a:rPr lang="en-US" dirty="0"/>
              <a:t> </a:t>
            </a:r>
            <a:r>
              <a:rPr lang="en-US" dirty="0" err="1"/>
              <a:t>uygun</a:t>
            </a:r>
            <a:r>
              <a:rPr lang="en-US" dirty="0"/>
              <a:t> </a:t>
            </a:r>
            <a:r>
              <a:rPr lang="en-US" dirty="0" err="1"/>
              <a:t>stratejiler</a:t>
            </a:r>
            <a:r>
              <a:rPr lang="en-US" dirty="0"/>
              <a:t> </a:t>
            </a:r>
            <a:r>
              <a:rPr lang="en-US" dirty="0" err="1"/>
              <a:t>geliştirme</a:t>
            </a:r>
            <a:r>
              <a:rPr lang="en-US" dirty="0"/>
              <a:t> </a:t>
            </a:r>
            <a:r>
              <a:rPr lang="en-US" dirty="0" err="1"/>
              <a:t>olanağı</a:t>
            </a:r>
            <a:r>
              <a:rPr lang="en-US" dirty="0"/>
              <a:t> </a:t>
            </a:r>
            <a:r>
              <a:rPr lang="en-US" dirty="0" err="1"/>
              <a:t>sağlar</a:t>
            </a:r>
            <a:r>
              <a:rPr lang="en-US" dirty="0"/>
              <a:t>. </a:t>
            </a:r>
            <a:r>
              <a:rPr lang="en-US" dirty="0" err="1"/>
              <a:t>Anketler</a:t>
            </a:r>
            <a:r>
              <a:rPr lang="en-US" dirty="0"/>
              <a:t>, </a:t>
            </a:r>
            <a:r>
              <a:rPr lang="en-US" dirty="0" err="1"/>
              <a:t>çevrimiçi</a:t>
            </a:r>
            <a:r>
              <a:rPr lang="en-US" dirty="0"/>
              <a:t> </a:t>
            </a:r>
            <a:r>
              <a:rPr lang="en-US" dirty="0" err="1"/>
              <a:t>anketler</a:t>
            </a:r>
            <a:r>
              <a:rPr lang="en-US" dirty="0"/>
              <a:t>, </a:t>
            </a:r>
            <a:r>
              <a:rPr lang="en-US" dirty="0" err="1"/>
              <a:t>telefon</a:t>
            </a:r>
            <a:r>
              <a:rPr lang="en-US" dirty="0"/>
              <a:t> </a:t>
            </a:r>
            <a:r>
              <a:rPr lang="en-US" dirty="0" err="1"/>
              <a:t>anketleri</a:t>
            </a:r>
            <a:r>
              <a:rPr lang="en-US" dirty="0"/>
              <a:t> </a:t>
            </a:r>
            <a:r>
              <a:rPr lang="en-US" dirty="0" err="1"/>
              <a:t>veya</a:t>
            </a:r>
            <a:r>
              <a:rPr lang="en-US" dirty="0"/>
              <a:t> </a:t>
            </a:r>
            <a:r>
              <a:rPr lang="en-US" dirty="0" err="1"/>
              <a:t>yüz</a:t>
            </a:r>
            <a:r>
              <a:rPr lang="en-US" dirty="0"/>
              <a:t> </a:t>
            </a:r>
            <a:r>
              <a:rPr lang="en-US" dirty="0" err="1"/>
              <a:t>yüze</a:t>
            </a:r>
            <a:r>
              <a:rPr lang="en-US" dirty="0"/>
              <a:t> </a:t>
            </a:r>
            <a:r>
              <a:rPr lang="en-US" dirty="0" err="1"/>
              <a:t>görüşmeler</a:t>
            </a:r>
            <a:r>
              <a:rPr lang="en-US" dirty="0"/>
              <a:t> </a:t>
            </a:r>
            <a:r>
              <a:rPr lang="en-US" dirty="0" err="1"/>
              <a:t>gibi</a:t>
            </a:r>
            <a:r>
              <a:rPr lang="en-US" dirty="0"/>
              <a:t> </a:t>
            </a:r>
            <a:r>
              <a:rPr lang="en-US" dirty="0" err="1"/>
              <a:t>çeşitli</a:t>
            </a:r>
            <a:r>
              <a:rPr lang="en-US" dirty="0"/>
              <a:t> </a:t>
            </a:r>
            <a:r>
              <a:rPr lang="en-US" dirty="0" err="1"/>
              <a:t>yöntemlerle</a:t>
            </a:r>
            <a:r>
              <a:rPr lang="en-US" dirty="0"/>
              <a:t> </a:t>
            </a:r>
            <a:r>
              <a:rPr lang="en-US" dirty="0" err="1"/>
              <a:t>yürütülebilir</a:t>
            </a:r>
            <a:r>
              <a:rPr lang="en-US" dirty="0"/>
              <a:t>.</a:t>
            </a:r>
          </a:p>
          <a:p>
            <a:pPr algn="just">
              <a:defRPr sz="1600"/>
            </a:pPr>
            <a:endParaRPr lang="en-US" dirty="0"/>
          </a:p>
          <a:p>
            <a:pPr algn="just">
              <a:defRPr sz="1600"/>
            </a:pPr>
            <a:r>
              <a:rPr lang="en-US" dirty="0" err="1"/>
              <a:t>Seyahat</a:t>
            </a:r>
            <a:r>
              <a:rPr lang="en-US" dirty="0"/>
              <a:t> </a:t>
            </a:r>
            <a:r>
              <a:rPr lang="en-US" dirty="0" err="1"/>
              <a:t>davranışı</a:t>
            </a:r>
            <a:r>
              <a:rPr lang="en-US" dirty="0"/>
              <a:t> </a:t>
            </a:r>
            <a:r>
              <a:rPr lang="en-US" dirty="0" err="1"/>
              <a:t>anketleri</a:t>
            </a:r>
            <a:r>
              <a:rPr lang="en-US" dirty="0"/>
              <a:t> </a:t>
            </a:r>
            <a:r>
              <a:rPr lang="en-US" dirty="0" err="1"/>
              <a:t>sırasında</a:t>
            </a:r>
            <a:r>
              <a:rPr lang="en-US" dirty="0"/>
              <a:t> </a:t>
            </a:r>
            <a:r>
              <a:rPr lang="en-US" dirty="0" err="1"/>
              <a:t>dikkate</a:t>
            </a:r>
            <a:r>
              <a:rPr lang="en-US" dirty="0"/>
              <a:t> </a:t>
            </a:r>
            <a:r>
              <a:rPr lang="en-US" dirty="0" err="1"/>
              <a:t>alınması</a:t>
            </a:r>
            <a:r>
              <a:rPr lang="en-US" dirty="0"/>
              <a:t> </a:t>
            </a:r>
            <a:r>
              <a:rPr lang="en-US" dirty="0" err="1"/>
              <a:t>gereken</a:t>
            </a:r>
            <a:r>
              <a:rPr lang="en-US" dirty="0"/>
              <a:t> </a:t>
            </a:r>
            <a:r>
              <a:rPr lang="en-US" dirty="0" err="1"/>
              <a:t>önemli</a:t>
            </a:r>
            <a:r>
              <a:rPr lang="en-US" dirty="0"/>
              <a:t> </a:t>
            </a:r>
            <a:r>
              <a:rPr lang="en-US" dirty="0" err="1"/>
              <a:t>faktörler</a:t>
            </a:r>
            <a:r>
              <a:rPr lang="en-US" dirty="0"/>
              <a:t> </a:t>
            </a:r>
            <a:r>
              <a:rPr lang="en-US" dirty="0" err="1"/>
              <a:t>aşağıdaki</a:t>
            </a:r>
            <a:r>
              <a:rPr lang="en-US" dirty="0"/>
              <a:t> </a:t>
            </a:r>
            <a:r>
              <a:rPr lang="en-US" dirty="0" err="1"/>
              <a:t>gibidir</a:t>
            </a:r>
            <a:r>
              <a:rPr lang="en-US" dirty="0"/>
              <a:t>:</a:t>
            </a:r>
          </a:p>
          <a:p>
            <a:pPr algn="just">
              <a:defRPr sz="1600"/>
            </a:pPr>
            <a:endParaRPr lang="en-US" dirty="0"/>
          </a:p>
          <a:p>
            <a:pPr marL="285750" indent="-285750" algn="just">
              <a:buFont typeface="Arial" panose="020B0604020202020204" pitchFamily="34" charset="0"/>
              <a:buChar char="•"/>
              <a:defRPr sz="1600"/>
            </a:pPr>
            <a:r>
              <a:rPr lang="en-US" dirty="0" err="1"/>
              <a:t>Örneklem</a:t>
            </a:r>
            <a:r>
              <a:rPr lang="en-US" dirty="0"/>
              <a:t>: </a:t>
            </a:r>
            <a:r>
              <a:rPr lang="en-US" dirty="0" err="1"/>
              <a:t>Katılımcıların</a:t>
            </a:r>
            <a:r>
              <a:rPr lang="en-US" dirty="0"/>
              <a:t> </a:t>
            </a:r>
            <a:r>
              <a:rPr lang="en-US" dirty="0" err="1"/>
              <a:t>örnekleme</a:t>
            </a:r>
            <a:r>
              <a:rPr lang="en-US" dirty="0"/>
              <a:t> </a:t>
            </a:r>
            <a:r>
              <a:rPr lang="en-US" dirty="0" err="1"/>
              <a:t>uygunluğunun</a:t>
            </a:r>
            <a:r>
              <a:rPr lang="en-US" dirty="0"/>
              <a:t> </a:t>
            </a:r>
            <a:r>
              <a:rPr lang="en-US" dirty="0" err="1"/>
              <a:t>sağlanması</a:t>
            </a:r>
            <a:r>
              <a:rPr lang="en-US" dirty="0"/>
              <a:t>,</a:t>
            </a:r>
          </a:p>
          <a:p>
            <a:pPr marL="285750" indent="-285750" algn="just">
              <a:buFont typeface="Arial" panose="020B0604020202020204" pitchFamily="34" charset="0"/>
              <a:buChar char="•"/>
              <a:defRPr sz="1600"/>
            </a:pPr>
            <a:r>
              <a:rPr lang="en-US" dirty="0" err="1"/>
              <a:t>Anket</a:t>
            </a:r>
            <a:r>
              <a:rPr lang="en-US" dirty="0"/>
              <a:t> </a:t>
            </a:r>
            <a:r>
              <a:rPr lang="en-US" dirty="0" err="1"/>
              <a:t>aracının</a:t>
            </a:r>
            <a:r>
              <a:rPr lang="en-US" dirty="0"/>
              <a:t> </a:t>
            </a:r>
            <a:r>
              <a:rPr lang="en-US" dirty="0" err="1"/>
              <a:t>geliştirilmesi</a:t>
            </a:r>
            <a:r>
              <a:rPr lang="en-US" dirty="0"/>
              <a:t>: </a:t>
            </a:r>
            <a:r>
              <a:rPr lang="en-US" dirty="0" err="1"/>
              <a:t>Anlaşılır</a:t>
            </a:r>
            <a:r>
              <a:rPr lang="en-US" dirty="0"/>
              <a:t> </a:t>
            </a:r>
            <a:r>
              <a:rPr lang="en-US" dirty="0" err="1"/>
              <a:t>ve</a:t>
            </a:r>
            <a:r>
              <a:rPr lang="en-US" dirty="0"/>
              <a:t> </a:t>
            </a:r>
            <a:r>
              <a:rPr lang="en-US" dirty="0" err="1"/>
              <a:t>güvenilir</a:t>
            </a:r>
            <a:r>
              <a:rPr lang="en-US" dirty="0"/>
              <a:t> </a:t>
            </a:r>
            <a:r>
              <a:rPr lang="en-US" dirty="0" err="1"/>
              <a:t>veri</a:t>
            </a:r>
            <a:r>
              <a:rPr lang="en-US" dirty="0"/>
              <a:t> </a:t>
            </a:r>
            <a:r>
              <a:rPr lang="en-US" dirty="0" err="1"/>
              <a:t>sağlayacak</a:t>
            </a:r>
            <a:r>
              <a:rPr lang="en-US" dirty="0"/>
              <a:t> </a:t>
            </a:r>
            <a:r>
              <a:rPr lang="en-US" dirty="0" err="1"/>
              <a:t>bir</a:t>
            </a:r>
            <a:r>
              <a:rPr lang="en-US" dirty="0"/>
              <a:t> </a:t>
            </a:r>
            <a:r>
              <a:rPr lang="en-US" dirty="0" err="1"/>
              <a:t>araç</a:t>
            </a:r>
            <a:r>
              <a:rPr lang="en-US" dirty="0"/>
              <a:t> </a:t>
            </a:r>
            <a:r>
              <a:rPr lang="en-US" dirty="0" err="1"/>
              <a:t>oluşturulması</a:t>
            </a:r>
            <a:r>
              <a:rPr lang="en-US" dirty="0"/>
              <a:t>,</a:t>
            </a:r>
          </a:p>
          <a:p>
            <a:pPr marL="285750" indent="-285750" algn="just">
              <a:buFont typeface="Arial" panose="020B0604020202020204" pitchFamily="34" charset="0"/>
              <a:buChar char="•"/>
              <a:defRPr sz="1600"/>
            </a:pPr>
            <a:r>
              <a:rPr lang="en-US" dirty="0" err="1"/>
              <a:t>Zamanlama</a:t>
            </a:r>
            <a:r>
              <a:rPr lang="en-US" dirty="0"/>
              <a:t>: </a:t>
            </a:r>
            <a:r>
              <a:rPr lang="en-US" dirty="0" err="1"/>
              <a:t>Yoğun</a:t>
            </a:r>
            <a:r>
              <a:rPr lang="en-US" dirty="0"/>
              <a:t> </a:t>
            </a:r>
            <a:r>
              <a:rPr lang="en-US" dirty="0" err="1"/>
              <a:t>ve</a:t>
            </a:r>
            <a:r>
              <a:rPr lang="en-US" dirty="0"/>
              <a:t> </a:t>
            </a:r>
            <a:r>
              <a:rPr lang="en-US" dirty="0" err="1"/>
              <a:t>sakin</a:t>
            </a:r>
            <a:r>
              <a:rPr lang="en-US" dirty="0"/>
              <a:t> </a:t>
            </a:r>
            <a:r>
              <a:rPr lang="en-US" dirty="0" err="1"/>
              <a:t>seyahat</a:t>
            </a:r>
            <a:r>
              <a:rPr lang="en-US" dirty="0"/>
              <a:t> </a:t>
            </a:r>
            <a:r>
              <a:rPr lang="en-US" dirty="0" err="1"/>
              <a:t>dönemlerinde</a:t>
            </a:r>
            <a:r>
              <a:rPr lang="en-US" dirty="0"/>
              <a:t> </a:t>
            </a:r>
            <a:r>
              <a:rPr lang="en-US" dirty="0" err="1"/>
              <a:t>anketlerin</a:t>
            </a:r>
            <a:r>
              <a:rPr lang="en-US" dirty="0"/>
              <a:t> </a:t>
            </a:r>
            <a:r>
              <a:rPr lang="en-US" dirty="0" err="1"/>
              <a:t>yürütülmesi</a:t>
            </a:r>
            <a:r>
              <a:rPr lang="en-US" dirty="0"/>
              <a:t>, </a:t>
            </a:r>
            <a:r>
              <a:rPr lang="en-US" dirty="0" err="1"/>
              <a:t>farklı</a:t>
            </a:r>
            <a:r>
              <a:rPr lang="en-US" dirty="0"/>
              <a:t> </a:t>
            </a:r>
            <a:r>
              <a:rPr lang="en-US" dirty="0" err="1"/>
              <a:t>seyahat</a:t>
            </a:r>
            <a:r>
              <a:rPr lang="en-US" dirty="0"/>
              <a:t> </a:t>
            </a:r>
            <a:r>
              <a:rPr lang="en-US" dirty="0" err="1"/>
              <a:t>davranışlarının</a:t>
            </a:r>
            <a:r>
              <a:rPr lang="en-US" dirty="0"/>
              <a:t> </a:t>
            </a:r>
            <a:r>
              <a:rPr lang="en-US" dirty="0" err="1"/>
              <a:t>yakalanabilmesi</a:t>
            </a:r>
            <a:r>
              <a:rPr lang="en-US" dirty="0"/>
              <a:t> </a:t>
            </a:r>
            <a:r>
              <a:rPr lang="en-US" dirty="0" err="1"/>
              <a:t>için</a:t>
            </a:r>
            <a:r>
              <a:rPr lang="en-US" dirty="0"/>
              <a:t> </a:t>
            </a:r>
            <a:r>
              <a:rPr lang="en-US" dirty="0" err="1"/>
              <a:t>önemlidir</a:t>
            </a:r>
            <a:r>
              <a:rPr lang="en-US" dirty="0"/>
              <a:t>.</a:t>
            </a:r>
            <a:endParaRPr lang="tr-TR" dirty="0"/>
          </a:p>
          <a:p>
            <a:pPr marL="285750" indent="-285750" algn="just">
              <a:buFont typeface="Arial" panose="020B0604020202020204" pitchFamily="34" charset="0"/>
              <a:buChar char="•"/>
              <a:defRPr sz="1600"/>
            </a:pPr>
            <a:endParaRPr lang="en-US" dirty="0"/>
          </a:p>
          <a:p>
            <a:pPr algn="just">
              <a:defRPr sz="1600"/>
            </a:pPr>
            <a:r>
              <a:rPr lang="en-US" dirty="0"/>
              <a:t>Ulaşım </a:t>
            </a:r>
            <a:r>
              <a:rPr lang="en-US" dirty="0" err="1"/>
              <a:t>planlamacıları</a:t>
            </a:r>
            <a:r>
              <a:rPr lang="en-US" dirty="0"/>
              <a:t>, </a:t>
            </a:r>
            <a:r>
              <a:rPr lang="en-US" dirty="0" err="1"/>
              <a:t>seyahat</a:t>
            </a:r>
            <a:r>
              <a:rPr lang="en-US" dirty="0"/>
              <a:t> </a:t>
            </a:r>
            <a:r>
              <a:rPr lang="en-US" dirty="0" err="1"/>
              <a:t>davranışı</a:t>
            </a:r>
            <a:r>
              <a:rPr lang="en-US" dirty="0"/>
              <a:t> </a:t>
            </a:r>
            <a:r>
              <a:rPr lang="en-US" dirty="0" err="1"/>
              <a:t>anketlerini</a:t>
            </a:r>
            <a:r>
              <a:rPr lang="en-US" dirty="0"/>
              <a:t> </a:t>
            </a:r>
            <a:r>
              <a:rPr lang="en-US" dirty="0" err="1"/>
              <a:t>kullanarak</a:t>
            </a:r>
            <a:r>
              <a:rPr lang="en-US" dirty="0"/>
              <a:t> </a:t>
            </a:r>
            <a:r>
              <a:rPr lang="en-US" dirty="0" err="1"/>
              <a:t>Ankara'daki</a:t>
            </a:r>
            <a:r>
              <a:rPr lang="en-US" dirty="0"/>
              <a:t> </a:t>
            </a:r>
            <a:r>
              <a:rPr lang="en-US" dirty="0" err="1"/>
              <a:t>ulaşım</a:t>
            </a:r>
            <a:r>
              <a:rPr lang="en-US" dirty="0"/>
              <a:t> </a:t>
            </a:r>
            <a:r>
              <a:rPr lang="en-US" dirty="0" err="1"/>
              <a:t>ihtiyaçlarına</a:t>
            </a:r>
            <a:r>
              <a:rPr lang="en-US" dirty="0"/>
              <a:t> </a:t>
            </a:r>
            <a:r>
              <a:rPr lang="en-US" dirty="0" err="1"/>
              <a:t>dair</a:t>
            </a:r>
            <a:r>
              <a:rPr lang="en-US" dirty="0"/>
              <a:t> </a:t>
            </a:r>
            <a:r>
              <a:rPr lang="en-US" dirty="0" err="1"/>
              <a:t>kapsamlı</a:t>
            </a:r>
            <a:r>
              <a:rPr lang="en-US" dirty="0"/>
              <a:t> </a:t>
            </a:r>
            <a:r>
              <a:rPr lang="en-US" dirty="0" err="1"/>
              <a:t>bir</a:t>
            </a:r>
            <a:r>
              <a:rPr lang="en-US" dirty="0"/>
              <a:t> </a:t>
            </a:r>
            <a:r>
              <a:rPr lang="en-US" dirty="0" err="1"/>
              <a:t>anlayış</a:t>
            </a:r>
            <a:r>
              <a:rPr lang="en-US" dirty="0"/>
              <a:t> </a:t>
            </a:r>
            <a:r>
              <a:rPr lang="en-US" dirty="0" err="1"/>
              <a:t>geliştirebilirler</a:t>
            </a:r>
            <a:r>
              <a:rPr lang="en-US" dirty="0"/>
              <a:t>. Bu </a:t>
            </a:r>
            <a:r>
              <a:rPr lang="en-US" dirty="0" err="1"/>
              <a:t>anlayış</a:t>
            </a:r>
            <a:r>
              <a:rPr lang="en-US" dirty="0"/>
              <a:t>, </a:t>
            </a:r>
            <a:r>
              <a:rPr lang="en-US" dirty="0" err="1"/>
              <a:t>ihtiyaçları</a:t>
            </a:r>
            <a:r>
              <a:rPr lang="en-US" dirty="0"/>
              <a:t> </a:t>
            </a:r>
            <a:r>
              <a:rPr lang="en-US" dirty="0" err="1"/>
              <a:t>karşılamak</a:t>
            </a:r>
            <a:r>
              <a:rPr lang="en-US" dirty="0"/>
              <a:t> </a:t>
            </a:r>
            <a:r>
              <a:rPr lang="en-US" dirty="0" err="1"/>
              <a:t>için</a:t>
            </a:r>
            <a:r>
              <a:rPr lang="en-US" dirty="0"/>
              <a:t> </a:t>
            </a:r>
            <a:r>
              <a:rPr lang="en-US" dirty="0" err="1"/>
              <a:t>stratejiler</a:t>
            </a:r>
            <a:r>
              <a:rPr lang="en-US" dirty="0"/>
              <a:t> </a:t>
            </a:r>
            <a:r>
              <a:rPr lang="en-US" dirty="0" err="1"/>
              <a:t>oluşturmada</a:t>
            </a:r>
            <a:r>
              <a:rPr lang="en-US" dirty="0"/>
              <a:t> </a:t>
            </a:r>
            <a:r>
              <a:rPr lang="en-US" dirty="0" err="1"/>
              <a:t>yardımcı</a:t>
            </a:r>
            <a:r>
              <a:rPr lang="en-US" dirty="0"/>
              <a:t> </a:t>
            </a:r>
            <a:r>
              <a:rPr lang="en-US" dirty="0" err="1"/>
              <a:t>olur</a:t>
            </a:r>
            <a:endParaRPr lang="en-US" dirty="0"/>
          </a:p>
        </p:txBody>
      </p:sp>
      <p:grpSp>
        <p:nvGrpSpPr>
          <p:cNvPr id="12" name="Grupa 25">
            <a:extLst>
              <a:ext uri="{FF2B5EF4-FFF2-40B4-BE49-F238E27FC236}">
                <a16:creationId xmlns:a16="http://schemas.microsoft.com/office/drawing/2014/main" id="{A1585704-D408-BA3F-0730-2EFF2217CB05}"/>
              </a:ext>
            </a:extLst>
          </p:cNvPr>
          <p:cNvGrpSpPr/>
          <p:nvPr/>
        </p:nvGrpSpPr>
        <p:grpSpPr>
          <a:xfrm>
            <a:off x="8390286" y="1357114"/>
            <a:ext cx="4839106" cy="2333871"/>
            <a:chOff x="4098600" y="1353600"/>
            <a:chExt cx="4666200" cy="2480274"/>
          </a:xfrm>
        </p:grpSpPr>
        <p:pic>
          <p:nvPicPr>
            <p:cNvPr id="13" name="Slika 12">
              <a:extLst>
                <a:ext uri="{FF2B5EF4-FFF2-40B4-BE49-F238E27FC236}">
                  <a16:creationId xmlns:a16="http://schemas.microsoft.com/office/drawing/2014/main" id="{A5CD1288-F671-0BB3-ED64-8BB6DABD9A67}"/>
                </a:ext>
              </a:extLst>
            </p:cNvPr>
            <p:cNvPicPr>
              <a:picLocks noChangeAspect="1"/>
            </p:cNvPicPr>
            <p:nvPr/>
          </p:nvPicPr>
          <p:blipFill rotWithShape="1">
            <a:blip r:embed="rId5"/>
            <a:srcRect b="85671"/>
            <a:stretch/>
          </p:blipFill>
          <p:spPr>
            <a:xfrm>
              <a:off x="4099734" y="1353600"/>
              <a:ext cx="3404265" cy="676800"/>
            </a:xfrm>
            <a:prstGeom prst="rect">
              <a:avLst/>
            </a:prstGeom>
          </p:spPr>
        </p:pic>
        <p:pic>
          <p:nvPicPr>
            <p:cNvPr id="14" name="Slika 13">
              <a:extLst>
                <a:ext uri="{FF2B5EF4-FFF2-40B4-BE49-F238E27FC236}">
                  <a16:creationId xmlns:a16="http://schemas.microsoft.com/office/drawing/2014/main" id="{F244CD99-581B-0845-CE5A-AFAF45965B29}"/>
                </a:ext>
              </a:extLst>
            </p:cNvPr>
            <p:cNvPicPr>
              <a:picLocks noChangeAspect="1"/>
            </p:cNvPicPr>
            <p:nvPr/>
          </p:nvPicPr>
          <p:blipFill rotWithShape="1">
            <a:blip r:embed="rId6"/>
            <a:srcRect b="94745"/>
            <a:stretch/>
          </p:blipFill>
          <p:spPr>
            <a:xfrm>
              <a:off x="4099734" y="2030400"/>
              <a:ext cx="3435209" cy="252000"/>
            </a:xfrm>
            <a:prstGeom prst="rect">
              <a:avLst/>
            </a:prstGeom>
          </p:spPr>
        </p:pic>
        <p:pic>
          <p:nvPicPr>
            <p:cNvPr id="15" name="Slika 19">
              <a:extLst>
                <a:ext uri="{FF2B5EF4-FFF2-40B4-BE49-F238E27FC236}">
                  <a16:creationId xmlns:a16="http://schemas.microsoft.com/office/drawing/2014/main" id="{8C8B1E13-7EC9-73DE-4490-A68F1E3978FF}"/>
                </a:ext>
              </a:extLst>
            </p:cNvPr>
            <p:cNvPicPr>
              <a:picLocks noChangeAspect="1"/>
            </p:cNvPicPr>
            <p:nvPr/>
          </p:nvPicPr>
          <p:blipFill>
            <a:blip r:embed="rId7"/>
            <a:stretch>
              <a:fillRect/>
            </a:stretch>
          </p:blipFill>
          <p:spPr>
            <a:xfrm>
              <a:off x="4099734" y="2313563"/>
              <a:ext cx="4554666" cy="220726"/>
            </a:xfrm>
            <a:prstGeom prst="rect">
              <a:avLst/>
            </a:prstGeom>
          </p:spPr>
        </p:pic>
        <p:pic>
          <p:nvPicPr>
            <p:cNvPr id="16" name="Slika 20">
              <a:extLst>
                <a:ext uri="{FF2B5EF4-FFF2-40B4-BE49-F238E27FC236}">
                  <a16:creationId xmlns:a16="http://schemas.microsoft.com/office/drawing/2014/main" id="{DF7B4DB9-EC07-1EB6-69D8-CC428EFB47C6}"/>
                </a:ext>
              </a:extLst>
            </p:cNvPr>
            <p:cNvPicPr>
              <a:picLocks noChangeAspect="1"/>
            </p:cNvPicPr>
            <p:nvPr/>
          </p:nvPicPr>
          <p:blipFill>
            <a:blip r:embed="rId8"/>
            <a:stretch>
              <a:fillRect/>
            </a:stretch>
          </p:blipFill>
          <p:spPr>
            <a:xfrm>
              <a:off x="4945800" y="2483326"/>
              <a:ext cx="2971800" cy="673608"/>
            </a:xfrm>
            <a:prstGeom prst="rect">
              <a:avLst/>
            </a:prstGeom>
          </p:spPr>
        </p:pic>
        <p:pic>
          <p:nvPicPr>
            <p:cNvPr id="17" name="Slika 22">
              <a:extLst>
                <a:ext uri="{FF2B5EF4-FFF2-40B4-BE49-F238E27FC236}">
                  <a16:creationId xmlns:a16="http://schemas.microsoft.com/office/drawing/2014/main" id="{360A6C1A-F521-5B16-705F-12F0D85D63C1}"/>
                </a:ext>
              </a:extLst>
            </p:cNvPr>
            <p:cNvPicPr>
              <a:picLocks noChangeAspect="1"/>
            </p:cNvPicPr>
            <p:nvPr/>
          </p:nvPicPr>
          <p:blipFill>
            <a:blip r:embed="rId9"/>
            <a:stretch>
              <a:fillRect/>
            </a:stretch>
          </p:blipFill>
          <p:spPr>
            <a:xfrm>
              <a:off x="4945800" y="3144520"/>
              <a:ext cx="2971800" cy="336804"/>
            </a:xfrm>
            <a:prstGeom prst="rect">
              <a:avLst/>
            </a:prstGeom>
          </p:spPr>
        </p:pic>
        <p:pic>
          <p:nvPicPr>
            <p:cNvPr id="18" name="Slika 24">
              <a:extLst>
                <a:ext uri="{FF2B5EF4-FFF2-40B4-BE49-F238E27FC236}">
                  <a16:creationId xmlns:a16="http://schemas.microsoft.com/office/drawing/2014/main" id="{A9DE6070-9668-9F91-AF2B-2E13B4039375}"/>
                </a:ext>
              </a:extLst>
            </p:cNvPr>
            <p:cNvPicPr>
              <a:picLocks noChangeAspect="1"/>
            </p:cNvPicPr>
            <p:nvPr/>
          </p:nvPicPr>
          <p:blipFill>
            <a:blip r:embed="rId10"/>
            <a:stretch>
              <a:fillRect/>
            </a:stretch>
          </p:blipFill>
          <p:spPr>
            <a:xfrm>
              <a:off x="4098600" y="3568260"/>
              <a:ext cx="4666200" cy="265614"/>
            </a:xfrm>
            <a:prstGeom prst="rect">
              <a:avLst/>
            </a:prstGeom>
          </p:spPr>
        </p:pic>
      </p:grpSp>
      <p:pic>
        <p:nvPicPr>
          <p:cNvPr id="19" name="Slika 29">
            <a:extLst>
              <a:ext uri="{FF2B5EF4-FFF2-40B4-BE49-F238E27FC236}">
                <a16:creationId xmlns:a16="http://schemas.microsoft.com/office/drawing/2014/main" id="{FCA12520-E1D1-5222-674E-79256823C18C}"/>
              </a:ext>
            </a:extLst>
          </p:cNvPr>
          <p:cNvPicPr>
            <a:picLocks noChangeAspect="1"/>
          </p:cNvPicPr>
          <p:nvPr/>
        </p:nvPicPr>
        <p:blipFill>
          <a:blip r:embed="rId11"/>
          <a:stretch>
            <a:fillRect/>
          </a:stretch>
        </p:blipFill>
        <p:spPr>
          <a:xfrm>
            <a:off x="5122487" y="1244472"/>
            <a:ext cx="3862704" cy="1015941"/>
          </a:xfrm>
          <a:prstGeom prst="rect">
            <a:avLst/>
          </a:prstGeom>
        </p:spPr>
      </p:pic>
    </p:spTree>
    <p:extLst>
      <p:ext uri="{BB962C8B-B14F-4D97-AF65-F5344CB8AC3E}">
        <p14:creationId xmlns:p14="http://schemas.microsoft.com/office/powerpoint/2010/main" val="92728948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TekstniOkvir 3">
            <a:extLst>
              <a:ext uri="{FF2B5EF4-FFF2-40B4-BE49-F238E27FC236}">
                <a16:creationId xmlns:a16="http://schemas.microsoft.com/office/drawing/2014/main" id="{CF5ED112-659E-11FA-5E1E-185D5C3E5BD8}"/>
              </a:ext>
            </a:extLst>
          </p:cNvPr>
          <p:cNvSpPr txBox="1"/>
          <p:nvPr/>
        </p:nvSpPr>
        <p:spPr>
          <a:xfrm>
            <a:off x="-99588" y="1080424"/>
            <a:ext cx="5667470" cy="1200329"/>
          </a:xfrm>
          <a:prstGeom prst="rect">
            <a:avLst/>
          </a:prstGeom>
          <a:noFill/>
        </p:spPr>
        <p:txBody>
          <a:bodyPr wrap="square">
            <a:spAutoFit/>
          </a:bodyPr>
          <a:lstStyle/>
          <a:p>
            <a:pPr algn="ctr">
              <a:defRPr sz="3600"/>
            </a:pPr>
            <a:r>
              <a:rPr dirty="0" err="1"/>
              <a:t>Demografik</a:t>
            </a:r>
            <a:r>
              <a:rPr dirty="0"/>
              <a:t> </a:t>
            </a:r>
            <a:r>
              <a:rPr dirty="0" err="1"/>
              <a:t>ve</a:t>
            </a:r>
            <a:r>
              <a:rPr dirty="0"/>
              <a:t> </a:t>
            </a:r>
            <a:r>
              <a:rPr dirty="0" err="1"/>
              <a:t>Ekonomik</a:t>
            </a:r>
            <a:r>
              <a:rPr dirty="0"/>
              <a:t> </a:t>
            </a:r>
            <a:r>
              <a:rPr dirty="0" err="1"/>
              <a:t>Verilerin</a:t>
            </a:r>
            <a:r>
              <a:rPr dirty="0"/>
              <a:t> </a:t>
            </a:r>
            <a:r>
              <a:rPr dirty="0" err="1"/>
              <a:t>Analizi</a:t>
            </a:r>
            <a:endParaRPr lang="hr-HR" sz="3600" b="1" dirty="0">
              <a:ea typeface="MS Mincho" panose="02020609040205080304" pitchFamily="49" charset="-128"/>
              <a:cs typeface="Calibri" panose="020F0502020204030204" pitchFamily="34" charset="0"/>
            </a:endParaRPr>
          </a:p>
        </p:txBody>
      </p:sp>
      <p:sp>
        <p:nvSpPr>
          <p:cNvPr id="3" name="TextBox 2">
            <a:extLst>
              <a:ext uri="{FF2B5EF4-FFF2-40B4-BE49-F238E27FC236}">
                <a16:creationId xmlns:a16="http://schemas.microsoft.com/office/drawing/2014/main" id="{B686DD7F-B90B-09F3-E62D-BE562D15EBEE}"/>
              </a:ext>
            </a:extLst>
          </p:cNvPr>
          <p:cNvSpPr txBox="1"/>
          <p:nvPr/>
        </p:nvSpPr>
        <p:spPr>
          <a:xfrm>
            <a:off x="217282" y="2340070"/>
            <a:ext cx="7290423" cy="3539430"/>
          </a:xfrm>
          <a:prstGeom prst="rect">
            <a:avLst/>
          </a:prstGeom>
          <a:noFill/>
        </p:spPr>
        <p:txBody>
          <a:bodyPr wrap="square">
            <a:spAutoFit/>
          </a:bodyPr>
          <a:lstStyle/>
          <a:p>
            <a:pPr algn="just">
              <a:defRPr sz="1600"/>
            </a:pPr>
            <a:r>
              <a:rPr lang="en-US" dirty="0" err="1"/>
              <a:t>Ankara'daki</a:t>
            </a:r>
            <a:r>
              <a:rPr lang="en-US" dirty="0"/>
              <a:t> </a:t>
            </a:r>
            <a:r>
              <a:rPr lang="en-US" dirty="0" err="1"/>
              <a:t>ulaştırma</a:t>
            </a:r>
            <a:r>
              <a:rPr lang="en-US" dirty="0"/>
              <a:t> </a:t>
            </a:r>
            <a:r>
              <a:rPr lang="en-US" dirty="0" err="1"/>
              <a:t>planlamacıları</a:t>
            </a:r>
            <a:r>
              <a:rPr lang="en-US" dirty="0"/>
              <a:t>, </a:t>
            </a:r>
            <a:r>
              <a:rPr lang="en-US" dirty="0" err="1"/>
              <a:t>seyahat</a:t>
            </a:r>
            <a:r>
              <a:rPr lang="en-US" dirty="0"/>
              <a:t> </a:t>
            </a:r>
            <a:r>
              <a:rPr lang="en-US" dirty="0" err="1"/>
              <a:t>talebinin</a:t>
            </a:r>
            <a:r>
              <a:rPr lang="en-US" dirty="0"/>
              <a:t> </a:t>
            </a:r>
            <a:r>
              <a:rPr lang="en-US" dirty="0" err="1"/>
              <a:t>neyden</a:t>
            </a:r>
            <a:r>
              <a:rPr lang="en-US" dirty="0"/>
              <a:t> </a:t>
            </a:r>
            <a:r>
              <a:rPr lang="en-US" dirty="0" err="1"/>
              <a:t>etkilendiğini</a:t>
            </a:r>
            <a:r>
              <a:rPr lang="en-US" dirty="0"/>
              <a:t> </a:t>
            </a:r>
            <a:r>
              <a:rPr lang="en-US" dirty="0" err="1"/>
              <a:t>çözmek</a:t>
            </a:r>
            <a:r>
              <a:rPr lang="en-US" dirty="0"/>
              <a:t> </a:t>
            </a:r>
            <a:r>
              <a:rPr lang="en-US" dirty="0" err="1"/>
              <a:t>için</a:t>
            </a:r>
            <a:r>
              <a:rPr lang="en-US" dirty="0"/>
              <a:t> </a:t>
            </a:r>
            <a:r>
              <a:rPr lang="en-US" dirty="0" err="1"/>
              <a:t>demografik</a:t>
            </a:r>
            <a:r>
              <a:rPr lang="en-US" dirty="0"/>
              <a:t> </a:t>
            </a:r>
            <a:r>
              <a:rPr lang="en-US" dirty="0" err="1"/>
              <a:t>ve</a:t>
            </a:r>
            <a:r>
              <a:rPr lang="en-US" dirty="0"/>
              <a:t> </a:t>
            </a:r>
            <a:r>
              <a:rPr lang="en-US" dirty="0" err="1"/>
              <a:t>ekonomik</a:t>
            </a:r>
            <a:r>
              <a:rPr lang="en-US" dirty="0"/>
              <a:t> </a:t>
            </a:r>
            <a:r>
              <a:rPr lang="en-US" dirty="0" err="1"/>
              <a:t>veri</a:t>
            </a:r>
            <a:r>
              <a:rPr lang="en-US" dirty="0"/>
              <a:t> </a:t>
            </a:r>
            <a:r>
              <a:rPr lang="en-US" dirty="0" err="1"/>
              <a:t>analizlerini</a:t>
            </a:r>
            <a:r>
              <a:rPr lang="en-US" dirty="0"/>
              <a:t> </a:t>
            </a:r>
            <a:r>
              <a:rPr lang="en-US" dirty="0" err="1"/>
              <a:t>kullanır</a:t>
            </a:r>
            <a:r>
              <a:rPr lang="en-US" dirty="0"/>
              <a:t>. Bu, </a:t>
            </a:r>
            <a:r>
              <a:rPr lang="en-US" dirty="0" err="1"/>
              <a:t>seyahat</a:t>
            </a:r>
            <a:r>
              <a:rPr lang="en-US" dirty="0"/>
              <a:t> </a:t>
            </a:r>
            <a:r>
              <a:rPr lang="en-US" dirty="0" err="1"/>
              <a:t>davranışı</a:t>
            </a:r>
            <a:r>
              <a:rPr lang="en-US" dirty="0"/>
              <a:t> </a:t>
            </a:r>
            <a:r>
              <a:rPr lang="en-US" dirty="0" err="1"/>
              <a:t>anketlerine</a:t>
            </a:r>
            <a:r>
              <a:rPr lang="en-US" dirty="0"/>
              <a:t> ek </a:t>
            </a:r>
            <a:r>
              <a:rPr lang="en-US" dirty="0" err="1"/>
              <a:t>olarak</a:t>
            </a:r>
            <a:r>
              <a:rPr lang="en-US" dirty="0"/>
              <a:t> </a:t>
            </a:r>
            <a:r>
              <a:rPr lang="en-US" dirty="0" err="1"/>
              <a:t>başvurulan</a:t>
            </a:r>
            <a:r>
              <a:rPr lang="en-US" dirty="0"/>
              <a:t> </a:t>
            </a:r>
            <a:r>
              <a:rPr lang="en-US" dirty="0" err="1"/>
              <a:t>bir</a:t>
            </a:r>
            <a:r>
              <a:rPr lang="en-US" dirty="0"/>
              <a:t> </a:t>
            </a:r>
            <a:r>
              <a:rPr lang="en-US" dirty="0" err="1"/>
              <a:t>yöntemdir</a:t>
            </a:r>
            <a:r>
              <a:rPr lang="en-US" dirty="0"/>
              <a:t>. </a:t>
            </a:r>
            <a:r>
              <a:rPr lang="en-US" dirty="0" err="1"/>
              <a:t>Nüfus</a:t>
            </a:r>
            <a:r>
              <a:rPr lang="en-US" dirty="0"/>
              <a:t> </a:t>
            </a:r>
            <a:r>
              <a:rPr lang="en-US" dirty="0" err="1"/>
              <a:t>artışı</a:t>
            </a:r>
            <a:r>
              <a:rPr lang="en-US" dirty="0"/>
              <a:t>, </a:t>
            </a:r>
            <a:r>
              <a:rPr lang="en-US" dirty="0" err="1"/>
              <a:t>gelir</a:t>
            </a:r>
            <a:r>
              <a:rPr lang="en-US" dirty="0"/>
              <a:t> </a:t>
            </a:r>
            <a:r>
              <a:rPr lang="en-US" dirty="0" err="1"/>
              <a:t>seviyeleri</a:t>
            </a:r>
            <a:r>
              <a:rPr lang="en-US" dirty="0"/>
              <a:t> </a:t>
            </a:r>
            <a:r>
              <a:rPr lang="en-US" dirty="0" err="1"/>
              <a:t>ve</a:t>
            </a:r>
            <a:r>
              <a:rPr lang="en-US" dirty="0"/>
              <a:t> </a:t>
            </a:r>
            <a:r>
              <a:rPr lang="en-US" dirty="0" err="1"/>
              <a:t>istihdam</a:t>
            </a:r>
            <a:r>
              <a:rPr lang="en-US" dirty="0"/>
              <a:t> </a:t>
            </a:r>
            <a:r>
              <a:rPr lang="en-US" dirty="0" err="1"/>
              <a:t>yöntemleri</a:t>
            </a:r>
            <a:r>
              <a:rPr lang="en-US" dirty="0"/>
              <a:t> </a:t>
            </a:r>
            <a:r>
              <a:rPr lang="en-US" dirty="0" err="1"/>
              <a:t>gibi</a:t>
            </a:r>
            <a:r>
              <a:rPr lang="en-US" dirty="0"/>
              <a:t> </a:t>
            </a:r>
            <a:r>
              <a:rPr lang="en-US" dirty="0" err="1"/>
              <a:t>verileri</a:t>
            </a:r>
            <a:r>
              <a:rPr lang="en-US" dirty="0"/>
              <a:t> </a:t>
            </a:r>
            <a:r>
              <a:rPr lang="en-US" dirty="0" err="1"/>
              <a:t>içerir</a:t>
            </a:r>
            <a:r>
              <a:rPr lang="en-US" dirty="0"/>
              <a:t>.</a:t>
            </a:r>
          </a:p>
          <a:p>
            <a:pPr algn="just">
              <a:defRPr sz="1600"/>
            </a:pPr>
            <a:endParaRPr lang="en-US" dirty="0"/>
          </a:p>
          <a:p>
            <a:pPr algn="just">
              <a:defRPr sz="1600"/>
            </a:pPr>
            <a:r>
              <a:rPr lang="en-US" dirty="0" err="1"/>
              <a:t>Demografik</a:t>
            </a:r>
            <a:r>
              <a:rPr lang="en-US" dirty="0"/>
              <a:t> </a:t>
            </a:r>
            <a:r>
              <a:rPr lang="en-US" dirty="0" err="1"/>
              <a:t>ve</a:t>
            </a:r>
            <a:r>
              <a:rPr lang="en-US" dirty="0"/>
              <a:t> </a:t>
            </a:r>
            <a:r>
              <a:rPr lang="en-US" dirty="0" err="1"/>
              <a:t>ekonomik</a:t>
            </a:r>
            <a:r>
              <a:rPr lang="en-US" dirty="0"/>
              <a:t> </a:t>
            </a:r>
            <a:r>
              <a:rPr lang="en-US" dirty="0" err="1"/>
              <a:t>veri</a:t>
            </a:r>
            <a:r>
              <a:rPr lang="en-US" dirty="0"/>
              <a:t> </a:t>
            </a:r>
            <a:r>
              <a:rPr lang="en-US" dirty="0" err="1"/>
              <a:t>analizinde</a:t>
            </a:r>
            <a:r>
              <a:rPr lang="en-US" dirty="0"/>
              <a:t> </a:t>
            </a:r>
            <a:r>
              <a:rPr lang="en-US" dirty="0" err="1"/>
              <a:t>ele</a:t>
            </a:r>
            <a:r>
              <a:rPr lang="en-US" dirty="0"/>
              <a:t> </a:t>
            </a:r>
            <a:r>
              <a:rPr lang="en-US" dirty="0" err="1"/>
              <a:t>alınması</a:t>
            </a:r>
            <a:r>
              <a:rPr lang="en-US" dirty="0"/>
              <a:t> </a:t>
            </a:r>
            <a:r>
              <a:rPr lang="en-US" dirty="0" err="1"/>
              <a:t>gereken</a:t>
            </a:r>
            <a:r>
              <a:rPr lang="en-US" dirty="0"/>
              <a:t> </a:t>
            </a:r>
            <a:r>
              <a:rPr lang="en-US" dirty="0" err="1"/>
              <a:t>kilit</a:t>
            </a:r>
            <a:r>
              <a:rPr lang="en-US" dirty="0"/>
              <a:t> </a:t>
            </a:r>
            <a:r>
              <a:rPr lang="en-US" dirty="0" err="1"/>
              <a:t>noktalar</a:t>
            </a:r>
            <a:r>
              <a:rPr lang="en-US" dirty="0"/>
              <a:t> </a:t>
            </a:r>
            <a:r>
              <a:rPr lang="en-US" dirty="0" err="1"/>
              <a:t>şunlardır</a:t>
            </a:r>
            <a:r>
              <a:rPr lang="en-US" dirty="0"/>
              <a:t>:</a:t>
            </a:r>
          </a:p>
          <a:p>
            <a:pPr algn="just">
              <a:defRPr sz="1600"/>
            </a:pPr>
            <a:endParaRPr lang="en-US" dirty="0"/>
          </a:p>
          <a:p>
            <a:pPr marL="285750" indent="-285750" algn="just">
              <a:buFont typeface="Arial" panose="020B0604020202020204" pitchFamily="34" charset="0"/>
              <a:buChar char="•"/>
              <a:defRPr sz="1600"/>
            </a:pPr>
            <a:r>
              <a:rPr lang="en-US" dirty="0" err="1"/>
              <a:t>Verinin</a:t>
            </a:r>
            <a:r>
              <a:rPr lang="en-US" dirty="0"/>
              <a:t> </a:t>
            </a:r>
            <a:r>
              <a:rPr lang="en-US" dirty="0" err="1"/>
              <a:t>mevcut</a:t>
            </a:r>
            <a:r>
              <a:rPr lang="en-US" dirty="0"/>
              <a:t> </a:t>
            </a:r>
            <a:r>
              <a:rPr lang="en-US" dirty="0" err="1"/>
              <a:t>olması</a:t>
            </a:r>
            <a:r>
              <a:rPr lang="en-US" dirty="0"/>
              <a:t>: </a:t>
            </a:r>
            <a:r>
              <a:rPr lang="en-US" dirty="0" err="1"/>
              <a:t>İlgili</a:t>
            </a:r>
            <a:r>
              <a:rPr lang="en-US" dirty="0"/>
              <a:t> </a:t>
            </a:r>
            <a:r>
              <a:rPr lang="en-US" dirty="0" err="1"/>
              <a:t>verilerin</a:t>
            </a:r>
            <a:r>
              <a:rPr lang="en-US" dirty="0"/>
              <a:t> </a:t>
            </a:r>
            <a:r>
              <a:rPr lang="en-US" dirty="0" err="1"/>
              <a:t>mevcut</a:t>
            </a:r>
            <a:r>
              <a:rPr lang="en-US" dirty="0"/>
              <a:t> </a:t>
            </a:r>
            <a:r>
              <a:rPr lang="en-US" dirty="0" err="1"/>
              <a:t>ve</a:t>
            </a:r>
            <a:r>
              <a:rPr lang="en-US" dirty="0"/>
              <a:t> </a:t>
            </a:r>
            <a:r>
              <a:rPr lang="en-US" dirty="0" err="1"/>
              <a:t>erişilebilir</a:t>
            </a:r>
            <a:r>
              <a:rPr lang="en-US" dirty="0"/>
              <a:t> </a:t>
            </a:r>
            <a:r>
              <a:rPr lang="en-US" dirty="0" err="1"/>
              <a:t>olmasının</a:t>
            </a:r>
            <a:r>
              <a:rPr lang="en-US" dirty="0"/>
              <a:t> </a:t>
            </a:r>
            <a:r>
              <a:rPr lang="en-US" dirty="0" err="1"/>
              <a:t>sağlanması</a:t>
            </a:r>
            <a:r>
              <a:rPr lang="en-US" dirty="0"/>
              <a:t>,</a:t>
            </a:r>
          </a:p>
          <a:p>
            <a:pPr marL="285750" indent="-285750" algn="just">
              <a:buFont typeface="Arial" panose="020B0604020202020204" pitchFamily="34" charset="0"/>
              <a:buChar char="•"/>
              <a:defRPr sz="1600"/>
            </a:pPr>
            <a:r>
              <a:rPr lang="en-US" dirty="0"/>
              <a:t>Veri </a:t>
            </a:r>
            <a:r>
              <a:rPr lang="en-US" dirty="0" err="1"/>
              <a:t>kalitesi</a:t>
            </a:r>
            <a:r>
              <a:rPr lang="en-US" dirty="0"/>
              <a:t>: </a:t>
            </a:r>
            <a:r>
              <a:rPr lang="en-US" dirty="0" err="1"/>
              <a:t>Verilerin</a:t>
            </a:r>
            <a:r>
              <a:rPr lang="en-US" dirty="0"/>
              <a:t> </a:t>
            </a:r>
            <a:r>
              <a:rPr lang="en-US" dirty="0" err="1"/>
              <a:t>doğru</a:t>
            </a:r>
            <a:r>
              <a:rPr lang="en-US" dirty="0"/>
              <a:t> </a:t>
            </a:r>
            <a:r>
              <a:rPr lang="en-US" dirty="0" err="1"/>
              <a:t>ve</a:t>
            </a:r>
            <a:r>
              <a:rPr lang="en-US" dirty="0"/>
              <a:t> </a:t>
            </a:r>
            <a:r>
              <a:rPr lang="en-US" dirty="0" err="1"/>
              <a:t>güvenilir</a:t>
            </a:r>
            <a:r>
              <a:rPr lang="en-US" dirty="0"/>
              <a:t> </a:t>
            </a:r>
            <a:r>
              <a:rPr lang="en-US" dirty="0" err="1"/>
              <a:t>olmasının</a:t>
            </a:r>
            <a:r>
              <a:rPr lang="en-US" dirty="0"/>
              <a:t> </a:t>
            </a:r>
            <a:r>
              <a:rPr lang="en-US" dirty="0" err="1"/>
              <a:t>sağlanması</a:t>
            </a:r>
            <a:r>
              <a:rPr lang="en-US" dirty="0"/>
              <a:t>,</a:t>
            </a:r>
          </a:p>
          <a:p>
            <a:pPr marL="285750" indent="-285750" algn="just">
              <a:buFont typeface="Arial" panose="020B0604020202020204" pitchFamily="34" charset="0"/>
              <a:buChar char="•"/>
              <a:defRPr sz="1600"/>
            </a:pPr>
            <a:r>
              <a:rPr lang="en-US" dirty="0" err="1"/>
              <a:t>Verilerin</a:t>
            </a:r>
            <a:r>
              <a:rPr lang="en-US" dirty="0"/>
              <a:t> </a:t>
            </a:r>
            <a:r>
              <a:rPr lang="en-US" dirty="0" err="1"/>
              <a:t>yorumlanması</a:t>
            </a:r>
            <a:r>
              <a:rPr lang="en-US" dirty="0"/>
              <a:t>: </a:t>
            </a:r>
            <a:r>
              <a:rPr lang="en-US" dirty="0" err="1"/>
              <a:t>Demografik</a:t>
            </a:r>
            <a:r>
              <a:rPr lang="en-US" dirty="0"/>
              <a:t> </a:t>
            </a:r>
            <a:r>
              <a:rPr lang="en-US" dirty="0" err="1"/>
              <a:t>ve</a:t>
            </a:r>
            <a:r>
              <a:rPr lang="en-US" dirty="0"/>
              <a:t> </a:t>
            </a:r>
            <a:r>
              <a:rPr lang="en-US" dirty="0" err="1"/>
              <a:t>ekonomik</a:t>
            </a:r>
            <a:r>
              <a:rPr lang="en-US" dirty="0"/>
              <a:t> </a:t>
            </a:r>
            <a:r>
              <a:rPr lang="en-US" dirty="0" err="1"/>
              <a:t>faktörlerin</a:t>
            </a:r>
            <a:r>
              <a:rPr lang="en-US" dirty="0"/>
              <a:t> </a:t>
            </a:r>
            <a:r>
              <a:rPr lang="en-US" dirty="0" err="1"/>
              <a:t>seyahat</a:t>
            </a:r>
            <a:r>
              <a:rPr lang="en-US" dirty="0"/>
              <a:t> </a:t>
            </a:r>
            <a:r>
              <a:rPr lang="en-US" dirty="0" err="1"/>
              <a:t>talebini</a:t>
            </a:r>
            <a:r>
              <a:rPr lang="en-US" dirty="0"/>
              <a:t> </a:t>
            </a:r>
            <a:r>
              <a:rPr lang="en-US" dirty="0" err="1"/>
              <a:t>nasıl</a:t>
            </a:r>
            <a:r>
              <a:rPr lang="en-US" dirty="0"/>
              <a:t> </a:t>
            </a:r>
            <a:r>
              <a:rPr lang="en-US" dirty="0" err="1"/>
              <a:t>etkilediğine</a:t>
            </a:r>
            <a:r>
              <a:rPr lang="en-US" dirty="0"/>
              <a:t> </a:t>
            </a:r>
            <a:r>
              <a:rPr lang="en-US" dirty="0" err="1"/>
              <a:t>dair</a:t>
            </a:r>
            <a:r>
              <a:rPr lang="en-US" dirty="0"/>
              <a:t> </a:t>
            </a:r>
            <a:r>
              <a:rPr lang="en-US" dirty="0" err="1"/>
              <a:t>kapsamlı</a:t>
            </a:r>
            <a:r>
              <a:rPr lang="en-US" dirty="0"/>
              <a:t> </a:t>
            </a:r>
            <a:r>
              <a:rPr lang="en-US" dirty="0" err="1"/>
              <a:t>bir</a:t>
            </a:r>
            <a:r>
              <a:rPr lang="en-US" dirty="0"/>
              <a:t> </a:t>
            </a:r>
            <a:r>
              <a:rPr lang="en-US" dirty="0" err="1"/>
              <a:t>anlayış</a:t>
            </a:r>
            <a:r>
              <a:rPr lang="en-US" dirty="0"/>
              <a:t> </a:t>
            </a:r>
            <a:r>
              <a:rPr lang="en-US" dirty="0" err="1"/>
              <a:t>geliştirilmesi</a:t>
            </a:r>
            <a:r>
              <a:rPr lang="en-US" dirty="0"/>
              <a:t>.</a:t>
            </a:r>
          </a:p>
          <a:p>
            <a:pPr algn="just">
              <a:defRPr sz="1600"/>
            </a:pPr>
            <a:r>
              <a:rPr lang="en-US" dirty="0" err="1"/>
              <a:t>Demografik</a:t>
            </a:r>
            <a:r>
              <a:rPr lang="en-US" dirty="0"/>
              <a:t> </a:t>
            </a:r>
            <a:r>
              <a:rPr lang="en-US" dirty="0" err="1"/>
              <a:t>ve</a:t>
            </a:r>
            <a:r>
              <a:rPr lang="en-US" dirty="0"/>
              <a:t> </a:t>
            </a:r>
            <a:r>
              <a:rPr lang="en-US" dirty="0" err="1"/>
              <a:t>ekonomik</a:t>
            </a:r>
            <a:r>
              <a:rPr lang="en-US" dirty="0"/>
              <a:t> </a:t>
            </a:r>
            <a:r>
              <a:rPr lang="en-US" dirty="0" err="1"/>
              <a:t>veri</a:t>
            </a:r>
            <a:r>
              <a:rPr lang="en-US" dirty="0"/>
              <a:t> </a:t>
            </a:r>
            <a:r>
              <a:rPr lang="en-US" dirty="0" err="1"/>
              <a:t>analizi</a:t>
            </a:r>
            <a:r>
              <a:rPr lang="en-US" dirty="0"/>
              <a:t>, </a:t>
            </a:r>
            <a:r>
              <a:rPr lang="en-US" dirty="0" err="1"/>
              <a:t>Ankara'daki</a:t>
            </a:r>
            <a:r>
              <a:rPr lang="en-US" dirty="0"/>
              <a:t> </a:t>
            </a:r>
            <a:r>
              <a:rPr lang="en-US" dirty="0" err="1"/>
              <a:t>ulaşım</a:t>
            </a:r>
            <a:r>
              <a:rPr lang="en-US" dirty="0"/>
              <a:t> </a:t>
            </a:r>
            <a:r>
              <a:rPr lang="en-US" dirty="0" err="1"/>
              <a:t>planlamacılarına</a:t>
            </a:r>
            <a:r>
              <a:rPr lang="en-US" dirty="0"/>
              <a:t> </a:t>
            </a:r>
            <a:r>
              <a:rPr lang="en-US" dirty="0" err="1"/>
              <a:t>şehrin</a:t>
            </a:r>
            <a:r>
              <a:rPr lang="en-US" dirty="0"/>
              <a:t> </a:t>
            </a:r>
            <a:r>
              <a:rPr lang="en-US" dirty="0" err="1"/>
              <a:t>ulaşım</a:t>
            </a:r>
            <a:r>
              <a:rPr lang="en-US" dirty="0"/>
              <a:t> </a:t>
            </a:r>
            <a:r>
              <a:rPr lang="en-US" dirty="0" err="1"/>
              <a:t>gereksinimlerini</a:t>
            </a:r>
            <a:r>
              <a:rPr lang="en-US" dirty="0"/>
              <a:t> </a:t>
            </a:r>
            <a:r>
              <a:rPr lang="en-US" dirty="0" err="1"/>
              <a:t>derinlemesine</a:t>
            </a:r>
            <a:r>
              <a:rPr lang="en-US" dirty="0"/>
              <a:t> </a:t>
            </a:r>
            <a:r>
              <a:rPr lang="en-US" dirty="0" err="1"/>
              <a:t>anlama</a:t>
            </a:r>
            <a:r>
              <a:rPr lang="en-US" dirty="0"/>
              <a:t> </a:t>
            </a:r>
            <a:r>
              <a:rPr lang="en-US" dirty="0" err="1"/>
              <a:t>ve</a:t>
            </a:r>
            <a:r>
              <a:rPr lang="en-US" dirty="0"/>
              <a:t> </a:t>
            </a:r>
            <a:r>
              <a:rPr lang="en-US" dirty="0" err="1"/>
              <a:t>bu</a:t>
            </a:r>
            <a:r>
              <a:rPr lang="en-US" dirty="0"/>
              <a:t> </a:t>
            </a:r>
            <a:r>
              <a:rPr lang="en-US" dirty="0" err="1"/>
              <a:t>ihtiyaçları</a:t>
            </a:r>
            <a:r>
              <a:rPr lang="en-US" dirty="0"/>
              <a:t> </a:t>
            </a:r>
            <a:r>
              <a:rPr lang="en-US" dirty="0" err="1"/>
              <a:t>karşılamak</a:t>
            </a:r>
            <a:r>
              <a:rPr lang="en-US" dirty="0"/>
              <a:t> </a:t>
            </a:r>
            <a:r>
              <a:rPr lang="en-US" dirty="0" err="1"/>
              <a:t>için</a:t>
            </a:r>
            <a:r>
              <a:rPr lang="en-US" dirty="0"/>
              <a:t> </a:t>
            </a:r>
            <a:r>
              <a:rPr lang="en-US" dirty="0" err="1"/>
              <a:t>etkili</a:t>
            </a:r>
            <a:r>
              <a:rPr lang="en-US" dirty="0"/>
              <a:t> </a:t>
            </a:r>
            <a:r>
              <a:rPr lang="en-US" dirty="0" err="1"/>
              <a:t>stratejiler</a:t>
            </a:r>
            <a:r>
              <a:rPr lang="en-US" dirty="0"/>
              <a:t> </a:t>
            </a:r>
            <a:r>
              <a:rPr lang="en-US" dirty="0" err="1"/>
              <a:t>geliştirme</a:t>
            </a:r>
            <a:r>
              <a:rPr lang="en-US" dirty="0"/>
              <a:t> </a:t>
            </a:r>
            <a:r>
              <a:rPr lang="en-US" dirty="0" err="1"/>
              <a:t>imkanı</a:t>
            </a:r>
            <a:r>
              <a:rPr lang="en-US" dirty="0"/>
              <a:t> </a:t>
            </a:r>
            <a:r>
              <a:rPr lang="en-US" dirty="0" err="1"/>
              <a:t>sağlar</a:t>
            </a:r>
            <a:r>
              <a:rPr lang="en-US" dirty="0"/>
              <a:t>.</a:t>
            </a:r>
          </a:p>
        </p:txBody>
      </p:sp>
      <p:pic>
        <p:nvPicPr>
          <p:cNvPr id="7" name="Picture 6" descr="A group of people standing around a computer  Description automatically generated with medium confidence">
            <a:extLst>
              <a:ext uri="{FF2B5EF4-FFF2-40B4-BE49-F238E27FC236}">
                <a16:creationId xmlns:a16="http://schemas.microsoft.com/office/drawing/2014/main" id="{1E4AE8EB-5C10-BF24-668B-CB358E67008C}"/>
              </a:ext>
            </a:extLst>
          </p:cNvPr>
          <p:cNvPicPr>
            <a:picLocks noChangeAspect="1"/>
          </p:cNvPicPr>
          <p:nvPr/>
        </p:nvPicPr>
        <p:blipFill>
          <a:blip r:embed="rId4"/>
          <a:stretch>
            <a:fillRect/>
          </a:stretch>
        </p:blipFill>
        <p:spPr>
          <a:xfrm>
            <a:off x="7664443" y="2211355"/>
            <a:ext cx="4527557" cy="3018371"/>
          </a:xfrm>
          <a:prstGeom prst="rect">
            <a:avLst/>
          </a:prstGeom>
        </p:spPr>
      </p:pic>
    </p:spTree>
    <p:extLst>
      <p:ext uri="{BB962C8B-B14F-4D97-AF65-F5344CB8AC3E}">
        <p14:creationId xmlns:p14="http://schemas.microsoft.com/office/powerpoint/2010/main" val="13983124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ekstniOkvir 3">
            <a:extLst>
              <a:ext uri="{FF2B5EF4-FFF2-40B4-BE49-F238E27FC236}">
                <a16:creationId xmlns:a16="http://schemas.microsoft.com/office/drawing/2014/main" id="{87ED4D99-B5A6-9508-DD41-338052728679}"/>
              </a:ext>
            </a:extLst>
          </p:cNvPr>
          <p:cNvSpPr txBox="1"/>
          <p:nvPr/>
        </p:nvSpPr>
        <p:spPr>
          <a:xfrm>
            <a:off x="615731" y="1311929"/>
            <a:ext cx="6129102" cy="584775"/>
          </a:xfrm>
          <a:prstGeom prst="rect">
            <a:avLst/>
          </a:prstGeom>
          <a:noFill/>
        </p:spPr>
        <p:txBody>
          <a:bodyPr wrap="square">
            <a:spAutoFit/>
          </a:bodyPr>
          <a:lstStyle/>
          <a:p>
            <a:pPr algn="ctr">
              <a:defRPr sz="3200"/>
            </a:pPr>
            <a:r>
              <a:rPr dirty="0"/>
              <a:t>Ulaşım </a:t>
            </a:r>
            <a:r>
              <a:rPr dirty="0" err="1"/>
              <a:t>Planlamasına</a:t>
            </a:r>
            <a:r>
              <a:rPr dirty="0"/>
              <a:t> </a:t>
            </a:r>
            <a:r>
              <a:rPr dirty="0" err="1"/>
              <a:t>Giriş</a:t>
            </a:r>
            <a:r>
              <a:rPr dirty="0"/>
              <a:t> </a:t>
            </a:r>
            <a:endParaRPr lang="hr-HR" sz="3200" b="1" dirty="0">
              <a:ea typeface="MS Mincho" panose="02020609040205080304" pitchFamily="49" charset="-128"/>
              <a:cs typeface="Calibri" panose="020F0502020204030204" pitchFamily="34" charset="0"/>
            </a:endParaRPr>
          </a:p>
        </p:txBody>
      </p:sp>
      <p:sp>
        <p:nvSpPr>
          <p:cNvPr id="3" name="TextBox 2">
            <a:extLst>
              <a:ext uri="{FF2B5EF4-FFF2-40B4-BE49-F238E27FC236}">
                <a16:creationId xmlns:a16="http://schemas.microsoft.com/office/drawing/2014/main" id="{6635BEF2-BF40-4F43-DA28-489AC9FEA655}"/>
              </a:ext>
            </a:extLst>
          </p:cNvPr>
          <p:cNvSpPr txBox="1"/>
          <p:nvPr/>
        </p:nvSpPr>
        <p:spPr>
          <a:xfrm>
            <a:off x="814812" y="2272419"/>
            <a:ext cx="5504507" cy="3693319"/>
          </a:xfrm>
          <a:prstGeom prst="rect">
            <a:avLst/>
          </a:prstGeom>
          <a:noFill/>
        </p:spPr>
        <p:txBody>
          <a:bodyPr wrap="square">
            <a:spAutoFit/>
          </a:bodyPr>
          <a:lstStyle/>
          <a:p>
            <a:pPr marL="285750" indent="-285750" algn="just">
              <a:buFont typeface="Arial" panose="020B0604020202020204" pitchFamily="34" charset="0"/>
              <a:buChar char="•"/>
            </a:pPr>
            <a:r>
              <a:rPr lang="tr-TR" dirty="0"/>
              <a:t>Ulaşım </a:t>
            </a:r>
            <a:r>
              <a:rPr dirty="0" err="1"/>
              <a:t>planlaması</a:t>
            </a:r>
            <a:r>
              <a:rPr lang="tr-TR" dirty="0"/>
              <a:t> şehirlerde</a:t>
            </a:r>
            <a:r>
              <a:rPr dirty="0"/>
              <a:t> </a:t>
            </a:r>
            <a:r>
              <a:rPr dirty="0" err="1"/>
              <a:t>sakinlerin</a:t>
            </a:r>
            <a:r>
              <a:rPr dirty="0"/>
              <a:t> </a:t>
            </a:r>
            <a:r>
              <a:rPr dirty="0" err="1"/>
              <a:t>hareketlilik</a:t>
            </a:r>
            <a:r>
              <a:rPr dirty="0"/>
              <a:t> </a:t>
            </a:r>
            <a:r>
              <a:rPr dirty="0" err="1"/>
              <a:t>ihtiyaçlarını</a:t>
            </a:r>
            <a:r>
              <a:rPr dirty="0"/>
              <a:t> </a:t>
            </a:r>
            <a:r>
              <a:rPr dirty="0" err="1"/>
              <a:t>karşılamak</a:t>
            </a:r>
            <a:r>
              <a:rPr dirty="0"/>
              <a:t> </a:t>
            </a:r>
            <a:r>
              <a:rPr dirty="0" err="1"/>
              <a:t>için</a:t>
            </a:r>
            <a:r>
              <a:rPr dirty="0"/>
              <a:t> </a:t>
            </a:r>
            <a:r>
              <a:rPr dirty="0" err="1"/>
              <a:t>ulaşım</a:t>
            </a:r>
            <a:r>
              <a:rPr dirty="0"/>
              <a:t> </a:t>
            </a:r>
            <a:r>
              <a:rPr dirty="0" err="1"/>
              <a:t>sistemlerinin</a:t>
            </a:r>
            <a:r>
              <a:rPr dirty="0"/>
              <a:t> </a:t>
            </a:r>
            <a:r>
              <a:rPr lang="tr-TR" dirty="0"/>
              <a:t>düzenli </a:t>
            </a:r>
            <a:r>
              <a:rPr dirty="0" err="1"/>
              <a:t>analizini</a:t>
            </a:r>
            <a:r>
              <a:rPr dirty="0"/>
              <a:t>, </a:t>
            </a:r>
            <a:r>
              <a:rPr lang="tr-TR" dirty="0"/>
              <a:t>tasarımını</a:t>
            </a:r>
            <a:r>
              <a:rPr dirty="0"/>
              <a:t> </a:t>
            </a:r>
            <a:r>
              <a:rPr dirty="0" err="1"/>
              <a:t>ve</a:t>
            </a:r>
            <a:r>
              <a:rPr dirty="0"/>
              <a:t> </a:t>
            </a:r>
            <a:r>
              <a:rPr dirty="0" err="1"/>
              <a:t>uygulanmasını</a:t>
            </a:r>
            <a:r>
              <a:rPr dirty="0"/>
              <a:t> </a:t>
            </a:r>
            <a:r>
              <a:rPr dirty="0" err="1"/>
              <a:t>içerir</a:t>
            </a:r>
            <a:r>
              <a:rPr lang="tr-TR" dirty="0"/>
              <a:t>.</a:t>
            </a:r>
            <a:r>
              <a:rPr dirty="0"/>
              <a:t> </a:t>
            </a:r>
            <a:r>
              <a:rPr lang="tr-TR" dirty="0"/>
              <a:t>A</a:t>
            </a:r>
            <a:r>
              <a:rPr dirty="0" err="1"/>
              <a:t>ynı</a:t>
            </a:r>
            <a:r>
              <a:rPr dirty="0"/>
              <a:t> </a:t>
            </a:r>
            <a:r>
              <a:rPr dirty="0" err="1"/>
              <a:t>zamanda</a:t>
            </a:r>
            <a:r>
              <a:rPr dirty="0"/>
              <a:t> </a:t>
            </a:r>
            <a:r>
              <a:rPr dirty="0" err="1"/>
              <a:t>sürdürülebilirlik</a:t>
            </a:r>
            <a:r>
              <a:rPr dirty="0"/>
              <a:t>, </a:t>
            </a:r>
            <a:r>
              <a:rPr dirty="0" err="1"/>
              <a:t>güvenlik</a:t>
            </a:r>
            <a:r>
              <a:rPr dirty="0"/>
              <a:t> </a:t>
            </a:r>
            <a:r>
              <a:rPr dirty="0" err="1"/>
              <a:t>ve</a:t>
            </a:r>
            <a:r>
              <a:rPr dirty="0"/>
              <a:t> </a:t>
            </a:r>
            <a:r>
              <a:rPr dirty="0" err="1"/>
              <a:t>verimlilik</a:t>
            </a:r>
            <a:r>
              <a:rPr dirty="0"/>
              <a:t> </a:t>
            </a:r>
            <a:r>
              <a:rPr dirty="0" err="1"/>
              <a:t>ilkelerini</a:t>
            </a:r>
            <a:r>
              <a:rPr dirty="0"/>
              <a:t> </a:t>
            </a:r>
            <a:r>
              <a:rPr dirty="0" err="1"/>
              <a:t>teşvik</a:t>
            </a:r>
            <a:r>
              <a:rPr dirty="0"/>
              <a:t> </a:t>
            </a:r>
            <a:r>
              <a:rPr dirty="0" err="1"/>
              <a:t>etmeyi</a:t>
            </a:r>
            <a:r>
              <a:rPr dirty="0"/>
              <a:t> </a:t>
            </a:r>
            <a:r>
              <a:rPr lang="tr-TR" dirty="0"/>
              <a:t>hedefler</a:t>
            </a:r>
            <a:r>
              <a:rPr dirty="0"/>
              <a:t>.</a:t>
            </a:r>
            <a:endParaRPr lang="hr-HR" dirty="0"/>
          </a:p>
          <a:p>
            <a:pPr marL="285750" indent="-285750" algn="just">
              <a:buFont typeface="Arial" panose="020B0604020202020204" pitchFamily="34" charset="0"/>
              <a:buChar char="•"/>
            </a:pPr>
            <a:r>
              <a:rPr lang="tr-TR" dirty="0"/>
              <a:t>Bu hususta a</a:t>
            </a:r>
            <a:r>
              <a:rPr dirty="0" err="1"/>
              <a:t>maç</a:t>
            </a:r>
            <a:r>
              <a:rPr dirty="0"/>
              <a:t>, </a:t>
            </a:r>
            <a:r>
              <a:rPr dirty="0" err="1"/>
              <a:t>çeşitli</a:t>
            </a:r>
            <a:r>
              <a:rPr dirty="0"/>
              <a:t> </a:t>
            </a:r>
            <a:r>
              <a:rPr dirty="0" err="1"/>
              <a:t>ulaşım</a:t>
            </a:r>
            <a:r>
              <a:rPr dirty="0"/>
              <a:t> </a:t>
            </a:r>
            <a:r>
              <a:rPr dirty="0" err="1"/>
              <a:t>modları</a:t>
            </a:r>
            <a:r>
              <a:rPr dirty="0"/>
              <a:t>, </a:t>
            </a:r>
            <a:r>
              <a:rPr dirty="0" err="1"/>
              <a:t>arazi</a:t>
            </a:r>
            <a:r>
              <a:rPr dirty="0"/>
              <a:t> </a:t>
            </a:r>
            <a:r>
              <a:rPr dirty="0" err="1"/>
              <a:t>kullanım</a:t>
            </a:r>
            <a:r>
              <a:rPr lang="tr-TR" dirty="0"/>
              <a:t> kalıpları</a:t>
            </a:r>
            <a:r>
              <a:rPr dirty="0"/>
              <a:t>, </a:t>
            </a:r>
            <a:r>
              <a:rPr lang="tr-TR" dirty="0"/>
              <a:t>çevre ile ilgili etkenler</a:t>
            </a:r>
            <a:r>
              <a:rPr dirty="0"/>
              <a:t> </a:t>
            </a:r>
            <a:r>
              <a:rPr dirty="0" err="1"/>
              <a:t>ve</a:t>
            </a:r>
            <a:r>
              <a:rPr dirty="0"/>
              <a:t> </a:t>
            </a:r>
            <a:r>
              <a:rPr dirty="0" err="1"/>
              <a:t>sosyal</a:t>
            </a:r>
            <a:r>
              <a:rPr dirty="0"/>
              <a:t> </a:t>
            </a:r>
            <a:r>
              <a:rPr dirty="0" err="1"/>
              <a:t>eşitlik</a:t>
            </a:r>
            <a:r>
              <a:rPr dirty="0"/>
              <a:t> </a:t>
            </a:r>
            <a:r>
              <a:rPr dirty="0" err="1"/>
              <a:t>arasında</a:t>
            </a:r>
            <a:r>
              <a:rPr dirty="0"/>
              <a:t> </a:t>
            </a:r>
            <a:r>
              <a:rPr dirty="0" err="1"/>
              <a:t>bir</a:t>
            </a:r>
            <a:r>
              <a:rPr dirty="0"/>
              <a:t> </a:t>
            </a:r>
            <a:r>
              <a:rPr dirty="0" err="1"/>
              <a:t>denge</a:t>
            </a:r>
            <a:r>
              <a:rPr dirty="0"/>
              <a:t> </a:t>
            </a:r>
            <a:r>
              <a:rPr dirty="0" err="1"/>
              <a:t>yaratmaktır</a:t>
            </a:r>
            <a:r>
              <a:rPr dirty="0"/>
              <a:t>.</a:t>
            </a:r>
            <a:endParaRPr lang="hr-HR" dirty="0"/>
          </a:p>
          <a:p>
            <a:pPr marL="285750" indent="-285750" algn="just">
              <a:buFont typeface="Arial" panose="020B0604020202020204" pitchFamily="34" charset="0"/>
              <a:buChar char="•"/>
            </a:pPr>
            <a:r>
              <a:rPr lang="tr-TR" dirty="0"/>
              <a:t>Ulaşım planlaması e</a:t>
            </a:r>
            <a:r>
              <a:rPr dirty="0" err="1"/>
              <a:t>rişilebilirlik</a:t>
            </a:r>
            <a:r>
              <a:rPr dirty="0"/>
              <a:t>, </a:t>
            </a:r>
            <a:r>
              <a:rPr dirty="0" err="1"/>
              <a:t>entegrasyon</a:t>
            </a:r>
            <a:r>
              <a:rPr dirty="0"/>
              <a:t> </a:t>
            </a:r>
            <a:r>
              <a:rPr dirty="0" err="1"/>
              <a:t>ve</a:t>
            </a:r>
            <a:r>
              <a:rPr dirty="0"/>
              <a:t> </a:t>
            </a:r>
            <a:r>
              <a:rPr dirty="0" err="1"/>
              <a:t>çevre</a:t>
            </a:r>
            <a:r>
              <a:rPr dirty="0"/>
              <a:t> </a:t>
            </a:r>
            <a:r>
              <a:rPr dirty="0" err="1"/>
              <a:t>dostu</a:t>
            </a:r>
            <a:r>
              <a:rPr dirty="0"/>
              <a:t> </a:t>
            </a:r>
            <a:r>
              <a:rPr dirty="0" err="1"/>
              <a:t>bir</a:t>
            </a:r>
            <a:r>
              <a:rPr dirty="0"/>
              <a:t> </a:t>
            </a:r>
            <a:r>
              <a:rPr dirty="0" err="1"/>
              <a:t>yaklaşımı</a:t>
            </a:r>
            <a:r>
              <a:rPr dirty="0"/>
              <a:t> </a:t>
            </a:r>
            <a:r>
              <a:rPr dirty="0" err="1"/>
              <a:t>benimse</a:t>
            </a:r>
            <a:r>
              <a:rPr lang="tr-TR" dirty="0"/>
              <a:t>r ve böylece </a:t>
            </a:r>
            <a:r>
              <a:rPr dirty="0" err="1"/>
              <a:t>ulaşım</a:t>
            </a:r>
            <a:r>
              <a:rPr dirty="0"/>
              <a:t> </a:t>
            </a:r>
            <a:r>
              <a:rPr dirty="0" err="1"/>
              <a:t>ile</a:t>
            </a:r>
            <a:r>
              <a:rPr dirty="0"/>
              <a:t> </a:t>
            </a:r>
            <a:r>
              <a:rPr dirty="0" err="1"/>
              <a:t>kentsel</a:t>
            </a:r>
            <a:r>
              <a:rPr dirty="0"/>
              <a:t> </a:t>
            </a:r>
            <a:r>
              <a:rPr dirty="0" err="1"/>
              <a:t>gelişim</a:t>
            </a:r>
            <a:r>
              <a:rPr dirty="0"/>
              <a:t> </a:t>
            </a:r>
            <a:r>
              <a:rPr dirty="0" err="1"/>
              <a:t>arasındaki</a:t>
            </a:r>
            <a:r>
              <a:rPr dirty="0"/>
              <a:t> </a:t>
            </a:r>
            <a:r>
              <a:rPr dirty="0" err="1"/>
              <a:t>etkileşimi</a:t>
            </a:r>
            <a:r>
              <a:rPr dirty="0"/>
              <a:t> </a:t>
            </a:r>
            <a:r>
              <a:rPr dirty="0" err="1"/>
              <a:t>dikkate</a:t>
            </a:r>
            <a:r>
              <a:rPr dirty="0"/>
              <a:t> </a:t>
            </a:r>
            <a:r>
              <a:rPr dirty="0" err="1"/>
              <a:t>alarak</a:t>
            </a:r>
            <a:r>
              <a:rPr dirty="0"/>
              <a:t> </a:t>
            </a:r>
            <a:r>
              <a:rPr dirty="0" err="1"/>
              <a:t>şehirlerin</a:t>
            </a:r>
            <a:r>
              <a:rPr dirty="0"/>
              <a:t> </a:t>
            </a:r>
            <a:r>
              <a:rPr dirty="0" err="1"/>
              <a:t>geliştirilmesini</a:t>
            </a:r>
            <a:r>
              <a:rPr dirty="0"/>
              <a:t> </a:t>
            </a:r>
            <a:r>
              <a:rPr dirty="0" err="1"/>
              <a:t>hedefler</a:t>
            </a:r>
            <a:r>
              <a:rPr dirty="0"/>
              <a:t>.</a:t>
            </a:r>
          </a:p>
          <a:p>
            <a:pPr algn="just"/>
            <a:endParaRPr lang="en-US" dirty="0"/>
          </a:p>
        </p:txBody>
      </p:sp>
      <p:pic>
        <p:nvPicPr>
          <p:cNvPr id="4" name="Picture 3" descr="A person and person standing next to a white board  Description automatically generated with medium confidence">
            <a:extLst>
              <a:ext uri="{FF2B5EF4-FFF2-40B4-BE49-F238E27FC236}">
                <a16:creationId xmlns:a16="http://schemas.microsoft.com/office/drawing/2014/main" id="{C1B21531-BC5D-5487-8760-3E495E71D577}"/>
              </a:ext>
            </a:extLst>
          </p:cNvPr>
          <p:cNvPicPr>
            <a:picLocks noChangeAspect="1"/>
          </p:cNvPicPr>
          <p:nvPr/>
        </p:nvPicPr>
        <p:blipFill>
          <a:blip r:embed="rId4"/>
          <a:stretch>
            <a:fillRect/>
          </a:stretch>
        </p:blipFill>
        <p:spPr>
          <a:xfrm>
            <a:off x="6319319" y="1617914"/>
            <a:ext cx="5611730" cy="4107380"/>
          </a:xfrm>
          <a:prstGeom prst="rect">
            <a:avLst/>
          </a:prstGeom>
          <a:effectLst>
            <a:softEdge rad="368300"/>
          </a:effectLst>
        </p:spPr>
      </p:pic>
    </p:spTree>
    <p:extLst>
      <p:ext uri="{BB962C8B-B14F-4D97-AF65-F5344CB8AC3E}">
        <p14:creationId xmlns:p14="http://schemas.microsoft.com/office/powerpoint/2010/main" val="19425949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ABB9A-8381-E048-B51B-ADFD36312BC9}"/>
              </a:ext>
            </a:extLst>
          </p:cNvPr>
          <p:cNvSpPr>
            <a:spLocks noGrp="1"/>
          </p:cNvSpPr>
          <p:nvPr>
            <p:ph type="ctrTitle"/>
          </p:nvPr>
        </p:nvSpPr>
        <p:spPr>
          <a:xfrm>
            <a:off x="1524000" y="2487439"/>
            <a:ext cx="9144000" cy="1883121"/>
          </a:xfrm>
        </p:spPr>
        <p:txBody>
          <a:bodyPr>
            <a:normAutofit fontScale="90000"/>
          </a:bodyPr>
          <a:lstStyle/>
          <a:p>
            <a:pPr algn="ctr">
              <a:defRPr sz="6600" b="1"/>
            </a:pPr>
            <a:r>
              <a:t>Modelleme ve Simülasyon Bileşenleri </a:t>
            </a:r>
            <a:endParaRPr lang="hr-HR" sz="6600" b="1" dirty="0">
              <a:ea typeface="MS Mincho" panose="02020609040205080304" pitchFamily="49" charset="-128"/>
              <a:cs typeface="Calibri" panose="020F0502020204030204" pitchFamily="34" charset="0"/>
            </a:endParaRPr>
          </a:p>
        </p:txBody>
      </p:sp>
    </p:spTree>
    <p:extLst>
      <p:ext uri="{BB962C8B-B14F-4D97-AF65-F5344CB8AC3E}">
        <p14:creationId xmlns:p14="http://schemas.microsoft.com/office/powerpoint/2010/main" val="311355460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TekstniOkvir 3">
            <a:extLst>
              <a:ext uri="{FF2B5EF4-FFF2-40B4-BE49-F238E27FC236}">
                <a16:creationId xmlns:a16="http://schemas.microsoft.com/office/drawing/2014/main" id="{CF5ED112-659E-11FA-5E1E-185D5C3E5BD8}"/>
              </a:ext>
            </a:extLst>
          </p:cNvPr>
          <p:cNvSpPr txBox="1"/>
          <p:nvPr/>
        </p:nvSpPr>
        <p:spPr>
          <a:xfrm>
            <a:off x="-471981" y="972873"/>
            <a:ext cx="5784980" cy="646331"/>
          </a:xfrm>
          <a:prstGeom prst="rect">
            <a:avLst/>
          </a:prstGeom>
          <a:noFill/>
        </p:spPr>
        <p:txBody>
          <a:bodyPr wrap="square">
            <a:spAutoFit/>
          </a:bodyPr>
          <a:lstStyle/>
          <a:p>
            <a:pPr algn="ctr">
              <a:defRPr sz="3600"/>
            </a:pPr>
            <a:r>
              <a:t>Modelleme bileşenleri</a:t>
            </a:r>
            <a:endParaRPr lang="en-US" sz="3600" b="1" dirty="0">
              <a:ea typeface="MS Mincho" panose="02020609040205080304" pitchFamily="49" charset="-128"/>
              <a:cs typeface="Calibri" panose="020F0502020204030204" pitchFamily="34" charset="0"/>
            </a:endParaRPr>
          </a:p>
        </p:txBody>
      </p:sp>
      <p:graphicFrame>
        <p:nvGraphicFramePr>
          <p:cNvPr id="6" name="Diagram 5">
            <a:extLst>
              <a:ext uri="{FF2B5EF4-FFF2-40B4-BE49-F238E27FC236}">
                <a16:creationId xmlns:a16="http://schemas.microsoft.com/office/drawing/2014/main" id="{EE1DD522-BCFC-921D-7685-ABAD3AB7DE7E}"/>
              </a:ext>
            </a:extLst>
          </p:cNvPr>
          <p:cNvGraphicFramePr/>
          <p:nvPr>
            <p:extLst>
              <p:ext uri="{D42A27DB-BD31-4B8C-83A1-F6EECF244321}">
                <p14:modId xmlns:p14="http://schemas.microsoft.com/office/powerpoint/2010/main" val="564442063"/>
              </p:ext>
            </p:extLst>
          </p:nvPr>
        </p:nvGraphicFramePr>
        <p:xfrm>
          <a:off x="520572" y="1682651"/>
          <a:ext cx="8071167" cy="418576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8" name="Picture 7" descr="A picture containing diagram, screenshot, text, circle  Description automatically generated">
            <a:extLst>
              <a:ext uri="{FF2B5EF4-FFF2-40B4-BE49-F238E27FC236}">
                <a16:creationId xmlns:a16="http://schemas.microsoft.com/office/drawing/2014/main" id="{A340A75A-6F5E-B409-EEDB-20A84253B2AF}"/>
              </a:ext>
            </a:extLst>
          </p:cNvPr>
          <p:cNvPicPr>
            <a:picLocks noChangeAspect="1"/>
          </p:cNvPicPr>
          <p:nvPr/>
        </p:nvPicPr>
        <p:blipFill>
          <a:blip r:embed="rId9"/>
          <a:stretch>
            <a:fillRect/>
          </a:stretch>
        </p:blipFill>
        <p:spPr>
          <a:xfrm>
            <a:off x="8726987" y="2353902"/>
            <a:ext cx="3465013" cy="2754614"/>
          </a:xfrm>
          <a:prstGeom prst="rect">
            <a:avLst/>
          </a:prstGeom>
        </p:spPr>
      </p:pic>
    </p:spTree>
    <p:extLst>
      <p:ext uri="{BB962C8B-B14F-4D97-AF65-F5344CB8AC3E}">
        <p14:creationId xmlns:p14="http://schemas.microsoft.com/office/powerpoint/2010/main" val="265086647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TekstniOkvir 3">
            <a:extLst>
              <a:ext uri="{FF2B5EF4-FFF2-40B4-BE49-F238E27FC236}">
                <a16:creationId xmlns:a16="http://schemas.microsoft.com/office/drawing/2014/main" id="{CF5ED112-659E-11FA-5E1E-185D5C3E5BD8}"/>
              </a:ext>
            </a:extLst>
          </p:cNvPr>
          <p:cNvSpPr txBox="1"/>
          <p:nvPr/>
        </p:nvSpPr>
        <p:spPr>
          <a:xfrm>
            <a:off x="6653096" y="800857"/>
            <a:ext cx="5784980" cy="1200329"/>
          </a:xfrm>
          <a:prstGeom prst="rect">
            <a:avLst/>
          </a:prstGeom>
          <a:noFill/>
        </p:spPr>
        <p:txBody>
          <a:bodyPr wrap="square">
            <a:spAutoFit/>
          </a:bodyPr>
          <a:lstStyle/>
          <a:p>
            <a:pPr algn="ctr">
              <a:defRPr sz="3600"/>
            </a:pPr>
            <a:r>
              <a:t>Modelleme ve Simülasyon Araçları</a:t>
            </a:r>
            <a:endParaRPr lang="hr-HR" sz="3600" b="1" dirty="0">
              <a:ea typeface="MS Mincho" panose="02020609040205080304" pitchFamily="49" charset="-128"/>
              <a:cs typeface="Calibri" panose="020F0502020204030204" pitchFamily="34" charset="0"/>
            </a:endParaRPr>
          </a:p>
        </p:txBody>
      </p:sp>
      <p:sp>
        <p:nvSpPr>
          <p:cNvPr id="5" name="TextBox 4">
            <a:extLst>
              <a:ext uri="{FF2B5EF4-FFF2-40B4-BE49-F238E27FC236}">
                <a16:creationId xmlns:a16="http://schemas.microsoft.com/office/drawing/2014/main" id="{B7FE495A-F94C-0300-0990-5E617472B322}"/>
              </a:ext>
            </a:extLst>
          </p:cNvPr>
          <p:cNvSpPr txBox="1"/>
          <p:nvPr/>
        </p:nvSpPr>
        <p:spPr>
          <a:xfrm>
            <a:off x="103537" y="1286344"/>
            <a:ext cx="6371908" cy="4770537"/>
          </a:xfrm>
          <a:prstGeom prst="rect">
            <a:avLst/>
          </a:prstGeom>
          <a:noFill/>
        </p:spPr>
        <p:txBody>
          <a:bodyPr wrap="square">
            <a:spAutoFit/>
          </a:bodyPr>
          <a:lstStyle/>
          <a:p>
            <a:pPr algn="just">
              <a:defRPr sz="1600"/>
            </a:pPr>
            <a:r>
              <a:rPr dirty="0" err="1"/>
              <a:t>Modelleme</a:t>
            </a:r>
            <a:r>
              <a:rPr dirty="0"/>
              <a:t> </a:t>
            </a:r>
            <a:r>
              <a:rPr dirty="0" err="1"/>
              <a:t>ve</a:t>
            </a:r>
            <a:r>
              <a:rPr dirty="0"/>
              <a:t> </a:t>
            </a:r>
            <a:r>
              <a:rPr dirty="0" err="1"/>
              <a:t>simülasyon</a:t>
            </a:r>
            <a:r>
              <a:rPr dirty="0"/>
              <a:t> </a:t>
            </a:r>
            <a:r>
              <a:rPr dirty="0" err="1"/>
              <a:t>araçları</a:t>
            </a:r>
            <a:r>
              <a:rPr dirty="0"/>
              <a:t> </a:t>
            </a:r>
            <a:r>
              <a:rPr dirty="0" err="1"/>
              <a:t>gelecekteki</a:t>
            </a:r>
            <a:r>
              <a:rPr dirty="0"/>
              <a:t> </a:t>
            </a:r>
            <a:r>
              <a:rPr dirty="0" err="1"/>
              <a:t>seyahat</a:t>
            </a:r>
            <a:r>
              <a:rPr dirty="0"/>
              <a:t> </a:t>
            </a:r>
            <a:r>
              <a:rPr dirty="0" err="1"/>
              <a:t>talebini</a:t>
            </a:r>
            <a:r>
              <a:rPr dirty="0"/>
              <a:t> </a:t>
            </a:r>
            <a:r>
              <a:rPr dirty="0" err="1"/>
              <a:t>hassas</a:t>
            </a:r>
            <a:r>
              <a:rPr dirty="0"/>
              <a:t> </a:t>
            </a:r>
            <a:r>
              <a:rPr dirty="0" err="1"/>
              <a:t>bir</a:t>
            </a:r>
            <a:r>
              <a:rPr dirty="0"/>
              <a:t> </a:t>
            </a:r>
            <a:r>
              <a:rPr dirty="0" err="1"/>
              <a:t>şekilde</a:t>
            </a:r>
            <a:r>
              <a:rPr dirty="0"/>
              <a:t> </a:t>
            </a:r>
            <a:r>
              <a:rPr dirty="0" err="1"/>
              <a:t>öngörmek</a:t>
            </a:r>
            <a:r>
              <a:rPr dirty="0"/>
              <a:t> </a:t>
            </a:r>
            <a:r>
              <a:rPr dirty="0" err="1"/>
              <a:t>ve</a:t>
            </a:r>
            <a:r>
              <a:rPr dirty="0"/>
              <a:t> </a:t>
            </a:r>
            <a:r>
              <a:rPr dirty="0" err="1"/>
              <a:t>taşımacılık</a:t>
            </a:r>
            <a:r>
              <a:rPr dirty="0"/>
              <a:t> </a:t>
            </a:r>
            <a:r>
              <a:rPr dirty="0" err="1"/>
              <a:t>projelerinin</a:t>
            </a:r>
            <a:r>
              <a:rPr dirty="0"/>
              <a:t> </a:t>
            </a:r>
            <a:r>
              <a:rPr dirty="0" err="1"/>
              <a:t>etkilerini</a:t>
            </a:r>
            <a:r>
              <a:rPr dirty="0"/>
              <a:t> </a:t>
            </a:r>
            <a:r>
              <a:rPr dirty="0" err="1"/>
              <a:t>değerlendirmek</a:t>
            </a:r>
            <a:r>
              <a:rPr dirty="0"/>
              <a:t> </a:t>
            </a:r>
            <a:r>
              <a:rPr dirty="0" err="1"/>
              <a:t>adına</a:t>
            </a:r>
            <a:r>
              <a:rPr dirty="0"/>
              <a:t> </a:t>
            </a:r>
            <a:r>
              <a:rPr dirty="0" err="1"/>
              <a:t>ulaşım</a:t>
            </a:r>
            <a:r>
              <a:rPr dirty="0"/>
              <a:t> </a:t>
            </a:r>
            <a:r>
              <a:rPr dirty="0" err="1"/>
              <a:t>planlamacıları</a:t>
            </a:r>
            <a:r>
              <a:rPr dirty="0"/>
              <a:t> </a:t>
            </a:r>
            <a:r>
              <a:rPr dirty="0" err="1"/>
              <a:t>için</a:t>
            </a:r>
            <a:r>
              <a:rPr dirty="0"/>
              <a:t> </a:t>
            </a:r>
            <a:r>
              <a:rPr dirty="0" err="1"/>
              <a:t>vazgeçilmezdir</a:t>
            </a:r>
            <a:r>
              <a:rPr dirty="0"/>
              <a:t>. Bu </a:t>
            </a:r>
            <a:r>
              <a:rPr dirty="0" err="1"/>
              <a:t>araçlar</a:t>
            </a:r>
            <a:r>
              <a:rPr dirty="0"/>
              <a:t> </a:t>
            </a:r>
            <a:r>
              <a:rPr dirty="0" err="1"/>
              <a:t>toprak</a:t>
            </a:r>
            <a:r>
              <a:rPr dirty="0"/>
              <a:t> </a:t>
            </a:r>
            <a:r>
              <a:rPr dirty="0" err="1"/>
              <a:t>kullanımı</a:t>
            </a:r>
            <a:r>
              <a:rPr dirty="0"/>
              <a:t>, </a:t>
            </a:r>
            <a:r>
              <a:rPr dirty="0" err="1"/>
              <a:t>seyahat</a:t>
            </a:r>
            <a:r>
              <a:rPr dirty="0"/>
              <a:t> </a:t>
            </a:r>
            <a:r>
              <a:rPr dirty="0" err="1"/>
              <a:t>davranışı</a:t>
            </a:r>
            <a:r>
              <a:rPr dirty="0"/>
              <a:t> </a:t>
            </a:r>
            <a:r>
              <a:rPr dirty="0" err="1"/>
              <a:t>ve</a:t>
            </a:r>
            <a:r>
              <a:rPr dirty="0"/>
              <a:t> </a:t>
            </a:r>
            <a:r>
              <a:rPr dirty="0" err="1"/>
              <a:t>taşımacılık</a:t>
            </a:r>
            <a:r>
              <a:rPr dirty="0"/>
              <a:t> </a:t>
            </a:r>
            <a:r>
              <a:rPr dirty="0" err="1"/>
              <a:t>altyapısı</a:t>
            </a:r>
            <a:r>
              <a:rPr dirty="0"/>
              <a:t> </a:t>
            </a:r>
            <a:r>
              <a:rPr dirty="0" err="1"/>
              <a:t>gibi</a:t>
            </a:r>
            <a:r>
              <a:rPr dirty="0"/>
              <a:t> </a:t>
            </a:r>
            <a:r>
              <a:rPr dirty="0" err="1"/>
              <a:t>çeşitli</a:t>
            </a:r>
            <a:r>
              <a:rPr dirty="0"/>
              <a:t> </a:t>
            </a:r>
            <a:r>
              <a:rPr dirty="0" err="1"/>
              <a:t>durumların</a:t>
            </a:r>
            <a:r>
              <a:rPr dirty="0"/>
              <a:t> </a:t>
            </a:r>
            <a:r>
              <a:rPr dirty="0" err="1"/>
              <a:t>simülasyonunu</a:t>
            </a:r>
            <a:r>
              <a:rPr dirty="0"/>
              <a:t> </a:t>
            </a:r>
            <a:r>
              <a:rPr dirty="0" err="1"/>
              <a:t>yapabilir</a:t>
            </a:r>
            <a:r>
              <a:rPr dirty="0"/>
              <a:t>.</a:t>
            </a:r>
          </a:p>
          <a:p>
            <a:pPr algn="just">
              <a:defRPr sz="1600"/>
            </a:pPr>
            <a:r>
              <a:rPr dirty="0" err="1"/>
              <a:t>Modelleme</a:t>
            </a:r>
            <a:r>
              <a:rPr dirty="0"/>
              <a:t> </a:t>
            </a:r>
            <a:r>
              <a:rPr dirty="0" err="1"/>
              <a:t>ve</a:t>
            </a:r>
            <a:r>
              <a:rPr dirty="0"/>
              <a:t> </a:t>
            </a:r>
            <a:r>
              <a:rPr dirty="0" err="1"/>
              <a:t>simülasyon</a:t>
            </a:r>
            <a:r>
              <a:rPr dirty="0"/>
              <a:t> </a:t>
            </a:r>
            <a:r>
              <a:rPr dirty="0" err="1"/>
              <a:t>araçlarını</a:t>
            </a:r>
            <a:r>
              <a:rPr dirty="0"/>
              <a:t> </a:t>
            </a:r>
            <a:r>
              <a:rPr dirty="0" err="1"/>
              <a:t>kullanmanın</a:t>
            </a:r>
            <a:r>
              <a:rPr dirty="0"/>
              <a:t> </a:t>
            </a:r>
            <a:r>
              <a:rPr dirty="0" err="1"/>
              <a:t>temel</a:t>
            </a:r>
            <a:r>
              <a:rPr dirty="0"/>
              <a:t> </a:t>
            </a:r>
            <a:r>
              <a:rPr dirty="0" err="1"/>
              <a:t>hususları</a:t>
            </a:r>
            <a:r>
              <a:rPr dirty="0"/>
              <a:t> </a:t>
            </a:r>
            <a:r>
              <a:rPr dirty="0" err="1"/>
              <a:t>şunlardır</a:t>
            </a:r>
            <a:r>
              <a:rPr dirty="0"/>
              <a:t>:</a:t>
            </a:r>
            <a:endParaRPr lang="hr-HR" sz="1600" dirty="0"/>
          </a:p>
          <a:p>
            <a:pPr algn="just"/>
            <a:endParaRPr lang="en-US" sz="1600" dirty="0"/>
          </a:p>
          <a:p>
            <a:pPr marL="285750" indent="-285750" algn="just">
              <a:buFont typeface="Arial" panose="020B0604020202020204" pitchFamily="34" charset="0"/>
              <a:buChar char="•"/>
              <a:defRPr sz="1600"/>
            </a:pPr>
            <a:r>
              <a:rPr dirty="0"/>
              <a:t>Veri </a:t>
            </a:r>
            <a:r>
              <a:rPr dirty="0" err="1"/>
              <a:t>girdileri</a:t>
            </a:r>
            <a:r>
              <a:rPr dirty="0"/>
              <a:t>: </a:t>
            </a:r>
            <a:r>
              <a:rPr dirty="0" err="1"/>
              <a:t>Modellerin</a:t>
            </a:r>
            <a:r>
              <a:rPr dirty="0"/>
              <a:t> </a:t>
            </a:r>
            <a:r>
              <a:rPr dirty="0" err="1"/>
              <a:t>geliştirilmesinde</a:t>
            </a:r>
            <a:r>
              <a:rPr dirty="0"/>
              <a:t> </a:t>
            </a:r>
            <a:r>
              <a:rPr dirty="0" err="1"/>
              <a:t>kullanılan</a:t>
            </a:r>
            <a:r>
              <a:rPr dirty="0"/>
              <a:t> </a:t>
            </a:r>
            <a:r>
              <a:rPr dirty="0" err="1"/>
              <a:t>verilerin</a:t>
            </a:r>
            <a:r>
              <a:rPr dirty="0"/>
              <a:t> </a:t>
            </a:r>
            <a:r>
              <a:rPr dirty="0" err="1"/>
              <a:t>doğru</a:t>
            </a:r>
            <a:r>
              <a:rPr dirty="0"/>
              <a:t> </a:t>
            </a:r>
            <a:r>
              <a:rPr dirty="0" err="1"/>
              <a:t>ve</a:t>
            </a:r>
            <a:r>
              <a:rPr dirty="0"/>
              <a:t> </a:t>
            </a:r>
            <a:r>
              <a:rPr dirty="0" err="1"/>
              <a:t>güncel</a:t>
            </a:r>
            <a:r>
              <a:rPr dirty="0"/>
              <a:t> </a:t>
            </a:r>
            <a:r>
              <a:rPr dirty="0" err="1"/>
              <a:t>olmasının</a:t>
            </a:r>
            <a:r>
              <a:rPr dirty="0"/>
              <a:t> </a:t>
            </a:r>
            <a:r>
              <a:rPr dirty="0" err="1"/>
              <a:t>sağlanması</a:t>
            </a:r>
            <a:endParaRPr lang="hr-HR" sz="1600" dirty="0"/>
          </a:p>
          <a:p>
            <a:pPr marL="285750" indent="-285750" algn="just">
              <a:buFont typeface="Arial" panose="020B0604020202020204" pitchFamily="34" charset="0"/>
              <a:buChar char="•"/>
              <a:defRPr sz="1600"/>
            </a:pPr>
            <a:r>
              <a:rPr dirty="0"/>
              <a:t>Model </a:t>
            </a:r>
            <a:r>
              <a:rPr dirty="0" err="1"/>
              <a:t>kalibrasyonu</a:t>
            </a:r>
            <a:r>
              <a:rPr dirty="0"/>
              <a:t>: </a:t>
            </a:r>
            <a:r>
              <a:rPr dirty="0" err="1"/>
              <a:t>Modellerin</a:t>
            </a:r>
            <a:r>
              <a:rPr dirty="0"/>
              <a:t> </a:t>
            </a:r>
            <a:r>
              <a:rPr dirty="0" err="1"/>
              <a:t>gerçek</a:t>
            </a:r>
            <a:r>
              <a:rPr dirty="0"/>
              <a:t> </a:t>
            </a:r>
            <a:r>
              <a:rPr dirty="0" err="1"/>
              <a:t>dünya</a:t>
            </a:r>
            <a:r>
              <a:rPr dirty="0"/>
              <a:t> </a:t>
            </a:r>
            <a:r>
              <a:rPr dirty="0" err="1"/>
              <a:t>koşullarını</a:t>
            </a:r>
            <a:r>
              <a:rPr dirty="0"/>
              <a:t> </a:t>
            </a:r>
            <a:r>
              <a:rPr dirty="0" err="1"/>
              <a:t>doğru</a:t>
            </a:r>
            <a:r>
              <a:rPr dirty="0"/>
              <a:t> </a:t>
            </a:r>
            <a:r>
              <a:rPr dirty="0" err="1"/>
              <a:t>bir</a:t>
            </a:r>
            <a:r>
              <a:rPr dirty="0"/>
              <a:t> </a:t>
            </a:r>
            <a:r>
              <a:rPr dirty="0" err="1"/>
              <a:t>şekilde</a:t>
            </a:r>
            <a:r>
              <a:rPr dirty="0"/>
              <a:t> </a:t>
            </a:r>
            <a:r>
              <a:rPr dirty="0" err="1"/>
              <a:t>yansıtmasını</a:t>
            </a:r>
            <a:r>
              <a:rPr dirty="0"/>
              <a:t> </a:t>
            </a:r>
            <a:r>
              <a:rPr dirty="0" err="1"/>
              <a:t>sağlamak</a:t>
            </a:r>
            <a:r>
              <a:rPr dirty="0"/>
              <a:t> </a:t>
            </a:r>
            <a:endParaRPr lang="hr-HR" sz="1600" dirty="0"/>
          </a:p>
          <a:p>
            <a:pPr marL="285750" indent="-285750" algn="just">
              <a:buFont typeface="Arial" panose="020B0604020202020204" pitchFamily="34" charset="0"/>
              <a:buChar char="•"/>
              <a:defRPr sz="1600"/>
            </a:pPr>
            <a:r>
              <a:rPr dirty="0"/>
              <a:t>Model </a:t>
            </a:r>
            <a:r>
              <a:rPr dirty="0" err="1"/>
              <a:t>doğrulama</a:t>
            </a:r>
            <a:r>
              <a:rPr dirty="0"/>
              <a:t>: </a:t>
            </a:r>
            <a:r>
              <a:rPr dirty="0" err="1"/>
              <a:t>Modellerin</a:t>
            </a:r>
            <a:r>
              <a:rPr dirty="0"/>
              <a:t> </a:t>
            </a:r>
            <a:r>
              <a:rPr dirty="0" err="1"/>
              <a:t>gelecekteki</a:t>
            </a:r>
            <a:r>
              <a:rPr dirty="0"/>
              <a:t> </a:t>
            </a:r>
            <a:r>
              <a:rPr dirty="0" err="1"/>
              <a:t>seyahat</a:t>
            </a:r>
            <a:r>
              <a:rPr dirty="0"/>
              <a:t> </a:t>
            </a:r>
            <a:r>
              <a:rPr dirty="0" err="1"/>
              <a:t>talebini</a:t>
            </a:r>
            <a:r>
              <a:rPr dirty="0"/>
              <a:t> </a:t>
            </a:r>
            <a:r>
              <a:rPr dirty="0" err="1"/>
              <a:t>doğru</a:t>
            </a:r>
            <a:r>
              <a:rPr dirty="0"/>
              <a:t> </a:t>
            </a:r>
            <a:r>
              <a:rPr dirty="0" err="1"/>
              <a:t>öngördüğünü</a:t>
            </a:r>
            <a:r>
              <a:rPr dirty="0"/>
              <a:t> </a:t>
            </a:r>
            <a:r>
              <a:rPr dirty="0" err="1"/>
              <a:t>ve</a:t>
            </a:r>
            <a:r>
              <a:rPr dirty="0"/>
              <a:t> </a:t>
            </a:r>
            <a:r>
              <a:rPr dirty="0" err="1"/>
              <a:t>taşımacılık</a:t>
            </a:r>
            <a:r>
              <a:rPr dirty="0"/>
              <a:t> </a:t>
            </a:r>
            <a:r>
              <a:rPr dirty="0" err="1"/>
              <a:t>proje</a:t>
            </a:r>
            <a:r>
              <a:rPr dirty="0"/>
              <a:t> </a:t>
            </a:r>
            <a:r>
              <a:rPr dirty="0" err="1"/>
              <a:t>etkilerini</a:t>
            </a:r>
            <a:r>
              <a:rPr dirty="0"/>
              <a:t> </a:t>
            </a:r>
            <a:r>
              <a:rPr dirty="0" err="1"/>
              <a:t>doğru</a:t>
            </a:r>
            <a:r>
              <a:rPr dirty="0"/>
              <a:t> </a:t>
            </a:r>
            <a:r>
              <a:rPr dirty="0" err="1"/>
              <a:t>değerlendirdiğini</a:t>
            </a:r>
            <a:r>
              <a:rPr dirty="0"/>
              <a:t> test </a:t>
            </a:r>
            <a:r>
              <a:rPr dirty="0" err="1"/>
              <a:t>etmek</a:t>
            </a:r>
            <a:endParaRPr lang="hr-HR" sz="1600" dirty="0"/>
          </a:p>
          <a:p>
            <a:pPr marL="285750" indent="-285750" algn="just">
              <a:buFont typeface="Arial" panose="020B0604020202020204" pitchFamily="34" charset="0"/>
              <a:buChar char="•"/>
            </a:pPr>
            <a:endParaRPr lang="en-US" sz="1600" dirty="0"/>
          </a:p>
          <a:p>
            <a:pPr algn="just">
              <a:defRPr sz="1600"/>
            </a:pPr>
            <a:r>
              <a:rPr dirty="0" err="1"/>
              <a:t>Modelleme</a:t>
            </a:r>
            <a:r>
              <a:rPr dirty="0"/>
              <a:t> </a:t>
            </a:r>
            <a:r>
              <a:rPr dirty="0" err="1"/>
              <a:t>ve</a:t>
            </a:r>
            <a:r>
              <a:rPr dirty="0"/>
              <a:t> </a:t>
            </a:r>
            <a:r>
              <a:rPr dirty="0" err="1"/>
              <a:t>simülasyon</a:t>
            </a:r>
            <a:r>
              <a:rPr dirty="0"/>
              <a:t> </a:t>
            </a:r>
            <a:r>
              <a:rPr dirty="0" err="1"/>
              <a:t>araçlarına</a:t>
            </a:r>
            <a:r>
              <a:rPr dirty="0"/>
              <a:t> </a:t>
            </a:r>
            <a:r>
              <a:rPr dirty="0" err="1"/>
              <a:t>başvurarak</a:t>
            </a:r>
            <a:r>
              <a:rPr dirty="0"/>
              <a:t>, </a:t>
            </a:r>
            <a:r>
              <a:rPr dirty="0" err="1"/>
              <a:t>ulaştırma</a:t>
            </a:r>
            <a:r>
              <a:rPr dirty="0"/>
              <a:t> </a:t>
            </a:r>
            <a:r>
              <a:rPr dirty="0" err="1"/>
              <a:t>planlayıcıları</a:t>
            </a:r>
            <a:r>
              <a:rPr dirty="0"/>
              <a:t> </a:t>
            </a:r>
            <a:r>
              <a:rPr dirty="0" err="1"/>
              <a:t>geleceğin</a:t>
            </a:r>
            <a:r>
              <a:rPr dirty="0"/>
              <a:t> </a:t>
            </a:r>
            <a:r>
              <a:rPr dirty="0" err="1"/>
              <a:t>ulaşım</a:t>
            </a:r>
            <a:r>
              <a:rPr dirty="0"/>
              <a:t> </a:t>
            </a:r>
            <a:r>
              <a:rPr dirty="0" err="1"/>
              <a:t>ihtiyaçlarını</a:t>
            </a:r>
            <a:r>
              <a:rPr dirty="0"/>
              <a:t> </a:t>
            </a:r>
            <a:r>
              <a:rPr dirty="0" err="1"/>
              <a:t>tahmin</a:t>
            </a:r>
            <a:r>
              <a:rPr dirty="0"/>
              <a:t> </a:t>
            </a:r>
            <a:r>
              <a:rPr dirty="0" err="1"/>
              <a:t>eder</a:t>
            </a:r>
            <a:r>
              <a:rPr dirty="0"/>
              <a:t>, </a:t>
            </a:r>
            <a:r>
              <a:rPr dirty="0" err="1"/>
              <a:t>ulaşım</a:t>
            </a:r>
            <a:r>
              <a:rPr dirty="0"/>
              <a:t> </a:t>
            </a:r>
            <a:r>
              <a:rPr dirty="0" err="1"/>
              <a:t>projelerinin</a:t>
            </a:r>
            <a:r>
              <a:rPr dirty="0"/>
              <a:t> </a:t>
            </a:r>
            <a:r>
              <a:rPr dirty="0" err="1"/>
              <a:t>etkisini</a:t>
            </a:r>
            <a:r>
              <a:rPr dirty="0"/>
              <a:t> </a:t>
            </a:r>
            <a:r>
              <a:rPr dirty="0" err="1"/>
              <a:t>değerlendirir</a:t>
            </a:r>
            <a:r>
              <a:rPr dirty="0"/>
              <a:t> </a:t>
            </a:r>
            <a:r>
              <a:rPr dirty="0" err="1"/>
              <a:t>ve</a:t>
            </a:r>
            <a:r>
              <a:rPr dirty="0"/>
              <a:t> </a:t>
            </a:r>
            <a:r>
              <a:rPr dirty="0" err="1"/>
              <a:t>şehrin</a:t>
            </a:r>
            <a:r>
              <a:rPr dirty="0"/>
              <a:t> </a:t>
            </a:r>
            <a:r>
              <a:rPr dirty="0" err="1"/>
              <a:t>ulaşım</a:t>
            </a:r>
            <a:r>
              <a:rPr dirty="0"/>
              <a:t> </a:t>
            </a:r>
            <a:r>
              <a:rPr dirty="0" err="1"/>
              <a:t>zorluklarına</a:t>
            </a:r>
            <a:r>
              <a:rPr dirty="0"/>
              <a:t> </a:t>
            </a:r>
            <a:r>
              <a:rPr dirty="0" err="1"/>
              <a:t>yönelik</a:t>
            </a:r>
            <a:r>
              <a:rPr dirty="0"/>
              <a:t> </a:t>
            </a:r>
            <a:r>
              <a:rPr dirty="0" err="1"/>
              <a:t>etkili</a:t>
            </a:r>
            <a:r>
              <a:rPr dirty="0"/>
              <a:t> </a:t>
            </a:r>
            <a:r>
              <a:rPr dirty="0" err="1"/>
              <a:t>stratejiler</a:t>
            </a:r>
            <a:r>
              <a:rPr dirty="0"/>
              <a:t> </a:t>
            </a:r>
            <a:r>
              <a:rPr dirty="0" err="1"/>
              <a:t>oluşturur</a:t>
            </a:r>
            <a:r>
              <a:rPr dirty="0"/>
              <a:t>.</a:t>
            </a:r>
          </a:p>
        </p:txBody>
      </p:sp>
      <p:pic>
        <p:nvPicPr>
          <p:cNvPr id="16" name="Picture 15" descr="A picture containing text, software, multimedia software, diagram  Description automatically generated">
            <a:extLst>
              <a:ext uri="{FF2B5EF4-FFF2-40B4-BE49-F238E27FC236}">
                <a16:creationId xmlns:a16="http://schemas.microsoft.com/office/drawing/2014/main" id="{DB58F4C2-254B-E846-0839-6126B65C640A}"/>
              </a:ext>
            </a:extLst>
          </p:cNvPr>
          <p:cNvPicPr>
            <a:picLocks noChangeAspect="1"/>
          </p:cNvPicPr>
          <p:nvPr/>
        </p:nvPicPr>
        <p:blipFill>
          <a:blip r:embed="rId4"/>
          <a:stretch>
            <a:fillRect/>
          </a:stretch>
        </p:blipFill>
        <p:spPr>
          <a:xfrm>
            <a:off x="6552163" y="2186887"/>
            <a:ext cx="5639837" cy="3172408"/>
          </a:xfrm>
          <a:prstGeom prst="rect">
            <a:avLst/>
          </a:prstGeom>
        </p:spPr>
      </p:pic>
    </p:spTree>
    <p:extLst>
      <p:ext uri="{BB962C8B-B14F-4D97-AF65-F5344CB8AC3E}">
        <p14:creationId xmlns:p14="http://schemas.microsoft.com/office/powerpoint/2010/main" val="40601521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Diagram 6">
            <a:extLst>
              <a:ext uri="{FF2B5EF4-FFF2-40B4-BE49-F238E27FC236}">
                <a16:creationId xmlns:a16="http://schemas.microsoft.com/office/drawing/2014/main" id="{AD7289AB-9BC2-B475-042D-DE47004B67FA}"/>
              </a:ext>
            </a:extLst>
          </p:cNvPr>
          <p:cNvGraphicFramePr/>
          <p:nvPr>
            <p:extLst>
              <p:ext uri="{D42A27DB-BD31-4B8C-83A1-F6EECF244321}">
                <p14:modId xmlns:p14="http://schemas.microsoft.com/office/powerpoint/2010/main" val="512148807"/>
              </p:ext>
            </p:extLst>
          </p:nvPr>
        </p:nvGraphicFramePr>
        <p:xfrm>
          <a:off x="2261256" y="2186229"/>
          <a:ext cx="7669487" cy="378565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 name="TekstniOkvir 3">
            <a:extLst>
              <a:ext uri="{FF2B5EF4-FFF2-40B4-BE49-F238E27FC236}">
                <a16:creationId xmlns:a16="http://schemas.microsoft.com/office/drawing/2014/main" id="{4C81B2C8-17AD-674D-6975-5C5998BA0F3E}"/>
              </a:ext>
            </a:extLst>
          </p:cNvPr>
          <p:cNvSpPr txBox="1"/>
          <p:nvPr/>
        </p:nvSpPr>
        <p:spPr>
          <a:xfrm>
            <a:off x="2470394" y="1539898"/>
            <a:ext cx="6483483" cy="646331"/>
          </a:xfrm>
          <a:prstGeom prst="rect">
            <a:avLst/>
          </a:prstGeom>
          <a:noFill/>
        </p:spPr>
        <p:txBody>
          <a:bodyPr wrap="square">
            <a:spAutoFit/>
          </a:bodyPr>
          <a:lstStyle/>
          <a:p>
            <a:pPr algn="ctr">
              <a:defRPr sz="3600"/>
            </a:pPr>
            <a:r>
              <a:t>Trafik Simülasyonu ve Modelleme</a:t>
            </a:r>
            <a:endParaRPr lang="hr-HR" sz="3600" b="1" dirty="0">
              <a:ea typeface="MS Mincho" panose="02020609040205080304" pitchFamily="49" charset="-128"/>
              <a:cs typeface="Calibri" panose="020F0502020204030204" pitchFamily="34" charset="0"/>
            </a:endParaRPr>
          </a:p>
        </p:txBody>
      </p:sp>
    </p:spTree>
    <p:extLst>
      <p:ext uri="{BB962C8B-B14F-4D97-AF65-F5344CB8AC3E}">
        <p14:creationId xmlns:p14="http://schemas.microsoft.com/office/powerpoint/2010/main" val="3844825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1">
          <a:blip r:embed="rId7">
            <a:lum/>
          </a:blip>
          <a:srcRect/>
          <a:stretch>
            <a:fillRect/>
          </a:stretch>
        </a:blip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07086F76-7C5A-A86A-1FC2-8CDA7BA8DD8F}"/>
              </a:ext>
            </a:extLst>
          </p:cNvPr>
          <p:cNvSpPr txBox="1"/>
          <p:nvPr/>
        </p:nvSpPr>
        <p:spPr>
          <a:xfrm>
            <a:off x="115432" y="1191460"/>
            <a:ext cx="6097508" cy="584775"/>
          </a:xfrm>
          <a:prstGeom prst="rect">
            <a:avLst/>
          </a:prstGeom>
          <a:noFill/>
        </p:spPr>
        <p:txBody>
          <a:bodyPr wrap="square">
            <a:spAutoFit/>
          </a:bodyPr>
          <a:lstStyle/>
          <a:p>
            <a:pPr>
              <a:defRPr sz="3200"/>
            </a:pPr>
            <a:r>
              <a:t>Ulaşım modelleri - temel yaklaşım</a:t>
            </a:r>
            <a:endParaRPr lang="en-US" sz="3200" dirty="0"/>
          </a:p>
        </p:txBody>
      </p:sp>
      <p:pic>
        <p:nvPicPr>
          <p:cNvPr id="5" name="Grafik 2">
            <a:extLst>
              <a:ext uri="{FF2B5EF4-FFF2-40B4-BE49-F238E27FC236}">
                <a16:creationId xmlns:a16="http://schemas.microsoft.com/office/drawing/2014/main" id="{F1DFD386-7BDA-8CF2-59CD-2ABF394D2C75}"/>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4478" r="32474" b="10434"/>
          <a:stretch/>
        </p:blipFill>
        <p:spPr>
          <a:xfrm>
            <a:off x="4372290" y="1798911"/>
            <a:ext cx="6539564" cy="4343401"/>
          </a:xfrm>
          <a:prstGeom prst="rect">
            <a:avLst/>
          </a:prstGeom>
        </p:spPr>
      </p:pic>
      <p:pic>
        <p:nvPicPr>
          <p:cNvPr id="6" name="Grafik 8">
            <a:extLst>
              <a:ext uri="{FF2B5EF4-FFF2-40B4-BE49-F238E27FC236}">
                <a16:creationId xmlns:a16="http://schemas.microsoft.com/office/drawing/2014/main" id="{131C22E2-8345-424A-955E-29AAB9759AEE}"/>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26356" t="-411" r="22645" b="14971"/>
          <a:stretch/>
        </p:blipFill>
        <p:spPr>
          <a:xfrm>
            <a:off x="1176787" y="1748433"/>
            <a:ext cx="4823461" cy="4370316"/>
          </a:xfrm>
          <a:prstGeom prst="homePlate">
            <a:avLst/>
          </a:prstGeom>
        </p:spPr>
      </p:pic>
      <p:sp>
        <p:nvSpPr>
          <p:cNvPr id="8" name="Rectangle 13">
            <a:extLst>
              <a:ext uri="{FF2B5EF4-FFF2-40B4-BE49-F238E27FC236}">
                <a16:creationId xmlns:a16="http://schemas.microsoft.com/office/drawing/2014/main" id="{11522C7E-F931-8713-9933-E9C11D9B736F}"/>
              </a:ext>
            </a:extLst>
          </p:cNvPr>
          <p:cNvSpPr>
            <a:spLocks noChangeArrowheads="1"/>
          </p:cNvSpPr>
          <p:nvPr>
            <p:custDataLst>
              <p:tags r:id="rId1"/>
            </p:custDataLst>
          </p:nvPr>
        </p:nvSpPr>
        <p:spPr bwMode="gray">
          <a:xfrm>
            <a:off x="3891786" y="5421494"/>
            <a:ext cx="4296579" cy="681217"/>
          </a:xfrm>
          <a:prstGeom prst="rect">
            <a:avLst/>
          </a:prstGeom>
          <a:noFill/>
          <a:ln w="9525">
            <a:noFill/>
            <a:miter lim="800000"/>
            <a:headEnd/>
            <a:tailEnd/>
          </a:ln>
        </p:spPr>
        <p:txBody>
          <a:bodyPr lIns="17998" tIns="17998" rIns="17998" bIns="17998" anchor="ctr"/>
          <a:lstStyle/>
          <a:p>
            <a:pPr algn="ctr" defTabSz="914309" eaLnBrk="0" hangingPunct="0">
              <a:spcAft>
                <a:spcPts val="200"/>
              </a:spcAft>
              <a:buClr>
                <a:srgbClr val="5B5B5A"/>
              </a:buClr>
              <a:defRPr sz="1900" b="1">
                <a:solidFill>
                  <a:srgbClr val="5B5B5A"/>
                </a:solidFill>
              </a:defRPr>
            </a:pPr>
            <a:r>
              <a:t>Mezoskopik - Orta Ölçekli</a:t>
            </a:r>
          </a:p>
        </p:txBody>
      </p:sp>
      <p:sp>
        <p:nvSpPr>
          <p:cNvPr id="9" name="Rectangle 13">
            <a:extLst>
              <a:ext uri="{FF2B5EF4-FFF2-40B4-BE49-F238E27FC236}">
                <a16:creationId xmlns:a16="http://schemas.microsoft.com/office/drawing/2014/main" id="{7D4C84D1-6C84-C4CB-BAAC-92CEE961037A}"/>
              </a:ext>
            </a:extLst>
          </p:cNvPr>
          <p:cNvSpPr>
            <a:spLocks noChangeArrowheads="1"/>
          </p:cNvSpPr>
          <p:nvPr>
            <p:custDataLst>
              <p:tags r:id="rId2"/>
            </p:custDataLst>
          </p:nvPr>
        </p:nvSpPr>
        <p:spPr bwMode="gray">
          <a:xfrm>
            <a:off x="3891785" y="1798269"/>
            <a:ext cx="4296579" cy="681217"/>
          </a:xfrm>
          <a:prstGeom prst="rect">
            <a:avLst/>
          </a:prstGeom>
          <a:noFill/>
          <a:ln w="9525">
            <a:noFill/>
            <a:miter lim="800000"/>
            <a:headEnd/>
            <a:tailEnd/>
          </a:ln>
        </p:spPr>
        <p:txBody>
          <a:bodyPr lIns="17998" tIns="17998" rIns="17998" bIns="17998" anchor="ctr"/>
          <a:lstStyle/>
          <a:p>
            <a:pPr algn="ctr" defTabSz="914309" eaLnBrk="0" hangingPunct="0">
              <a:spcAft>
                <a:spcPts val="200"/>
              </a:spcAft>
              <a:buClr>
                <a:srgbClr val="5B5B5A"/>
              </a:buClr>
              <a:defRPr sz="1900" b="1">
                <a:solidFill>
                  <a:srgbClr val="5B5B5A"/>
                </a:solidFill>
              </a:defRPr>
            </a:pPr>
            <a:r>
              <a:t>Mezoskopik - Orta Ölçekli</a:t>
            </a:r>
          </a:p>
        </p:txBody>
      </p:sp>
      <p:pic>
        <p:nvPicPr>
          <p:cNvPr id="10" name="Grafik 12">
            <a:extLst>
              <a:ext uri="{FF2B5EF4-FFF2-40B4-BE49-F238E27FC236}">
                <a16:creationId xmlns:a16="http://schemas.microsoft.com/office/drawing/2014/main" id="{2E055B36-2D80-679C-28AC-307DE87D8CDF}"/>
              </a:ext>
            </a:extLst>
          </p:cNvPr>
          <p:cNvPicPr>
            <a:picLocks noChangeAspect="1"/>
          </p:cNvPicPr>
          <p:nvPr/>
        </p:nvPicPr>
        <p:blipFill rotWithShape="1">
          <a:blip r:embed="rId10"/>
          <a:srcRect t="9198" b="16099"/>
          <a:stretch/>
        </p:blipFill>
        <p:spPr>
          <a:xfrm>
            <a:off x="3712958" y="3948206"/>
            <a:ext cx="4651983" cy="2202488"/>
          </a:xfrm>
          <a:prstGeom prst="triangle">
            <a:avLst>
              <a:gd name="adj" fmla="val 48944"/>
            </a:avLst>
          </a:prstGeom>
        </p:spPr>
      </p:pic>
      <p:pic>
        <p:nvPicPr>
          <p:cNvPr id="11" name="Grafik 13">
            <a:extLst>
              <a:ext uri="{FF2B5EF4-FFF2-40B4-BE49-F238E27FC236}">
                <a16:creationId xmlns:a16="http://schemas.microsoft.com/office/drawing/2014/main" id="{744F1839-2BAE-5536-51CF-218ED828678B}"/>
              </a:ext>
            </a:extLst>
          </p:cNvPr>
          <p:cNvPicPr>
            <a:picLocks noChangeAspect="1"/>
          </p:cNvPicPr>
          <p:nvPr/>
        </p:nvPicPr>
        <p:blipFill rotWithShape="1">
          <a:blip r:embed="rId11"/>
          <a:srcRect t="17767" b="8422"/>
          <a:stretch/>
        </p:blipFill>
        <p:spPr>
          <a:xfrm rot="10800000">
            <a:off x="3913820" y="1798268"/>
            <a:ext cx="4378258" cy="2179861"/>
          </a:xfrm>
          <a:prstGeom prst="triangle">
            <a:avLst>
              <a:gd name="adj" fmla="val 50550"/>
            </a:avLst>
          </a:prstGeom>
        </p:spPr>
      </p:pic>
      <p:sp>
        <p:nvSpPr>
          <p:cNvPr id="12" name="Rectangle 16">
            <a:extLst>
              <a:ext uri="{FF2B5EF4-FFF2-40B4-BE49-F238E27FC236}">
                <a16:creationId xmlns:a16="http://schemas.microsoft.com/office/drawing/2014/main" id="{CAE219DF-95E9-0572-B3C2-51A66012F0A0}"/>
              </a:ext>
            </a:extLst>
          </p:cNvPr>
          <p:cNvSpPr>
            <a:spLocks noChangeArrowheads="1"/>
          </p:cNvSpPr>
          <p:nvPr>
            <p:custDataLst>
              <p:tags r:id="rId3"/>
            </p:custDataLst>
          </p:nvPr>
        </p:nvSpPr>
        <p:spPr bwMode="gray">
          <a:xfrm>
            <a:off x="6070581" y="3571769"/>
            <a:ext cx="4860000" cy="756000"/>
          </a:xfrm>
          <a:prstGeom prst="rect">
            <a:avLst/>
          </a:prstGeom>
          <a:solidFill>
            <a:srgbClr val="5B5B5A"/>
          </a:solidFill>
          <a:ln w="9525">
            <a:solidFill>
              <a:srgbClr val="5B5B5A"/>
            </a:solidFill>
            <a:miter lim="800000"/>
            <a:headEnd/>
            <a:tailEnd/>
          </a:ln>
        </p:spPr>
        <p:txBody>
          <a:bodyPr lIns="17998" tIns="17998" rIns="17998" bIns="17998" anchor="ctr"/>
          <a:lstStyle/>
          <a:p>
            <a:pPr algn="ctr" defTabSz="914309" eaLnBrk="0" hangingPunct="0">
              <a:spcAft>
                <a:spcPts val="200"/>
              </a:spcAft>
              <a:buClr>
                <a:srgbClr val="5B5B5A"/>
              </a:buClr>
              <a:defRPr sz="1900" b="1">
                <a:solidFill>
                  <a:prstClr val="white"/>
                </a:solidFill>
              </a:defRPr>
            </a:pPr>
            <a:r>
              <a:t>Mikroskobik - küçük ölçekli modeller, </a:t>
            </a:r>
            <a:br>
              <a:rPr lang="en-US" sz="1900" b="1" kern="0">
                <a:solidFill>
                  <a:prstClr val="white"/>
                </a:solidFill>
              </a:rPr>
            </a:br>
            <a:r>
              <a:t>operasyonel planlama</a:t>
            </a:r>
          </a:p>
        </p:txBody>
      </p:sp>
      <p:sp>
        <p:nvSpPr>
          <p:cNvPr id="13" name="Rectangle 13">
            <a:extLst>
              <a:ext uri="{FF2B5EF4-FFF2-40B4-BE49-F238E27FC236}">
                <a16:creationId xmlns:a16="http://schemas.microsoft.com/office/drawing/2014/main" id="{07A29E2F-7052-E5B3-2F4A-101D38C55E8C}"/>
              </a:ext>
            </a:extLst>
          </p:cNvPr>
          <p:cNvSpPr>
            <a:spLocks noChangeArrowheads="1"/>
          </p:cNvSpPr>
          <p:nvPr>
            <p:custDataLst>
              <p:tags r:id="rId4"/>
            </p:custDataLst>
          </p:nvPr>
        </p:nvSpPr>
        <p:spPr bwMode="gray">
          <a:xfrm>
            <a:off x="1202109" y="3571431"/>
            <a:ext cx="4970875" cy="756000"/>
          </a:xfrm>
          <a:prstGeom prst="rect">
            <a:avLst/>
          </a:prstGeom>
          <a:solidFill>
            <a:srgbClr val="5B5B5A"/>
          </a:solidFill>
          <a:ln w="9525">
            <a:solidFill>
              <a:srgbClr val="5B5B5A"/>
            </a:solidFill>
            <a:miter lim="800000"/>
            <a:headEnd/>
            <a:tailEnd/>
          </a:ln>
        </p:spPr>
        <p:txBody>
          <a:bodyPr lIns="17998" tIns="17998" rIns="17998" bIns="17998" anchor="ctr"/>
          <a:lstStyle/>
          <a:p>
            <a:pPr algn="ctr" defTabSz="914309" eaLnBrk="0" hangingPunct="0">
              <a:spcAft>
                <a:spcPts val="200"/>
              </a:spcAft>
              <a:buClr>
                <a:srgbClr val="5B5B5A"/>
              </a:buClr>
              <a:defRPr sz="1900" b="1">
                <a:solidFill>
                  <a:prstClr val="white"/>
                </a:solidFill>
              </a:defRPr>
            </a:pPr>
            <a:r>
              <a:t>Makroskobik - Büyük Ölçekli Modeller </a:t>
            </a:r>
          </a:p>
          <a:p>
            <a:pPr algn="ctr" defTabSz="914309" eaLnBrk="0" hangingPunct="0">
              <a:spcAft>
                <a:spcPts val="200"/>
              </a:spcAft>
              <a:buClr>
                <a:srgbClr val="5B5B5A"/>
              </a:buClr>
              <a:defRPr sz="1900" b="1">
                <a:solidFill>
                  <a:prstClr val="white"/>
                </a:solidFill>
              </a:defRPr>
            </a:pPr>
            <a:r>
              <a:t>Stratejik planlama</a:t>
            </a:r>
          </a:p>
        </p:txBody>
      </p:sp>
      <p:sp>
        <p:nvSpPr>
          <p:cNvPr id="14" name="Rechteck 3">
            <a:extLst>
              <a:ext uri="{FF2B5EF4-FFF2-40B4-BE49-F238E27FC236}">
                <a16:creationId xmlns:a16="http://schemas.microsoft.com/office/drawing/2014/main" id="{8D66E117-BA97-F0B6-B958-0A4B2C0305DA}"/>
              </a:ext>
            </a:extLst>
          </p:cNvPr>
          <p:cNvSpPr/>
          <p:nvPr/>
        </p:nvSpPr>
        <p:spPr>
          <a:xfrm>
            <a:off x="1180075" y="1776235"/>
            <a:ext cx="9750505" cy="4352425"/>
          </a:xfrm>
          <a:prstGeom prst="rect">
            <a:avLst/>
          </a:prstGeom>
          <a:noFill/>
          <a:ln w="76200">
            <a:solidFill>
              <a:srgbClr val="4785D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cxnSp>
        <p:nvCxnSpPr>
          <p:cNvPr id="15" name="Gerader Verbinder 5">
            <a:extLst>
              <a:ext uri="{FF2B5EF4-FFF2-40B4-BE49-F238E27FC236}">
                <a16:creationId xmlns:a16="http://schemas.microsoft.com/office/drawing/2014/main" id="{8B046B2A-19D4-9C01-23E2-EE109F2425B2}"/>
              </a:ext>
            </a:extLst>
          </p:cNvPr>
          <p:cNvCxnSpPr/>
          <p:nvPr/>
        </p:nvCxnSpPr>
        <p:spPr>
          <a:xfrm>
            <a:off x="3837324" y="1776235"/>
            <a:ext cx="4434788" cy="4352425"/>
          </a:xfrm>
          <a:prstGeom prst="line">
            <a:avLst/>
          </a:prstGeom>
          <a:ln w="76200">
            <a:solidFill>
              <a:srgbClr val="4785D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358124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79ACDABD-CBAB-820B-257E-02F676032FEA}"/>
              </a:ext>
            </a:extLst>
          </p:cNvPr>
          <p:cNvSpPr txBox="1"/>
          <p:nvPr/>
        </p:nvSpPr>
        <p:spPr>
          <a:xfrm>
            <a:off x="25480" y="711385"/>
            <a:ext cx="5065160" cy="830997"/>
          </a:xfrm>
          <a:prstGeom prst="rect">
            <a:avLst/>
          </a:prstGeom>
          <a:noFill/>
        </p:spPr>
        <p:txBody>
          <a:bodyPr wrap="square">
            <a:spAutoFit/>
          </a:bodyPr>
          <a:lstStyle/>
          <a:p>
            <a:pPr>
              <a:defRPr sz="3200" b="1"/>
            </a:pPr>
            <a:r>
              <a:rPr sz="2400" dirty="0"/>
              <a:t>Ulaşım </a:t>
            </a:r>
            <a:r>
              <a:rPr sz="2400" dirty="0" err="1"/>
              <a:t>modellerinin</a:t>
            </a:r>
            <a:r>
              <a:rPr sz="2400" dirty="0"/>
              <a:t> </a:t>
            </a:r>
            <a:r>
              <a:rPr sz="2400" dirty="0" err="1"/>
              <a:t>kullanılma</a:t>
            </a:r>
            <a:r>
              <a:rPr sz="2400" dirty="0"/>
              <a:t> </a:t>
            </a:r>
            <a:r>
              <a:rPr sz="2400" dirty="0" err="1"/>
              <a:t>nedenleri</a:t>
            </a:r>
            <a:endParaRPr lang="en-US" sz="2400" b="1" dirty="0"/>
          </a:p>
        </p:txBody>
      </p:sp>
      <p:pic>
        <p:nvPicPr>
          <p:cNvPr id="4" name="Grafik 10">
            <a:extLst>
              <a:ext uri="{FF2B5EF4-FFF2-40B4-BE49-F238E27FC236}">
                <a16:creationId xmlns:a16="http://schemas.microsoft.com/office/drawing/2014/main" id="{2E832577-DAFD-F28A-D1DA-4E39814C953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44573" y="2003369"/>
            <a:ext cx="2038369" cy="1574435"/>
          </a:xfrm>
          <a:prstGeom prst="rect">
            <a:avLst/>
          </a:prstGeom>
        </p:spPr>
      </p:pic>
      <p:pic>
        <p:nvPicPr>
          <p:cNvPr id="5" name="Grafik 8">
            <a:extLst>
              <a:ext uri="{FF2B5EF4-FFF2-40B4-BE49-F238E27FC236}">
                <a16:creationId xmlns:a16="http://schemas.microsoft.com/office/drawing/2014/main" id="{4157AD5F-B6E1-CA02-99F3-6CBFBDF2DFB6}"/>
              </a:ext>
            </a:extLst>
          </p:cNvPr>
          <p:cNvPicPr>
            <a:picLocks noChangeAspect="1"/>
          </p:cNvPicPr>
          <p:nvPr/>
        </p:nvPicPr>
        <p:blipFill>
          <a:blip r:embed="rId5"/>
          <a:stretch>
            <a:fillRect/>
          </a:stretch>
        </p:blipFill>
        <p:spPr>
          <a:xfrm>
            <a:off x="8342006" y="2172829"/>
            <a:ext cx="3346778" cy="1235515"/>
          </a:xfrm>
          <a:prstGeom prst="rect">
            <a:avLst/>
          </a:prstGeom>
        </p:spPr>
      </p:pic>
      <p:pic>
        <p:nvPicPr>
          <p:cNvPr id="6" name="Picture 2" descr="Image result for bicycle road signs">
            <a:extLst>
              <a:ext uri="{FF2B5EF4-FFF2-40B4-BE49-F238E27FC236}">
                <a16:creationId xmlns:a16="http://schemas.microsoft.com/office/drawing/2014/main" id="{5402E78D-1788-E511-75D6-5EC3F2C1CDD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830041" y="4312897"/>
            <a:ext cx="2447925" cy="18669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Image result for 20 zone sign">
            <a:extLst>
              <a:ext uri="{FF2B5EF4-FFF2-40B4-BE49-F238E27FC236}">
                <a16:creationId xmlns:a16="http://schemas.microsoft.com/office/drawing/2014/main" id="{8DAE5E3A-0BCC-708B-BE8F-0CD80624A993}"/>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891223" y="4225135"/>
            <a:ext cx="1571709" cy="2042424"/>
          </a:xfrm>
          <a:prstGeom prst="rect">
            <a:avLst/>
          </a:prstGeom>
          <a:noFill/>
          <a:extLst>
            <a:ext uri="{909E8E84-426E-40DD-AFC4-6F175D3DCCD1}">
              <a14:hiddenFill xmlns:a14="http://schemas.microsoft.com/office/drawing/2010/main">
                <a:solidFill>
                  <a:srgbClr val="FFFFFF"/>
                </a:solidFill>
              </a14:hiddenFill>
            </a:ext>
          </a:extLst>
        </p:spPr>
      </p:pic>
      <p:sp>
        <p:nvSpPr>
          <p:cNvPr id="8" name="Textfeld 11">
            <a:extLst>
              <a:ext uri="{FF2B5EF4-FFF2-40B4-BE49-F238E27FC236}">
                <a16:creationId xmlns:a16="http://schemas.microsoft.com/office/drawing/2014/main" id="{B1926233-BC92-46E9-CB70-736471A0B921}"/>
              </a:ext>
            </a:extLst>
          </p:cNvPr>
          <p:cNvSpPr txBox="1"/>
          <p:nvPr/>
        </p:nvSpPr>
        <p:spPr>
          <a:xfrm>
            <a:off x="717203" y="1454227"/>
            <a:ext cx="3185096" cy="369332"/>
          </a:xfrm>
          <a:prstGeom prst="rect">
            <a:avLst/>
          </a:prstGeom>
          <a:noFill/>
        </p:spPr>
        <p:txBody>
          <a:bodyPr wrap="square">
            <a:spAutoFit/>
          </a:bodyPr>
          <a:lstStyle/>
          <a:p>
            <a:pPr marL="266700" marR="0" lvl="1" indent="-266700" algn="l" defTabSz="914400" rtl="0" eaLnBrk="1" fontAlgn="auto" latinLnBrk="0" hangingPunct="1">
              <a:lnSpc>
                <a:spcPct val="100000"/>
              </a:lnSpc>
              <a:spcBef>
                <a:spcPts val="0"/>
              </a:spcBef>
              <a:spcAft>
                <a:spcPts val="0"/>
              </a:spcAft>
              <a:buClr>
                <a:srgbClr val="E02129"/>
              </a:buClr>
              <a:buSzTx/>
              <a:buFont typeface="Wingdings 3" pitchFamily="18" charset="2"/>
              <a:buChar char=""/>
              <a:tabLst>
                <a:tab pos="266700" algn="l"/>
              </a:tabLst>
              <a:defRPr sz="1800" kern="1200">
                <a:ln>
                  <a:noFill/>
                </a:ln>
                <a:solidFill>
                  <a:srgbClr val="5B5B5A"/>
                </a:solidFill>
                <a:effectLst/>
                <a:uLnTx/>
                <a:uFillTx/>
                <a:latin typeface="+mn-lt"/>
                <a:ea typeface="+mn-ea"/>
                <a:cs typeface="+mn-cs"/>
              </a:defRPr>
            </a:pPr>
            <a:r>
              <a:rPr dirty="0" err="1"/>
              <a:t>Altyapı</a:t>
            </a:r>
            <a:r>
              <a:rPr dirty="0"/>
              <a:t> </a:t>
            </a:r>
            <a:r>
              <a:rPr dirty="0" err="1"/>
              <a:t>önlemleri</a:t>
            </a:r>
            <a:r>
              <a:rPr dirty="0"/>
              <a:t> </a:t>
            </a:r>
            <a:endParaRPr kumimoji="0" lang="en-US" sz="1800" b="0" i="0" u="none" strike="noStrike" kern="1200" cap="none" spc="0" normalizeH="0" baseline="0" noProof="0" dirty="0">
              <a:ln>
                <a:noFill/>
              </a:ln>
              <a:solidFill>
                <a:srgbClr val="5B5B5A"/>
              </a:solidFill>
              <a:effectLst/>
              <a:uLnTx/>
              <a:uFillTx/>
              <a:latin typeface="+mn-lt"/>
              <a:ea typeface="+mn-ea"/>
              <a:cs typeface="+mn-cs"/>
            </a:endParaRPr>
          </a:p>
        </p:txBody>
      </p:sp>
      <p:sp>
        <p:nvSpPr>
          <p:cNvPr id="9" name="Textfeld 12">
            <a:extLst>
              <a:ext uri="{FF2B5EF4-FFF2-40B4-BE49-F238E27FC236}">
                <a16:creationId xmlns:a16="http://schemas.microsoft.com/office/drawing/2014/main" id="{3784A5A9-86D3-7DB6-FB60-A955EB2B26F6}"/>
              </a:ext>
            </a:extLst>
          </p:cNvPr>
          <p:cNvSpPr txBox="1"/>
          <p:nvPr/>
        </p:nvSpPr>
        <p:spPr>
          <a:xfrm>
            <a:off x="4530144" y="1454227"/>
            <a:ext cx="2447925" cy="369332"/>
          </a:xfrm>
          <a:prstGeom prst="rect">
            <a:avLst/>
          </a:prstGeom>
          <a:noFill/>
        </p:spPr>
        <p:txBody>
          <a:bodyPr wrap="square">
            <a:spAutoFit/>
          </a:bodyPr>
          <a:lstStyle/>
          <a:p>
            <a:pPr marL="266700" marR="0" lvl="1" indent="-266700" algn="l" defTabSz="914400" rtl="0" eaLnBrk="1" fontAlgn="auto" latinLnBrk="0" hangingPunct="1">
              <a:lnSpc>
                <a:spcPct val="100000"/>
              </a:lnSpc>
              <a:spcBef>
                <a:spcPts val="0"/>
              </a:spcBef>
              <a:spcAft>
                <a:spcPts val="0"/>
              </a:spcAft>
              <a:buClr>
                <a:srgbClr val="E02129"/>
              </a:buClr>
              <a:buSzTx/>
              <a:buFont typeface="Wingdings 3" pitchFamily="18" charset="2"/>
              <a:buChar char=""/>
              <a:tabLst>
                <a:tab pos="266700" algn="l"/>
              </a:tabLst>
              <a:defRPr sz="1800" kern="1200">
                <a:ln>
                  <a:noFill/>
                </a:ln>
                <a:solidFill>
                  <a:srgbClr val="5B5B5A"/>
                </a:solidFill>
                <a:effectLst/>
                <a:uLnTx/>
                <a:uFillTx/>
                <a:latin typeface="+mn-lt"/>
                <a:ea typeface="+mn-ea"/>
                <a:cs typeface="+mn-cs"/>
              </a:defRPr>
            </a:pPr>
            <a:r>
              <a:t>Arazi kullanım değişiklikleri</a:t>
            </a:r>
          </a:p>
        </p:txBody>
      </p:sp>
      <p:sp>
        <p:nvSpPr>
          <p:cNvPr id="10" name="Textfeld 14">
            <a:extLst>
              <a:ext uri="{FF2B5EF4-FFF2-40B4-BE49-F238E27FC236}">
                <a16:creationId xmlns:a16="http://schemas.microsoft.com/office/drawing/2014/main" id="{34B16902-2130-0B88-AB63-904243B2E19F}"/>
              </a:ext>
            </a:extLst>
          </p:cNvPr>
          <p:cNvSpPr txBox="1"/>
          <p:nvPr/>
        </p:nvSpPr>
        <p:spPr>
          <a:xfrm>
            <a:off x="8268370" y="1454227"/>
            <a:ext cx="3352800" cy="369332"/>
          </a:xfrm>
          <a:prstGeom prst="rect">
            <a:avLst/>
          </a:prstGeom>
          <a:noFill/>
        </p:spPr>
        <p:txBody>
          <a:bodyPr wrap="square">
            <a:spAutoFit/>
          </a:bodyPr>
          <a:lstStyle/>
          <a:p>
            <a:pPr marL="266700" marR="0" lvl="1" indent="-266700" algn="l" defTabSz="914400" rtl="0" eaLnBrk="1" fontAlgn="auto" latinLnBrk="0" hangingPunct="1">
              <a:lnSpc>
                <a:spcPct val="100000"/>
              </a:lnSpc>
              <a:spcBef>
                <a:spcPts val="0"/>
              </a:spcBef>
              <a:spcAft>
                <a:spcPts val="0"/>
              </a:spcAft>
              <a:buClr>
                <a:srgbClr val="E02129"/>
              </a:buClr>
              <a:buSzTx/>
              <a:buFont typeface="Wingdings 3" pitchFamily="18" charset="2"/>
              <a:buChar char=""/>
              <a:tabLst>
                <a:tab pos="266700" algn="l"/>
              </a:tabLst>
              <a:defRPr sz="1800" kern="1200">
                <a:ln>
                  <a:noFill/>
                </a:ln>
                <a:solidFill>
                  <a:srgbClr val="5B5B5A"/>
                </a:solidFill>
                <a:effectLst/>
                <a:uLnTx/>
                <a:uFillTx/>
                <a:latin typeface="+mn-lt"/>
                <a:ea typeface="+mn-ea"/>
                <a:cs typeface="+mn-cs"/>
              </a:defRPr>
            </a:pPr>
            <a:r>
              <a:t>Demografik gelişim</a:t>
            </a:r>
          </a:p>
        </p:txBody>
      </p:sp>
      <p:sp>
        <p:nvSpPr>
          <p:cNvPr id="11" name="Textfeld 16">
            <a:extLst>
              <a:ext uri="{FF2B5EF4-FFF2-40B4-BE49-F238E27FC236}">
                <a16:creationId xmlns:a16="http://schemas.microsoft.com/office/drawing/2014/main" id="{AA7EFA4E-B937-7731-A4C3-950DCA0D8653}"/>
              </a:ext>
            </a:extLst>
          </p:cNvPr>
          <p:cNvSpPr txBox="1"/>
          <p:nvPr/>
        </p:nvSpPr>
        <p:spPr>
          <a:xfrm>
            <a:off x="717203" y="3843562"/>
            <a:ext cx="2179750" cy="369332"/>
          </a:xfrm>
          <a:prstGeom prst="rect">
            <a:avLst/>
          </a:prstGeom>
          <a:noFill/>
        </p:spPr>
        <p:txBody>
          <a:bodyPr wrap="square">
            <a:spAutoFit/>
          </a:bodyPr>
          <a:lstStyle/>
          <a:p>
            <a:pPr marL="266700" marR="0" lvl="1" indent="-266700" algn="l" defTabSz="914400" rtl="0" eaLnBrk="1" fontAlgn="auto" latinLnBrk="0" hangingPunct="1">
              <a:lnSpc>
                <a:spcPct val="100000"/>
              </a:lnSpc>
              <a:spcBef>
                <a:spcPts val="0"/>
              </a:spcBef>
              <a:spcAft>
                <a:spcPts val="0"/>
              </a:spcAft>
              <a:buClr>
                <a:srgbClr val="E02129"/>
              </a:buClr>
              <a:buSzTx/>
              <a:buFont typeface="Wingdings 3" pitchFamily="18" charset="2"/>
              <a:buChar char=""/>
              <a:tabLst>
                <a:tab pos="266700" algn="l"/>
              </a:tabLst>
              <a:defRPr sz="1800" kern="1200">
                <a:ln>
                  <a:noFill/>
                </a:ln>
                <a:solidFill>
                  <a:srgbClr val="5B5B5A"/>
                </a:solidFill>
                <a:effectLst/>
                <a:uLnTx/>
                <a:uFillTx/>
                <a:latin typeface="+mn-lt"/>
                <a:ea typeface="+mn-ea"/>
                <a:cs typeface="+mn-cs"/>
              </a:defRPr>
            </a:pPr>
            <a:r>
              <a:t>Hareketlilik Fiyatlandırması</a:t>
            </a:r>
            <a:endParaRPr kumimoji="0" lang="de-DE" sz="1800" b="0" i="0" u="none" strike="noStrike" kern="1200" cap="none" spc="0" normalizeH="0" baseline="0" dirty="0">
              <a:ln>
                <a:noFill/>
              </a:ln>
              <a:solidFill>
                <a:srgbClr val="5B5B5A"/>
              </a:solidFill>
              <a:effectLst/>
              <a:uLnTx/>
              <a:uFillTx/>
              <a:latin typeface="+mn-lt"/>
              <a:ea typeface="+mn-ea"/>
              <a:cs typeface="+mn-cs"/>
            </a:endParaRPr>
          </a:p>
        </p:txBody>
      </p:sp>
      <p:sp>
        <p:nvSpPr>
          <p:cNvPr id="12" name="Textfeld 18">
            <a:extLst>
              <a:ext uri="{FF2B5EF4-FFF2-40B4-BE49-F238E27FC236}">
                <a16:creationId xmlns:a16="http://schemas.microsoft.com/office/drawing/2014/main" id="{32698EA9-028A-D8FF-BDCC-5EC64192FD9E}"/>
              </a:ext>
            </a:extLst>
          </p:cNvPr>
          <p:cNvSpPr txBox="1"/>
          <p:nvPr/>
        </p:nvSpPr>
        <p:spPr>
          <a:xfrm>
            <a:off x="4530144" y="3848446"/>
            <a:ext cx="3047721" cy="369332"/>
          </a:xfrm>
          <a:prstGeom prst="rect">
            <a:avLst/>
          </a:prstGeom>
          <a:noFill/>
        </p:spPr>
        <p:txBody>
          <a:bodyPr wrap="square">
            <a:spAutoFit/>
          </a:bodyPr>
          <a:lstStyle/>
          <a:p>
            <a:pPr marL="266700" marR="0" lvl="1" indent="-266700" algn="l" defTabSz="914400" rtl="0" eaLnBrk="1" fontAlgn="auto" latinLnBrk="0" hangingPunct="1">
              <a:lnSpc>
                <a:spcPct val="100000"/>
              </a:lnSpc>
              <a:spcBef>
                <a:spcPts val="0"/>
              </a:spcBef>
              <a:spcAft>
                <a:spcPts val="0"/>
              </a:spcAft>
              <a:buClr>
                <a:srgbClr val="E02129"/>
              </a:buClr>
              <a:buSzTx/>
              <a:buFont typeface="Wingdings 3" pitchFamily="18" charset="2"/>
              <a:buChar char=""/>
              <a:tabLst>
                <a:tab pos="266700" algn="l"/>
              </a:tabLst>
              <a:defRPr sz="1800" kern="1200">
                <a:ln>
                  <a:noFill/>
                </a:ln>
                <a:solidFill>
                  <a:srgbClr val="5B5B5A"/>
                </a:solidFill>
                <a:effectLst/>
                <a:uLnTx/>
                <a:uFillTx/>
                <a:latin typeface="+mn-lt"/>
                <a:ea typeface="+mn-ea"/>
                <a:cs typeface="+mn-cs"/>
              </a:defRPr>
            </a:pPr>
            <a:r>
              <a:t>Toplu Taşıma, Bisiklet</a:t>
            </a:r>
          </a:p>
        </p:txBody>
      </p:sp>
      <p:sp>
        <p:nvSpPr>
          <p:cNvPr id="13" name="Textfeld 20">
            <a:extLst>
              <a:ext uri="{FF2B5EF4-FFF2-40B4-BE49-F238E27FC236}">
                <a16:creationId xmlns:a16="http://schemas.microsoft.com/office/drawing/2014/main" id="{06D25147-BA93-9838-4092-99C3B14EA4F4}"/>
              </a:ext>
            </a:extLst>
          </p:cNvPr>
          <p:cNvSpPr txBox="1"/>
          <p:nvPr/>
        </p:nvSpPr>
        <p:spPr>
          <a:xfrm>
            <a:off x="8268370" y="3840733"/>
            <a:ext cx="2785057" cy="369332"/>
          </a:xfrm>
          <a:prstGeom prst="rect">
            <a:avLst/>
          </a:prstGeom>
          <a:noFill/>
        </p:spPr>
        <p:txBody>
          <a:bodyPr wrap="square">
            <a:spAutoFit/>
          </a:bodyPr>
          <a:lstStyle/>
          <a:p>
            <a:pPr marL="266700" marR="0" lvl="1" indent="-266700" algn="l" defTabSz="914400" rtl="0" eaLnBrk="1" fontAlgn="auto" latinLnBrk="0" hangingPunct="1">
              <a:lnSpc>
                <a:spcPct val="100000"/>
              </a:lnSpc>
              <a:spcBef>
                <a:spcPts val="0"/>
              </a:spcBef>
              <a:spcAft>
                <a:spcPts val="0"/>
              </a:spcAft>
              <a:buClr>
                <a:srgbClr val="E02129"/>
              </a:buClr>
              <a:buSzTx/>
              <a:buFont typeface="Wingdings 3" pitchFamily="18" charset="2"/>
              <a:buChar char=""/>
              <a:tabLst>
                <a:tab pos="266700" algn="l"/>
              </a:tabLst>
              <a:defRPr sz="1800" kern="1200">
                <a:ln>
                  <a:noFill/>
                </a:ln>
                <a:solidFill>
                  <a:srgbClr val="5B5B5A"/>
                </a:solidFill>
                <a:effectLst/>
                <a:uLnTx/>
                <a:uFillTx/>
                <a:latin typeface="+mn-lt"/>
                <a:ea typeface="+mn-ea"/>
                <a:cs typeface="+mn-cs"/>
              </a:defRPr>
            </a:pPr>
            <a:r>
              <a:rPr dirty="0" err="1"/>
              <a:t>Yasal</a:t>
            </a:r>
            <a:r>
              <a:rPr dirty="0"/>
              <a:t> </a:t>
            </a:r>
            <a:r>
              <a:rPr lang="tr-TR" dirty="0"/>
              <a:t>sınırlamalar</a:t>
            </a:r>
            <a:endParaRPr dirty="0"/>
          </a:p>
        </p:txBody>
      </p:sp>
      <p:pic>
        <p:nvPicPr>
          <p:cNvPr id="14" name="Grafik 19" descr="Ein Bild, das Gebäude, Boden, draußen, Weg enthält.  Automatisch generierte Beschreibung">
            <a:extLst>
              <a:ext uri="{FF2B5EF4-FFF2-40B4-BE49-F238E27FC236}">
                <a16:creationId xmlns:a16="http://schemas.microsoft.com/office/drawing/2014/main" id="{BA0B93D3-678E-3360-5FDB-76EC0D9A3325}"/>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49742" y="2002551"/>
            <a:ext cx="2561793" cy="1574435"/>
          </a:xfrm>
          <a:prstGeom prst="rect">
            <a:avLst/>
          </a:prstGeom>
        </p:spPr>
      </p:pic>
      <p:pic>
        <p:nvPicPr>
          <p:cNvPr id="15" name="Grafik 5">
            <a:extLst>
              <a:ext uri="{FF2B5EF4-FFF2-40B4-BE49-F238E27FC236}">
                <a16:creationId xmlns:a16="http://schemas.microsoft.com/office/drawing/2014/main" id="{18E7E7E9-F348-A7AE-83D9-FA8A275C2DF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6097" y="4439738"/>
            <a:ext cx="1706877" cy="1706877"/>
          </a:xfrm>
          <a:prstGeom prst="rect">
            <a:avLst/>
          </a:prstGeom>
        </p:spPr>
      </p:pic>
    </p:spTree>
    <p:extLst>
      <p:ext uri="{BB962C8B-B14F-4D97-AF65-F5344CB8AC3E}">
        <p14:creationId xmlns:p14="http://schemas.microsoft.com/office/powerpoint/2010/main" val="9827802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500"/>
                                  </p:stCondLst>
                                  <p:childTnLst>
                                    <p:set>
                                      <p:cBhvr>
                                        <p:cTn id="9" dur="1" fill="hold">
                                          <p:stCondLst>
                                            <p:cond delay="0"/>
                                          </p:stCondLst>
                                        </p:cTn>
                                        <p:tgtEl>
                                          <p:spTgt spid="14"/>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childTnLst>
                                </p:cTn>
                              </p:par>
                            </p:childTnLst>
                          </p:cTn>
                        </p:par>
                        <p:par>
                          <p:cTn id="14" fill="hold">
                            <p:stCondLst>
                              <p:cond delay="0"/>
                            </p:stCondLst>
                            <p:childTnLst>
                              <p:par>
                                <p:cTn id="15" presetID="1" presetClass="entr" presetSubtype="0" fill="hold" nodeType="afterEffect">
                                  <p:stCondLst>
                                    <p:cond delay="500"/>
                                  </p:stCondLst>
                                  <p:childTnLst>
                                    <p:set>
                                      <p:cBhvr>
                                        <p:cTn id="16" dur="1" fill="hold">
                                          <p:stCondLst>
                                            <p:cond delay="0"/>
                                          </p:stCondLst>
                                        </p:cTn>
                                        <p:tgtEl>
                                          <p:spTgt spid="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par>
                          <p:cTn id="21" fill="hold">
                            <p:stCondLst>
                              <p:cond delay="0"/>
                            </p:stCondLst>
                            <p:childTnLst>
                              <p:par>
                                <p:cTn id="22" presetID="1" presetClass="entr" presetSubtype="0" fill="hold" nodeType="afterEffect">
                                  <p:stCondLst>
                                    <p:cond delay="500"/>
                                  </p:stCondLst>
                                  <p:childTnLst>
                                    <p:set>
                                      <p:cBhvr>
                                        <p:cTn id="23" dur="1" fill="hold">
                                          <p:stCondLst>
                                            <p:cond delay="0"/>
                                          </p:stCondLst>
                                        </p:cTn>
                                        <p:tgtEl>
                                          <p:spTgt spid="5"/>
                                        </p:tgtEl>
                                        <p:attrNameLst>
                                          <p:attrName>style.visibility</p:attrName>
                                        </p:attrNameLst>
                                      </p:cBhvr>
                                      <p:to>
                                        <p:strVal val="visible"/>
                                      </p:to>
                                    </p:set>
                                  </p:childTnLst>
                                </p:cTn>
                              </p:par>
                            </p:childTnLst>
                          </p:cTn>
                        </p:par>
                      </p:childTnLst>
                    </p:cTn>
                  </p:par>
                  <p:par>
                    <p:cTn id="24" fill="hold">
                      <p:stCondLst>
                        <p:cond delay="indefinite"/>
                      </p:stCondLst>
                      <p:childTnLst>
                        <p:par>
                          <p:cTn id="25" fill="hold">
                            <p:stCondLst>
                              <p:cond delay="0"/>
                            </p:stCondLst>
                            <p:childTnLst>
                              <p:par>
                                <p:cTn id="26" presetID="1" presetClass="entr" presetSubtype="0" fill="hold" grpId="0" nodeType="clickEffect">
                                  <p:stCondLst>
                                    <p:cond delay="0"/>
                                  </p:stCondLst>
                                  <p:childTnLst>
                                    <p:set>
                                      <p:cBhvr>
                                        <p:cTn id="27" dur="1" fill="hold">
                                          <p:stCondLst>
                                            <p:cond delay="0"/>
                                          </p:stCondLst>
                                        </p:cTn>
                                        <p:tgtEl>
                                          <p:spTgt spid="11"/>
                                        </p:tgtEl>
                                        <p:attrNameLst>
                                          <p:attrName>style.visibility</p:attrName>
                                        </p:attrNameLst>
                                      </p:cBhvr>
                                      <p:to>
                                        <p:strVal val="visible"/>
                                      </p:to>
                                    </p:se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12"/>
                                        </p:tgtEl>
                                        <p:attrNameLst>
                                          <p:attrName>style.visibility</p:attrName>
                                        </p:attrNameLst>
                                      </p:cBhvr>
                                      <p:to>
                                        <p:strVal val="visible"/>
                                      </p:to>
                                    </p:set>
                                  </p:childTnLst>
                                </p:cTn>
                              </p:par>
                            </p:childTnLst>
                          </p:cTn>
                        </p:par>
                        <p:par>
                          <p:cTn id="32" fill="hold">
                            <p:stCondLst>
                              <p:cond delay="0"/>
                            </p:stCondLst>
                            <p:childTnLst>
                              <p:par>
                                <p:cTn id="33" presetID="1" presetClass="entr" presetSubtype="0" fill="hold" nodeType="afterEffect">
                                  <p:stCondLst>
                                    <p:cond delay="500"/>
                                  </p:stCondLst>
                                  <p:childTnLst>
                                    <p:set>
                                      <p:cBhvr>
                                        <p:cTn id="34" dur="1" fill="hold">
                                          <p:stCondLst>
                                            <p:cond delay="0"/>
                                          </p:stCondLst>
                                        </p:cTn>
                                        <p:tgtEl>
                                          <p:spTgt spid="6"/>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3"/>
                                        </p:tgtEl>
                                        <p:attrNameLst>
                                          <p:attrName>style.visibility</p:attrName>
                                        </p:attrNameLst>
                                      </p:cBhvr>
                                      <p:to>
                                        <p:strVal val="visible"/>
                                      </p:to>
                                    </p:set>
                                  </p:childTnLst>
                                </p:cTn>
                              </p:par>
                            </p:childTnLst>
                          </p:cTn>
                        </p:par>
                        <p:par>
                          <p:cTn id="39" fill="hold">
                            <p:stCondLst>
                              <p:cond delay="0"/>
                            </p:stCondLst>
                            <p:childTnLst>
                              <p:par>
                                <p:cTn id="40" presetID="1" presetClass="entr" presetSubtype="0" fill="hold" nodeType="afterEffect">
                                  <p:stCondLst>
                                    <p:cond delay="500"/>
                                  </p:stCondLst>
                                  <p:childTnLst>
                                    <p:set>
                                      <p:cBhvr>
                                        <p:cTn id="41" dur="1" fill="hold">
                                          <p:stCondLst>
                                            <p:cond delay="0"/>
                                          </p:stCondLst>
                                        </p:cTn>
                                        <p:tgtEl>
                                          <p:spTgt spid="7"/>
                                        </p:tgtEl>
                                        <p:attrNameLst>
                                          <p:attrName>style.visibility</p:attrName>
                                        </p:attrNameLst>
                                      </p:cBhvr>
                                      <p:to>
                                        <p:strVal val="visible"/>
                                      </p:to>
                                    </p:set>
                                  </p:childTnLst>
                                </p:cTn>
                              </p:par>
                            </p:childTnLst>
                          </p:cTn>
                        </p:par>
                        <p:par>
                          <p:cTn id="42" fill="hold">
                            <p:stCondLst>
                              <p:cond delay="500"/>
                            </p:stCondLst>
                            <p:childTnLst>
                              <p:par>
                                <p:cTn id="43" presetID="1" presetClass="entr" presetSubtype="0" fill="hold" nodeType="afterEffect">
                                  <p:stCondLst>
                                    <p:cond delay="500"/>
                                  </p:stCondLst>
                                  <p:childTnLst>
                                    <p:set>
                                      <p:cBhvr>
                                        <p:cTn id="44"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0" grpId="0"/>
      <p:bldP spid="11" grpId="0"/>
      <p:bldP spid="12" grpId="0"/>
      <p:bldP spid="13" grpId="0"/>
    </p:bldLst>
  </p:timing>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27D36106-0ED2-F6F3-0F5A-B0218D99863D}"/>
              </a:ext>
            </a:extLst>
          </p:cNvPr>
          <p:cNvSpPr txBox="1"/>
          <p:nvPr/>
        </p:nvSpPr>
        <p:spPr>
          <a:xfrm>
            <a:off x="215020" y="1064712"/>
            <a:ext cx="6097508" cy="584775"/>
          </a:xfrm>
          <a:prstGeom prst="rect">
            <a:avLst/>
          </a:prstGeom>
          <a:noFill/>
        </p:spPr>
        <p:txBody>
          <a:bodyPr wrap="square">
            <a:spAutoFit/>
          </a:bodyPr>
          <a:lstStyle/>
          <a:p>
            <a:pPr>
              <a:defRPr sz="3200" b="1"/>
            </a:pPr>
            <a:r>
              <a:t>Temel tanımlar – faaliyet çifti</a:t>
            </a:r>
          </a:p>
        </p:txBody>
      </p:sp>
      <p:grpSp>
        <p:nvGrpSpPr>
          <p:cNvPr id="28" name="Group 27">
            <a:extLst>
              <a:ext uri="{FF2B5EF4-FFF2-40B4-BE49-F238E27FC236}">
                <a16:creationId xmlns:a16="http://schemas.microsoft.com/office/drawing/2014/main" id="{E5A43DA0-7D1A-2E26-1261-9E3034BFA43F}"/>
              </a:ext>
            </a:extLst>
          </p:cNvPr>
          <p:cNvGrpSpPr/>
          <p:nvPr/>
        </p:nvGrpSpPr>
        <p:grpSpPr>
          <a:xfrm>
            <a:off x="2273158" y="1727771"/>
            <a:ext cx="7645683" cy="4352931"/>
            <a:chOff x="2017414" y="1093820"/>
            <a:chExt cx="8157172" cy="5767502"/>
          </a:xfrm>
        </p:grpSpPr>
        <p:grpSp>
          <p:nvGrpSpPr>
            <p:cNvPr id="5" name="Gruppieren 3">
              <a:extLst>
                <a:ext uri="{FF2B5EF4-FFF2-40B4-BE49-F238E27FC236}">
                  <a16:creationId xmlns:a16="http://schemas.microsoft.com/office/drawing/2014/main" id="{D2F77F9F-7026-D352-0DB2-5A07F9BDB52E}"/>
                </a:ext>
              </a:extLst>
            </p:cNvPr>
            <p:cNvGrpSpPr/>
            <p:nvPr/>
          </p:nvGrpSpPr>
          <p:grpSpPr>
            <a:xfrm>
              <a:off x="2017414" y="1093821"/>
              <a:ext cx="2228630" cy="2064559"/>
              <a:chOff x="2017414" y="1093821"/>
              <a:chExt cx="2228630" cy="2064559"/>
            </a:xfrm>
          </p:grpSpPr>
          <p:pic>
            <p:nvPicPr>
              <p:cNvPr id="6" name="Grafik 23">
                <a:extLst>
                  <a:ext uri="{FF2B5EF4-FFF2-40B4-BE49-F238E27FC236}">
                    <a16:creationId xmlns:a16="http://schemas.microsoft.com/office/drawing/2014/main" id="{793F177C-87AF-34C5-C9A9-1414A02750A9}"/>
                  </a:ext>
                </a:extLst>
              </p:cNvPr>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017414" y="1093821"/>
                <a:ext cx="2228630" cy="2064559"/>
              </a:xfrm>
              <a:prstGeom prst="rect">
                <a:avLst/>
              </a:prstGeom>
            </p:spPr>
          </p:pic>
          <p:sp>
            <p:nvSpPr>
              <p:cNvPr id="8" name="Textfeld 25">
                <a:extLst>
                  <a:ext uri="{FF2B5EF4-FFF2-40B4-BE49-F238E27FC236}">
                    <a16:creationId xmlns:a16="http://schemas.microsoft.com/office/drawing/2014/main" id="{B086F4E4-63CE-733E-684A-0148777FE58A}"/>
                  </a:ext>
                </a:extLst>
              </p:cNvPr>
              <p:cNvSpPr txBox="1"/>
              <p:nvPr/>
            </p:nvSpPr>
            <p:spPr>
              <a:xfrm>
                <a:off x="2921630" y="1635292"/>
                <a:ext cx="400988" cy="461665"/>
              </a:xfrm>
              <a:prstGeom prst="rect">
                <a:avLst/>
              </a:prstGeom>
              <a:noFill/>
            </p:spPr>
            <p:txBody>
              <a:bodyPr wrap="square">
                <a:spAutoFit/>
              </a:bodyPr>
              <a:lstStyle/>
              <a:p>
                <a:pPr>
                  <a:defRPr sz="2400"/>
                </a:pPr>
                <a:r>
                  <a:t>E</a:t>
                </a:r>
              </a:p>
            </p:txBody>
          </p:sp>
        </p:grpSp>
        <p:grpSp>
          <p:nvGrpSpPr>
            <p:cNvPr id="9" name="Gruppieren 4">
              <a:extLst>
                <a:ext uri="{FF2B5EF4-FFF2-40B4-BE49-F238E27FC236}">
                  <a16:creationId xmlns:a16="http://schemas.microsoft.com/office/drawing/2014/main" id="{A79D6A4E-F4AD-6BBC-3C45-AF260119E52E}"/>
                </a:ext>
              </a:extLst>
            </p:cNvPr>
            <p:cNvGrpSpPr/>
            <p:nvPr/>
          </p:nvGrpSpPr>
          <p:grpSpPr>
            <a:xfrm>
              <a:off x="7945956" y="1093820"/>
              <a:ext cx="2228630" cy="2064559"/>
              <a:chOff x="7945956" y="1093820"/>
              <a:chExt cx="2228630" cy="2064559"/>
            </a:xfrm>
          </p:grpSpPr>
          <p:pic>
            <p:nvPicPr>
              <p:cNvPr id="10" name="Grafik 24">
                <a:extLst>
                  <a:ext uri="{FF2B5EF4-FFF2-40B4-BE49-F238E27FC236}">
                    <a16:creationId xmlns:a16="http://schemas.microsoft.com/office/drawing/2014/main" id="{900B61D3-3524-1455-7533-521BC4A9302C}"/>
                  </a:ext>
                </a:extLst>
              </p:cNvPr>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945956" y="1093820"/>
                <a:ext cx="2228630" cy="2064559"/>
              </a:xfrm>
              <a:prstGeom prst="rect">
                <a:avLst/>
              </a:prstGeom>
            </p:spPr>
          </p:pic>
          <p:sp>
            <p:nvSpPr>
              <p:cNvPr id="11" name="Textfeld 26">
                <a:extLst>
                  <a:ext uri="{FF2B5EF4-FFF2-40B4-BE49-F238E27FC236}">
                    <a16:creationId xmlns:a16="http://schemas.microsoft.com/office/drawing/2014/main" id="{DD242728-12D5-E24C-9F24-2C4D314942C4}"/>
                  </a:ext>
                </a:extLst>
              </p:cNvPr>
              <p:cNvSpPr txBox="1"/>
              <p:nvPr/>
            </p:nvSpPr>
            <p:spPr>
              <a:xfrm>
                <a:off x="8807384" y="1635290"/>
                <a:ext cx="509839" cy="461667"/>
              </a:xfrm>
              <a:prstGeom prst="rect">
                <a:avLst/>
              </a:prstGeom>
              <a:noFill/>
            </p:spPr>
            <p:txBody>
              <a:bodyPr wrap="square">
                <a:spAutoFit/>
              </a:bodyPr>
              <a:lstStyle/>
              <a:p>
                <a:pPr>
                  <a:defRPr sz="2400"/>
                </a:pPr>
                <a:r>
                  <a:t>İ</a:t>
                </a:r>
              </a:p>
            </p:txBody>
          </p:sp>
        </p:grpSp>
        <p:grpSp>
          <p:nvGrpSpPr>
            <p:cNvPr id="12" name="Gruppieren 6">
              <a:extLst>
                <a:ext uri="{FF2B5EF4-FFF2-40B4-BE49-F238E27FC236}">
                  <a16:creationId xmlns:a16="http://schemas.microsoft.com/office/drawing/2014/main" id="{D2AEA3BA-3801-82B4-B372-A30AAA6DC2F3}"/>
                </a:ext>
              </a:extLst>
            </p:cNvPr>
            <p:cNvGrpSpPr/>
            <p:nvPr/>
          </p:nvGrpSpPr>
          <p:grpSpPr>
            <a:xfrm>
              <a:off x="2017414" y="4387089"/>
              <a:ext cx="2228630" cy="2064559"/>
              <a:chOff x="2017414" y="4387089"/>
              <a:chExt cx="2228630" cy="2064559"/>
            </a:xfrm>
          </p:grpSpPr>
          <p:pic>
            <p:nvPicPr>
              <p:cNvPr id="13" name="Grafik 27">
                <a:extLst>
                  <a:ext uri="{FF2B5EF4-FFF2-40B4-BE49-F238E27FC236}">
                    <a16:creationId xmlns:a16="http://schemas.microsoft.com/office/drawing/2014/main" id="{C5B3187E-84A6-F937-C354-BBD4A332C1DD}"/>
                  </a:ext>
                </a:extLst>
              </p:cNvPr>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2017414" y="4387089"/>
                <a:ext cx="2228630" cy="2064559"/>
              </a:xfrm>
              <a:prstGeom prst="rect">
                <a:avLst/>
              </a:prstGeom>
            </p:spPr>
          </p:pic>
          <p:sp>
            <p:nvSpPr>
              <p:cNvPr id="14" name="Textfeld 29">
                <a:extLst>
                  <a:ext uri="{FF2B5EF4-FFF2-40B4-BE49-F238E27FC236}">
                    <a16:creationId xmlns:a16="http://schemas.microsoft.com/office/drawing/2014/main" id="{293ADE3B-00C5-6632-6970-89156EC9C18C}"/>
                  </a:ext>
                </a:extLst>
              </p:cNvPr>
              <p:cNvSpPr txBox="1"/>
              <p:nvPr/>
            </p:nvSpPr>
            <p:spPr>
              <a:xfrm>
                <a:off x="2927606" y="4922056"/>
                <a:ext cx="395015" cy="473810"/>
              </a:xfrm>
              <a:prstGeom prst="rect">
                <a:avLst/>
              </a:prstGeom>
              <a:noFill/>
            </p:spPr>
            <p:txBody>
              <a:bodyPr wrap="square">
                <a:spAutoFit/>
              </a:bodyPr>
              <a:lstStyle/>
              <a:p>
                <a:pPr>
                  <a:defRPr sz="2400"/>
                </a:pPr>
                <a:r>
                  <a:t>A</a:t>
                </a:r>
              </a:p>
            </p:txBody>
          </p:sp>
        </p:grpSp>
        <p:grpSp>
          <p:nvGrpSpPr>
            <p:cNvPr id="15" name="Gruppieren 5">
              <a:extLst>
                <a:ext uri="{FF2B5EF4-FFF2-40B4-BE49-F238E27FC236}">
                  <a16:creationId xmlns:a16="http://schemas.microsoft.com/office/drawing/2014/main" id="{4170C1CC-9271-82E9-BA13-498DF7FA13BA}"/>
                </a:ext>
              </a:extLst>
            </p:cNvPr>
            <p:cNvGrpSpPr/>
            <p:nvPr/>
          </p:nvGrpSpPr>
          <p:grpSpPr>
            <a:xfrm>
              <a:off x="7945956" y="4387088"/>
              <a:ext cx="2228630" cy="2064559"/>
              <a:chOff x="7945956" y="4387088"/>
              <a:chExt cx="2228630" cy="2064559"/>
            </a:xfrm>
          </p:grpSpPr>
          <p:pic>
            <p:nvPicPr>
              <p:cNvPr id="16" name="Grafik 28">
                <a:extLst>
                  <a:ext uri="{FF2B5EF4-FFF2-40B4-BE49-F238E27FC236}">
                    <a16:creationId xmlns:a16="http://schemas.microsoft.com/office/drawing/2014/main" id="{8D3AE3B3-6C22-B4D3-C962-258384FAE18E}"/>
                  </a:ext>
                </a:extLst>
              </p:cNvPr>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7945956" y="4387088"/>
                <a:ext cx="2228630" cy="2064559"/>
              </a:xfrm>
              <a:prstGeom prst="rect">
                <a:avLst/>
              </a:prstGeom>
            </p:spPr>
          </p:pic>
          <p:sp>
            <p:nvSpPr>
              <p:cNvPr id="17" name="Textfeld 30">
                <a:extLst>
                  <a:ext uri="{FF2B5EF4-FFF2-40B4-BE49-F238E27FC236}">
                    <a16:creationId xmlns:a16="http://schemas.microsoft.com/office/drawing/2014/main" id="{0AA6C975-0CA2-80AA-540B-20E8297FF78F}"/>
                  </a:ext>
                </a:extLst>
              </p:cNvPr>
              <p:cNvSpPr txBox="1"/>
              <p:nvPr/>
            </p:nvSpPr>
            <p:spPr>
              <a:xfrm>
                <a:off x="8897048" y="4928560"/>
                <a:ext cx="319376" cy="611692"/>
              </a:xfrm>
              <a:prstGeom prst="rect">
                <a:avLst/>
              </a:prstGeom>
              <a:noFill/>
            </p:spPr>
            <p:txBody>
              <a:bodyPr wrap="square">
                <a:spAutoFit/>
              </a:bodyPr>
              <a:lstStyle/>
              <a:p>
                <a:pPr>
                  <a:defRPr sz="2400"/>
                </a:pPr>
                <a:r>
                  <a:rPr lang="tr-TR" dirty="0"/>
                  <a:t>D</a:t>
                </a:r>
                <a:endParaRPr dirty="0"/>
              </a:p>
            </p:txBody>
          </p:sp>
        </p:grpSp>
        <p:cxnSp>
          <p:nvCxnSpPr>
            <p:cNvPr id="18" name="Gerade Verbindung mit Pfeil 31">
              <a:extLst>
                <a:ext uri="{FF2B5EF4-FFF2-40B4-BE49-F238E27FC236}">
                  <a16:creationId xmlns:a16="http://schemas.microsoft.com/office/drawing/2014/main" id="{38C4D8A6-BA32-A071-E7D9-28672731AD8D}"/>
                </a:ext>
              </a:extLst>
            </p:cNvPr>
            <p:cNvCxnSpPr>
              <a:cxnSpLocks/>
            </p:cNvCxnSpPr>
            <p:nvPr/>
          </p:nvCxnSpPr>
          <p:spPr>
            <a:xfrm flipV="1">
              <a:off x="4388639" y="2934951"/>
              <a:ext cx="3414720" cy="15626"/>
            </a:xfrm>
            <a:prstGeom prst="straightConnector1">
              <a:avLst/>
            </a:prstGeom>
            <a:ln w="57150">
              <a:solidFill>
                <a:srgbClr val="5B5B5A"/>
              </a:solidFill>
              <a:tailEnd type="triangle"/>
            </a:ln>
          </p:spPr>
          <p:style>
            <a:lnRef idx="1">
              <a:schemeClr val="accent1"/>
            </a:lnRef>
            <a:fillRef idx="0">
              <a:schemeClr val="accent1"/>
            </a:fillRef>
            <a:effectRef idx="0">
              <a:schemeClr val="accent1"/>
            </a:effectRef>
            <a:fontRef idx="minor">
              <a:schemeClr val="tx1"/>
            </a:fontRef>
          </p:style>
        </p:cxnSp>
        <p:pic>
          <p:nvPicPr>
            <p:cNvPr id="19" name="Grafik 33">
              <a:extLst>
                <a:ext uri="{FF2B5EF4-FFF2-40B4-BE49-F238E27FC236}">
                  <a16:creationId xmlns:a16="http://schemas.microsoft.com/office/drawing/2014/main" id="{BF173ABD-0039-2E46-04EA-B4527BD5207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73291" y="2333966"/>
              <a:ext cx="633368" cy="633368"/>
            </a:xfrm>
            <a:prstGeom prst="rect">
              <a:avLst/>
            </a:prstGeom>
          </p:spPr>
        </p:pic>
        <p:cxnSp>
          <p:nvCxnSpPr>
            <p:cNvPr id="20" name="Gerade Verbindung mit Pfeil 35">
              <a:extLst>
                <a:ext uri="{FF2B5EF4-FFF2-40B4-BE49-F238E27FC236}">
                  <a16:creationId xmlns:a16="http://schemas.microsoft.com/office/drawing/2014/main" id="{0DE4CB60-757F-C6DE-1091-0467257F7D36}"/>
                </a:ext>
              </a:extLst>
            </p:cNvPr>
            <p:cNvCxnSpPr>
              <a:cxnSpLocks/>
            </p:cNvCxnSpPr>
            <p:nvPr/>
          </p:nvCxnSpPr>
          <p:spPr>
            <a:xfrm flipV="1">
              <a:off x="4388639" y="6234004"/>
              <a:ext cx="3414720" cy="15626"/>
            </a:xfrm>
            <a:prstGeom prst="straightConnector1">
              <a:avLst/>
            </a:prstGeom>
            <a:ln w="57150">
              <a:solidFill>
                <a:srgbClr val="5B5B5A"/>
              </a:solidFill>
              <a:tailEnd type="triangle"/>
            </a:ln>
          </p:spPr>
          <p:style>
            <a:lnRef idx="1">
              <a:schemeClr val="accent1"/>
            </a:lnRef>
            <a:fillRef idx="0">
              <a:schemeClr val="accent1"/>
            </a:fillRef>
            <a:effectRef idx="0">
              <a:schemeClr val="accent1"/>
            </a:effectRef>
            <a:fontRef idx="minor">
              <a:schemeClr val="tx1"/>
            </a:fontRef>
          </p:style>
        </p:cxnSp>
        <p:pic>
          <p:nvPicPr>
            <p:cNvPr id="21" name="Grafik 36">
              <a:extLst>
                <a:ext uri="{FF2B5EF4-FFF2-40B4-BE49-F238E27FC236}">
                  <a16:creationId xmlns:a16="http://schemas.microsoft.com/office/drawing/2014/main" id="{E9D35C9B-A145-17A7-945B-AECB644A58D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473291" y="5600636"/>
              <a:ext cx="633368" cy="633368"/>
            </a:xfrm>
            <a:prstGeom prst="rect">
              <a:avLst/>
            </a:prstGeom>
          </p:spPr>
        </p:pic>
        <p:sp>
          <p:nvSpPr>
            <p:cNvPr id="22" name="Textfeld 19">
              <a:extLst>
                <a:ext uri="{FF2B5EF4-FFF2-40B4-BE49-F238E27FC236}">
                  <a16:creationId xmlns:a16="http://schemas.microsoft.com/office/drawing/2014/main" id="{28A06146-6331-21A5-7B83-5EA1A8D0CC5B}"/>
                </a:ext>
              </a:extLst>
            </p:cNvPr>
            <p:cNvSpPr txBox="1"/>
            <p:nvPr/>
          </p:nvSpPr>
          <p:spPr>
            <a:xfrm>
              <a:off x="2615888" y="2967335"/>
              <a:ext cx="1012472" cy="461665"/>
            </a:xfrm>
            <a:prstGeom prst="rect">
              <a:avLst/>
            </a:prstGeom>
            <a:noFill/>
          </p:spPr>
          <p:txBody>
            <a:bodyPr wrap="square">
              <a:spAutoFit/>
            </a:bodyPr>
            <a:lstStyle/>
            <a:p>
              <a:pPr algn="ctr">
                <a:defRPr sz="2400"/>
              </a:pPr>
              <a:r>
                <a:t>Ev</a:t>
              </a:r>
            </a:p>
          </p:txBody>
        </p:sp>
        <p:sp>
          <p:nvSpPr>
            <p:cNvPr id="23" name="Textfeld 20">
              <a:extLst>
                <a:ext uri="{FF2B5EF4-FFF2-40B4-BE49-F238E27FC236}">
                  <a16:creationId xmlns:a16="http://schemas.microsoft.com/office/drawing/2014/main" id="{29CFC130-DE8A-2DC2-A16D-D8497D2657C7}"/>
                </a:ext>
              </a:extLst>
            </p:cNvPr>
            <p:cNvSpPr txBox="1"/>
            <p:nvPr/>
          </p:nvSpPr>
          <p:spPr>
            <a:xfrm>
              <a:off x="8550500" y="2967334"/>
              <a:ext cx="1012472" cy="461665"/>
            </a:xfrm>
            <a:prstGeom prst="rect">
              <a:avLst/>
            </a:prstGeom>
            <a:noFill/>
          </p:spPr>
          <p:txBody>
            <a:bodyPr wrap="square">
              <a:spAutoFit/>
            </a:bodyPr>
            <a:lstStyle/>
            <a:p>
              <a:pPr algn="ctr">
                <a:defRPr sz="2400"/>
              </a:pPr>
              <a:r>
                <a:t>İş</a:t>
              </a:r>
            </a:p>
          </p:txBody>
        </p:sp>
        <p:sp>
          <p:nvSpPr>
            <p:cNvPr id="24" name="Textfeld 21">
              <a:extLst>
                <a:ext uri="{FF2B5EF4-FFF2-40B4-BE49-F238E27FC236}">
                  <a16:creationId xmlns:a16="http://schemas.microsoft.com/office/drawing/2014/main" id="{E2AFB471-B464-FFC9-80A5-71D80564FBB5}"/>
                </a:ext>
              </a:extLst>
            </p:cNvPr>
            <p:cNvSpPr txBox="1"/>
            <p:nvPr/>
          </p:nvSpPr>
          <p:spPr>
            <a:xfrm>
              <a:off x="2373345" y="6234004"/>
              <a:ext cx="1516767" cy="461665"/>
            </a:xfrm>
            <a:prstGeom prst="rect">
              <a:avLst/>
            </a:prstGeom>
            <a:noFill/>
          </p:spPr>
          <p:txBody>
            <a:bodyPr wrap="square">
              <a:spAutoFit/>
            </a:bodyPr>
            <a:lstStyle/>
            <a:p>
              <a:pPr>
                <a:defRPr sz="2400"/>
              </a:pPr>
              <a:r>
                <a:t>Alışveriş</a:t>
              </a:r>
            </a:p>
          </p:txBody>
        </p:sp>
        <p:sp>
          <p:nvSpPr>
            <p:cNvPr id="25" name="Textfeld 22">
              <a:extLst>
                <a:ext uri="{FF2B5EF4-FFF2-40B4-BE49-F238E27FC236}">
                  <a16:creationId xmlns:a16="http://schemas.microsoft.com/office/drawing/2014/main" id="{1233D553-AEF9-17AA-656C-AC0866DCFB13}"/>
                </a:ext>
              </a:extLst>
            </p:cNvPr>
            <p:cNvSpPr txBox="1"/>
            <p:nvPr/>
          </p:nvSpPr>
          <p:spPr>
            <a:xfrm>
              <a:off x="8472487" y="6249630"/>
              <a:ext cx="1702098" cy="611692"/>
            </a:xfrm>
            <a:prstGeom prst="rect">
              <a:avLst/>
            </a:prstGeom>
            <a:noFill/>
          </p:spPr>
          <p:txBody>
            <a:bodyPr wrap="square">
              <a:spAutoFit/>
            </a:bodyPr>
            <a:lstStyle/>
            <a:p>
              <a:pPr>
                <a:defRPr sz="2400"/>
              </a:pPr>
              <a:r>
                <a:rPr lang="tr-TR" dirty="0"/>
                <a:t>Dinlence</a:t>
              </a:r>
              <a:endParaRPr dirty="0"/>
            </a:p>
          </p:txBody>
        </p:sp>
      </p:grpSp>
    </p:spTree>
    <p:extLst>
      <p:ext uri="{BB962C8B-B14F-4D97-AF65-F5344CB8AC3E}">
        <p14:creationId xmlns:p14="http://schemas.microsoft.com/office/powerpoint/2010/main" val="8798275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pSp>
        <p:nvGrpSpPr>
          <p:cNvPr id="2" name="Gruppieren Home">
            <a:extLst>
              <a:ext uri="{FF2B5EF4-FFF2-40B4-BE49-F238E27FC236}">
                <a16:creationId xmlns:a16="http://schemas.microsoft.com/office/drawing/2014/main" id="{DB2119F0-AFA6-A4FA-2FF7-E736A794BAF9}"/>
              </a:ext>
            </a:extLst>
          </p:cNvPr>
          <p:cNvGrpSpPr/>
          <p:nvPr/>
        </p:nvGrpSpPr>
        <p:grpSpPr>
          <a:xfrm>
            <a:off x="1142402" y="1759535"/>
            <a:ext cx="1552575" cy="1438275"/>
            <a:chOff x="1142402" y="1759535"/>
            <a:chExt cx="1552575" cy="1438275"/>
          </a:xfrm>
        </p:grpSpPr>
        <p:pic>
          <p:nvPicPr>
            <p:cNvPr id="3" name="Grafik 3">
              <a:extLst>
                <a:ext uri="{FF2B5EF4-FFF2-40B4-BE49-F238E27FC236}">
                  <a16:creationId xmlns:a16="http://schemas.microsoft.com/office/drawing/2014/main" id="{5FA262A2-4142-848B-AE31-39502FEE1BB9}"/>
                </a:ext>
              </a:extLst>
            </p:cNvPr>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142402" y="1759535"/>
              <a:ext cx="1552575" cy="1438275"/>
            </a:xfrm>
            <a:prstGeom prst="rect">
              <a:avLst/>
            </a:prstGeom>
          </p:spPr>
        </p:pic>
        <p:sp>
          <p:nvSpPr>
            <p:cNvPr id="4" name="Textfeld 5">
              <a:extLst>
                <a:ext uri="{FF2B5EF4-FFF2-40B4-BE49-F238E27FC236}">
                  <a16:creationId xmlns:a16="http://schemas.microsoft.com/office/drawing/2014/main" id="{47FA2960-B097-E2F2-235E-CE2741BA8E13}"/>
                </a:ext>
              </a:extLst>
            </p:cNvPr>
            <p:cNvSpPr txBox="1"/>
            <p:nvPr/>
          </p:nvSpPr>
          <p:spPr>
            <a:xfrm>
              <a:off x="1709499" y="2136750"/>
              <a:ext cx="480725" cy="461665"/>
            </a:xfrm>
            <a:prstGeom prst="rect">
              <a:avLst/>
            </a:prstGeom>
            <a:noFill/>
          </p:spPr>
          <p:txBody>
            <a:bodyPr wrap="square">
              <a:spAutoFit/>
            </a:bodyPr>
            <a:lstStyle/>
            <a:p>
              <a:pPr>
                <a:defRPr sz="2400"/>
              </a:pPr>
              <a:r>
                <a:t>E</a:t>
              </a:r>
            </a:p>
          </p:txBody>
        </p:sp>
      </p:grpSp>
      <p:grpSp>
        <p:nvGrpSpPr>
          <p:cNvPr id="5" name="Gruppieren Work">
            <a:extLst>
              <a:ext uri="{FF2B5EF4-FFF2-40B4-BE49-F238E27FC236}">
                <a16:creationId xmlns:a16="http://schemas.microsoft.com/office/drawing/2014/main" id="{56269559-6048-2BE5-2054-E6E47C43E7F7}"/>
              </a:ext>
            </a:extLst>
          </p:cNvPr>
          <p:cNvGrpSpPr/>
          <p:nvPr/>
        </p:nvGrpSpPr>
        <p:grpSpPr>
          <a:xfrm>
            <a:off x="5272521" y="1759534"/>
            <a:ext cx="1552575" cy="1438275"/>
            <a:chOff x="5272521" y="1759534"/>
            <a:chExt cx="1552575" cy="1438275"/>
          </a:xfrm>
        </p:grpSpPr>
        <p:pic>
          <p:nvPicPr>
            <p:cNvPr id="6" name="Grafik 4">
              <a:extLst>
                <a:ext uri="{FF2B5EF4-FFF2-40B4-BE49-F238E27FC236}">
                  <a16:creationId xmlns:a16="http://schemas.microsoft.com/office/drawing/2014/main" id="{CB9F963A-E6ED-47B3-1BB7-EAD2E53BDA6A}"/>
                </a:ext>
              </a:extLst>
            </p:cNvPr>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272521" y="1759534"/>
              <a:ext cx="1552575" cy="1438275"/>
            </a:xfrm>
            <a:prstGeom prst="rect">
              <a:avLst/>
            </a:prstGeom>
          </p:spPr>
        </p:pic>
        <p:sp>
          <p:nvSpPr>
            <p:cNvPr id="7" name="Textfeld 6">
              <a:extLst>
                <a:ext uri="{FF2B5EF4-FFF2-40B4-BE49-F238E27FC236}">
                  <a16:creationId xmlns:a16="http://schemas.microsoft.com/office/drawing/2014/main" id="{E394DD1D-C146-95CF-82BE-8C60609A4AB6}"/>
                </a:ext>
              </a:extLst>
            </p:cNvPr>
            <p:cNvSpPr txBox="1"/>
            <p:nvPr/>
          </p:nvSpPr>
          <p:spPr>
            <a:xfrm>
              <a:off x="5832690" y="2136749"/>
              <a:ext cx="480725" cy="461665"/>
            </a:xfrm>
            <a:prstGeom prst="rect">
              <a:avLst/>
            </a:prstGeom>
            <a:noFill/>
          </p:spPr>
          <p:txBody>
            <a:bodyPr wrap="square">
              <a:spAutoFit/>
            </a:bodyPr>
            <a:lstStyle/>
            <a:p>
              <a:pPr>
                <a:defRPr sz="2400"/>
              </a:pPr>
              <a:r>
                <a:rPr dirty="0"/>
                <a:t>İ</a:t>
              </a:r>
            </a:p>
          </p:txBody>
        </p:sp>
      </p:grpSp>
      <p:grpSp>
        <p:nvGrpSpPr>
          <p:cNvPr id="8" name="Gruppieren Leisure">
            <a:extLst>
              <a:ext uri="{FF2B5EF4-FFF2-40B4-BE49-F238E27FC236}">
                <a16:creationId xmlns:a16="http://schemas.microsoft.com/office/drawing/2014/main" id="{C8044149-1981-5647-6BDE-94DAA5F0618A}"/>
              </a:ext>
            </a:extLst>
          </p:cNvPr>
          <p:cNvGrpSpPr/>
          <p:nvPr/>
        </p:nvGrpSpPr>
        <p:grpSpPr>
          <a:xfrm>
            <a:off x="1142402" y="4053790"/>
            <a:ext cx="1552575" cy="1438275"/>
            <a:chOff x="1142402" y="4053790"/>
            <a:chExt cx="1552575" cy="1438275"/>
          </a:xfrm>
        </p:grpSpPr>
        <p:pic>
          <p:nvPicPr>
            <p:cNvPr id="9" name="Grafik 7">
              <a:extLst>
                <a:ext uri="{FF2B5EF4-FFF2-40B4-BE49-F238E27FC236}">
                  <a16:creationId xmlns:a16="http://schemas.microsoft.com/office/drawing/2014/main" id="{3E5779DA-94F7-09F3-F8D4-7734C47957BF}"/>
                </a:ext>
              </a:extLst>
            </p:cNvPr>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142402" y="4053790"/>
              <a:ext cx="1552575" cy="1438275"/>
            </a:xfrm>
            <a:prstGeom prst="rect">
              <a:avLst/>
            </a:prstGeom>
          </p:spPr>
        </p:pic>
        <p:sp>
          <p:nvSpPr>
            <p:cNvPr id="10" name="Textfeld 9">
              <a:extLst>
                <a:ext uri="{FF2B5EF4-FFF2-40B4-BE49-F238E27FC236}">
                  <a16:creationId xmlns:a16="http://schemas.microsoft.com/office/drawing/2014/main" id="{E68A1AC0-7DA5-6028-5E2C-B3C6E6FEAA67}"/>
                </a:ext>
              </a:extLst>
            </p:cNvPr>
            <p:cNvSpPr txBox="1"/>
            <p:nvPr/>
          </p:nvSpPr>
          <p:spPr>
            <a:xfrm>
              <a:off x="1726031" y="4426474"/>
              <a:ext cx="480725" cy="461665"/>
            </a:xfrm>
            <a:prstGeom prst="rect">
              <a:avLst/>
            </a:prstGeom>
            <a:noFill/>
          </p:spPr>
          <p:txBody>
            <a:bodyPr wrap="square">
              <a:spAutoFit/>
            </a:bodyPr>
            <a:lstStyle/>
            <a:p>
              <a:pPr>
                <a:defRPr sz="2400"/>
              </a:pPr>
              <a:r>
                <a:rPr lang="tr-TR" dirty="0"/>
                <a:t>D</a:t>
              </a:r>
              <a:endParaRPr dirty="0"/>
            </a:p>
          </p:txBody>
        </p:sp>
      </p:grpSp>
      <p:grpSp>
        <p:nvGrpSpPr>
          <p:cNvPr id="11" name="Gruppieren School">
            <a:extLst>
              <a:ext uri="{FF2B5EF4-FFF2-40B4-BE49-F238E27FC236}">
                <a16:creationId xmlns:a16="http://schemas.microsoft.com/office/drawing/2014/main" id="{4E66400E-AAA1-6C96-899E-9CD37F15D036}"/>
              </a:ext>
            </a:extLst>
          </p:cNvPr>
          <p:cNvGrpSpPr/>
          <p:nvPr/>
        </p:nvGrpSpPr>
        <p:grpSpPr>
          <a:xfrm>
            <a:off x="5272521" y="4053789"/>
            <a:ext cx="1552575" cy="1438275"/>
            <a:chOff x="5272521" y="4053789"/>
            <a:chExt cx="1552575" cy="1438275"/>
          </a:xfrm>
        </p:grpSpPr>
        <p:pic>
          <p:nvPicPr>
            <p:cNvPr id="12" name="Grafik 8">
              <a:extLst>
                <a:ext uri="{FF2B5EF4-FFF2-40B4-BE49-F238E27FC236}">
                  <a16:creationId xmlns:a16="http://schemas.microsoft.com/office/drawing/2014/main" id="{6D489ACD-8A2F-64ED-9845-76AF6BC8FAA3}"/>
                </a:ext>
              </a:extLst>
            </p:cNvPr>
            <p:cNvPicPr>
              <a:picLocks noChangeAspect="1"/>
            </p:cNvPicPr>
            <p:nvPr/>
          </p:nvPicPr>
          <p:blipFill>
            <a:blip r:embed="rId4"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272521" y="4053789"/>
              <a:ext cx="1552575" cy="1438275"/>
            </a:xfrm>
            <a:prstGeom prst="rect">
              <a:avLst/>
            </a:prstGeom>
          </p:spPr>
        </p:pic>
        <p:sp>
          <p:nvSpPr>
            <p:cNvPr id="13" name="Textfeld 10">
              <a:extLst>
                <a:ext uri="{FF2B5EF4-FFF2-40B4-BE49-F238E27FC236}">
                  <a16:creationId xmlns:a16="http://schemas.microsoft.com/office/drawing/2014/main" id="{97408B1E-9D2E-5F1A-8F56-73236107B0A3}"/>
                </a:ext>
              </a:extLst>
            </p:cNvPr>
            <p:cNvSpPr txBox="1"/>
            <p:nvPr/>
          </p:nvSpPr>
          <p:spPr>
            <a:xfrm>
              <a:off x="5873759" y="4431004"/>
              <a:ext cx="480725" cy="461665"/>
            </a:xfrm>
            <a:prstGeom prst="rect">
              <a:avLst/>
            </a:prstGeom>
            <a:noFill/>
          </p:spPr>
          <p:txBody>
            <a:bodyPr wrap="square">
              <a:spAutoFit/>
            </a:bodyPr>
            <a:lstStyle/>
            <a:p>
              <a:pPr>
                <a:defRPr sz="2400"/>
              </a:pPr>
              <a:r>
                <a:rPr dirty="0"/>
                <a:t>A</a:t>
              </a:r>
            </a:p>
          </p:txBody>
        </p:sp>
      </p:grpSp>
      <p:cxnSp>
        <p:nvCxnSpPr>
          <p:cNvPr id="14" name="Gerade Verbindung mit Pfeil 11">
            <a:extLst>
              <a:ext uri="{FF2B5EF4-FFF2-40B4-BE49-F238E27FC236}">
                <a16:creationId xmlns:a16="http://schemas.microsoft.com/office/drawing/2014/main" id="{566A4E68-F493-27FA-0B0C-7BBB768E7199}"/>
              </a:ext>
            </a:extLst>
          </p:cNvPr>
          <p:cNvCxnSpPr/>
          <p:nvPr/>
        </p:nvCxnSpPr>
        <p:spPr>
          <a:xfrm flipV="1">
            <a:off x="2794316" y="3042158"/>
            <a:ext cx="2378865" cy="10886"/>
          </a:xfrm>
          <a:prstGeom prst="straightConnector1">
            <a:avLst/>
          </a:prstGeom>
          <a:ln w="57150">
            <a:solidFill>
              <a:srgbClr val="5B5B5A"/>
            </a:solidFill>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2">
            <a:extLst>
              <a:ext uri="{FF2B5EF4-FFF2-40B4-BE49-F238E27FC236}">
                <a16:creationId xmlns:a16="http://schemas.microsoft.com/office/drawing/2014/main" id="{A88E70C7-DF25-83ED-F74A-D843F81D7EB5}"/>
              </a:ext>
            </a:extLst>
          </p:cNvPr>
          <p:cNvCxnSpPr/>
          <p:nvPr/>
        </p:nvCxnSpPr>
        <p:spPr>
          <a:xfrm flipH="1" flipV="1">
            <a:off x="2794315" y="5328163"/>
            <a:ext cx="2378865" cy="10886"/>
          </a:xfrm>
          <a:prstGeom prst="straightConnector1">
            <a:avLst/>
          </a:prstGeom>
          <a:ln w="57150">
            <a:solidFill>
              <a:srgbClr val="5B5B5A"/>
            </a:solidFill>
            <a:tailEnd type="triangle"/>
          </a:ln>
        </p:spPr>
        <p:style>
          <a:lnRef idx="1">
            <a:schemeClr val="accent1"/>
          </a:lnRef>
          <a:fillRef idx="0">
            <a:schemeClr val="accent1"/>
          </a:fillRef>
          <a:effectRef idx="0">
            <a:schemeClr val="accent1"/>
          </a:effectRef>
          <a:fontRef idx="minor">
            <a:schemeClr val="tx1"/>
          </a:fontRef>
        </p:style>
      </p:cxnSp>
      <p:cxnSp>
        <p:nvCxnSpPr>
          <p:cNvPr id="16" name="Gerade Verbindung mit Pfeil 15">
            <a:extLst>
              <a:ext uri="{FF2B5EF4-FFF2-40B4-BE49-F238E27FC236}">
                <a16:creationId xmlns:a16="http://schemas.microsoft.com/office/drawing/2014/main" id="{A6C063D9-7688-265F-7CC7-38182260E871}"/>
              </a:ext>
            </a:extLst>
          </p:cNvPr>
          <p:cNvCxnSpPr>
            <a:stCxn id="6" idx="2"/>
          </p:cNvCxnSpPr>
          <p:nvPr/>
        </p:nvCxnSpPr>
        <p:spPr>
          <a:xfrm>
            <a:off x="6048809" y="3197809"/>
            <a:ext cx="0" cy="811767"/>
          </a:xfrm>
          <a:prstGeom prst="straightConnector1">
            <a:avLst/>
          </a:prstGeom>
          <a:ln w="57150">
            <a:solidFill>
              <a:srgbClr val="5B5B5A"/>
            </a:solidFill>
            <a:tailEnd type="triangle"/>
          </a:ln>
        </p:spPr>
        <p:style>
          <a:lnRef idx="1">
            <a:schemeClr val="accent1"/>
          </a:lnRef>
          <a:fillRef idx="0">
            <a:schemeClr val="accent1"/>
          </a:fillRef>
          <a:effectRef idx="0">
            <a:schemeClr val="accent1"/>
          </a:effectRef>
          <a:fontRef idx="minor">
            <a:schemeClr val="tx1"/>
          </a:fontRef>
        </p:style>
      </p:cxnSp>
      <p:cxnSp>
        <p:nvCxnSpPr>
          <p:cNvPr id="17" name="Gerade Verbindung mit Pfeil 17">
            <a:extLst>
              <a:ext uri="{FF2B5EF4-FFF2-40B4-BE49-F238E27FC236}">
                <a16:creationId xmlns:a16="http://schemas.microsoft.com/office/drawing/2014/main" id="{2035DBA9-AAC4-ED6C-661E-2957293DCA71}"/>
              </a:ext>
            </a:extLst>
          </p:cNvPr>
          <p:cNvCxnSpPr/>
          <p:nvPr/>
        </p:nvCxnSpPr>
        <p:spPr>
          <a:xfrm flipV="1">
            <a:off x="1918688" y="3197809"/>
            <a:ext cx="0" cy="811767"/>
          </a:xfrm>
          <a:prstGeom prst="straightConnector1">
            <a:avLst/>
          </a:prstGeom>
          <a:ln w="57150">
            <a:solidFill>
              <a:srgbClr val="5B5B5A"/>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mc:Choice xmlns:a14="http://schemas.microsoft.com/office/drawing/2010/main" Requires="a14">
          <p:graphicFrame>
            <p:nvGraphicFramePr>
              <p:cNvPr id="18" name="Tabelle 19">
                <a:extLst>
                  <a:ext uri="{FF2B5EF4-FFF2-40B4-BE49-F238E27FC236}">
                    <a16:creationId xmlns:a16="http://schemas.microsoft.com/office/drawing/2014/main" id="{FD78A194-B15F-97C1-B126-9F30FC571BF1}"/>
                  </a:ext>
                </a:extLst>
              </p:cNvPr>
              <p:cNvGraphicFramePr>
                <a:graphicFrameLocks noGrp="1"/>
              </p:cNvGraphicFramePr>
              <p:nvPr>
                <p:extLst>
                  <p:ext uri="{D42A27DB-BD31-4B8C-83A1-F6EECF244321}">
                    <p14:modId xmlns:p14="http://schemas.microsoft.com/office/powerpoint/2010/main" val="3317031688"/>
                  </p:ext>
                </p:extLst>
              </p:nvPr>
            </p:nvGraphicFramePr>
            <p:xfrm>
              <a:off x="7080143" y="2356834"/>
              <a:ext cx="4748947" cy="2971325"/>
            </p:xfrm>
            <a:graphic>
              <a:graphicData uri="http://schemas.openxmlformats.org/drawingml/2006/table">
                <a:tbl>
                  <a:tblPr firstRow="1" firstCol="1">
                    <a:tableStyleId>{F5AB1C69-6EDB-4FF4-983F-18BD219EF322}</a:tableStyleId>
                  </a:tblPr>
                  <a:tblGrid>
                    <a:gridCol w="678421">
                      <a:extLst>
                        <a:ext uri="{9D8B030D-6E8A-4147-A177-3AD203B41FA5}">
                          <a16:colId xmlns:a16="http://schemas.microsoft.com/office/drawing/2014/main" val="20000"/>
                        </a:ext>
                      </a:extLst>
                    </a:gridCol>
                    <a:gridCol w="678421">
                      <a:extLst>
                        <a:ext uri="{9D8B030D-6E8A-4147-A177-3AD203B41FA5}">
                          <a16:colId xmlns:a16="http://schemas.microsoft.com/office/drawing/2014/main" val="3031590756"/>
                        </a:ext>
                      </a:extLst>
                    </a:gridCol>
                    <a:gridCol w="678421">
                      <a:extLst>
                        <a:ext uri="{9D8B030D-6E8A-4147-A177-3AD203B41FA5}">
                          <a16:colId xmlns:a16="http://schemas.microsoft.com/office/drawing/2014/main" val="20001"/>
                        </a:ext>
                      </a:extLst>
                    </a:gridCol>
                    <a:gridCol w="678421">
                      <a:extLst>
                        <a:ext uri="{9D8B030D-6E8A-4147-A177-3AD203B41FA5}">
                          <a16:colId xmlns:a16="http://schemas.microsoft.com/office/drawing/2014/main" val="20002"/>
                        </a:ext>
                      </a:extLst>
                    </a:gridCol>
                    <a:gridCol w="678421">
                      <a:extLst>
                        <a:ext uri="{9D8B030D-6E8A-4147-A177-3AD203B41FA5}">
                          <a16:colId xmlns:a16="http://schemas.microsoft.com/office/drawing/2014/main" val="20003"/>
                        </a:ext>
                      </a:extLst>
                    </a:gridCol>
                    <a:gridCol w="678421">
                      <a:extLst>
                        <a:ext uri="{9D8B030D-6E8A-4147-A177-3AD203B41FA5}">
                          <a16:colId xmlns:a16="http://schemas.microsoft.com/office/drawing/2014/main" val="20004"/>
                        </a:ext>
                      </a:extLst>
                    </a:gridCol>
                    <a:gridCol w="678421">
                      <a:extLst>
                        <a:ext uri="{9D8B030D-6E8A-4147-A177-3AD203B41FA5}">
                          <a16:colId xmlns:a16="http://schemas.microsoft.com/office/drawing/2014/main" val="20005"/>
                        </a:ext>
                      </a:extLst>
                    </a:gridCol>
                  </a:tblGrid>
                  <a:tr h="424475">
                    <a:tc>
                      <a:txBody>
                        <a:bodyPr/>
                        <a:lstStyle/>
                        <a:p>
                          <a:pPr algn="ctr" fontAlgn="b"/>
                          <a:endParaRPr lang="de-DE" sz="1900" b="0" i="0" u="none" strike="noStrike" dirty="0">
                            <a:solidFill>
                              <a:srgbClr val="000000"/>
                            </a:solidFill>
                            <a:effectLst/>
                            <a:latin typeface="Calibri" panose="020F0502020204030204" pitchFamily="34" charset="0"/>
                          </a:endParaRP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de-DE" sz="1900" b="0" u="none" strike="noStrike" smtClean="0">
                                    <a:solidFill>
                                      <a:schemeClr val="bg1"/>
                                    </a:solidFill>
                                    <a:effectLst/>
                                    <a:latin typeface="Cambria Math" panose="02040503050406030204" pitchFamily="18" charset="0"/>
                                  </a:rPr>
                                  <m:t>⋯</m:t>
                                </m:r>
                              </m:oMath>
                            </m:oMathPara>
                          </a14:m>
                          <a:endParaRPr lang="de-DE" sz="1900" b="0" i="0" u="none" strike="noStrike" dirty="0">
                            <a:solidFill>
                              <a:schemeClr val="bg1"/>
                            </a:solidFill>
                            <a:effectLst/>
                            <a:latin typeface="Calibri" panose="020F0502020204030204" pitchFamily="34" charset="0"/>
                          </a:endParaRPr>
                        </a:p>
                      </a:txBody>
                      <a:tcPr marL="9525" marR="9525" marT="9525" marB="0" anchor="ctr"/>
                    </a:tc>
                    <a:tc>
                      <a:txBody>
                        <a:bodyPr/>
                        <a:lstStyle/>
                        <a:p>
                          <a:pPr algn="ctr" fontAlgn="b">
                            <a:defRPr sz="1900">
                              <a:solidFill>
                                <a:schemeClr val="bg1"/>
                              </a:solidFill>
                              <a:effectLst/>
                            </a:defRPr>
                          </a:pPr>
                          <a:r>
                            <a:rPr dirty="0"/>
                            <a:t>E</a:t>
                          </a:r>
                          <a:endParaRPr lang="de-DE" sz="1900" b="0" i="0" u="none" strike="noStrike" dirty="0">
                            <a:solidFill>
                              <a:schemeClr val="bg1"/>
                            </a:solidFill>
                            <a:effectLst/>
                            <a:latin typeface="Calibri" panose="020F0502020204030204" pitchFamily="34" charset="0"/>
                          </a:endParaRPr>
                        </a:p>
                      </a:txBody>
                      <a:tcPr marL="9525" marR="9525" marT="9525" marB="0" anchor="ctr"/>
                    </a:tc>
                    <a:tc>
                      <a:txBody>
                        <a:bodyPr/>
                        <a:lstStyle/>
                        <a:p>
                          <a:pPr algn="ctr" fontAlgn="b"/>
                          <a14:m>
                            <m:oMathPara xmlns:m="http://schemas.openxmlformats.org/officeDocument/2006/math">
                              <m:oMathParaPr>
                                <m:jc m:val="centerGroup"/>
                              </m:oMathParaPr>
                              <m:oMath xmlns:m="http://schemas.openxmlformats.org/officeDocument/2006/math">
                                <m:r>
                                  <a:rPr lang="tr-TR" sz="1900" b="0" i="1" u="none" strike="noStrike" smtClean="0">
                                    <a:solidFill>
                                      <a:schemeClr val="bg1"/>
                                    </a:solidFill>
                                    <a:effectLst/>
                                    <a:latin typeface="Cambria Math" panose="02040503050406030204" pitchFamily="18" charset="0"/>
                                  </a:rPr>
                                  <m:t>𝐷</m:t>
                                </m:r>
                              </m:oMath>
                            </m:oMathPara>
                          </a14:m>
                          <a:endParaRPr lang="de-DE" sz="1900" b="0" i="0" u="none" strike="noStrike" dirty="0">
                            <a:solidFill>
                              <a:schemeClr val="bg1"/>
                            </a:solidFill>
                            <a:effectLst/>
                            <a:latin typeface="Calibri" panose="020F0502020204030204" pitchFamily="34" charset="0"/>
                          </a:endParaRPr>
                        </a:p>
                      </a:txBody>
                      <a:tcPr marL="9525" marR="9525" marT="9525" marB="0" anchor="ctr"/>
                    </a:tc>
                    <a:tc>
                      <a:txBody>
                        <a:bodyPr/>
                        <a:lstStyle/>
                        <a:p>
                          <a:pPr algn="ctr" fontAlgn="b"/>
                          <a14:m>
                            <m:oMathPara xmlns:m="http://schemas.openxmlformats.org/officeDocument/2006/math">
                              <m:oMathParaPr>
                                <m:jc m:val="centerGroup"/>
                              </m:oMathParaPr>
                              <m:oMath xmlns:m="http://schemas.openxmlformats.org/officeDocument/2006/math">
                                <m:r>
                                  <a:rPr lang="de-DE" sz="1900" b="0" u="none" strike="noStrike" smtClean="0">
                                    <a:solidFill>
                                      <a:schemeClr val="bg1"/>
                                    </a:solidFill>
                                    <a:effectLst/>
                                    <a:latin typeface="Cambria Math" panose="02040503050406030204" pitchFamily="18" charset="0"/>
                                  </a:rPr>
                                  <m:t>⋯</m:t>
                                </m:r>
                              </m:oMath>
                            </m:oMathPara>
                          </a14:m>
                          <a:endParaRPr lang="de-DE" sz="1900" b="0" i="0" u="none" strike="noStrike" dirty="0">
                            <a:solidFill>
                              <a:schemeClr val="bg1"/>
                            </a:solidFill>
                            <a:effectLst/>
                            <a:latin typeface="Calibri" panose="020F0502020204030204" pitchFamily="34" charset="0"/>
                          </a:endParaRPr>
                        </a:p>
                      </a:txBody>
                      <a:tcPr marL="9525" marR="9525" marT="9525" marB="0" anchor="ctr"/>
                    </a:tc>
                    <a:tc>
                      <a:txBody>
                        <a:bodyPr/>
                        <a:lstStyle/>
                        <a:p>
                          <a:pPr algn="ctr" fontAlgn="b">
                            <a:defRPr sz="1900">
                              <a:solidFill>
                                <a:schemeClr val="bg1"/>
                              </a:solidFill>
                              <a:effectLst/>
                            </a:defRPr>
                          </a:pPr>
                          <a:r>
                            <a:rPr dirty="0"/>
                            <a:t>A</a:t>
                          </a:r>
                          <a:endParaRPr lang="de-DE" sz="1900" b="0" i="0" u="none" strike="noStrike" dirty="0">
                            <a:solidFill>
                              <a:schemeClr val="bg1"/>
                            </a:solidFill>
                            <a:effectLst/>
                            <a:latin typeface="Calibri" panose="020F0502020204030204" pitchFamily="34" charset="0"/>
                          </a:endParaRPr>
                        </a:p>
                      </a:txBody>
                      <a:tcPr marL="9525" marR="9525" marT="9525" marB="0" anchor="ct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14:m>
                            <m:oMathPara xmlns:m="http://schemas.openxmlformats.org/officeDocument/2006/math">
                              <m:oMathParaPr>
                                <m:jc m:val="centerGroup"/>
                              </m:oMathParaPr>
                              <m:oMath xmlns:m="http://schemas.openxmlformats.org/officeDocument/2006/math">
                                <m:r>
                                  <a:rPr lang="tr-TR" sz="1900" b="0" i="1" u="none" strike="noStrike" smtClean="0">
                                    <a:solidFill>
                                      <a:schemeClr val="bg1"/>
                                    </a:solidFill>
                                    <a:effectLst/>
                                    <a:latin typeface="Cambria Math" panose="02040503050406030204" pitchFamily="18" charset="0"/>
                                  </a:rPr>
                                  <m:t>İ</m:t>
                                </m:r>
                              </m:oMath>
                            </m:oMathPara>
                          </a14:m>
                          <a:endParaRPr lang="de-DE" sz="1900" b="0" i="0" u="none" strike="noStrike" dirty="0">
                            <a:solidFill>
                              <a:schemeClr val="bg1"/>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0000"/>
                      </a:ext>
                    </a:extLst>
                  </a:tr>
                  <a:tr h="424475">
                    <a:tc>
                      <a:txBody>
                        <a:bodyPr/>
                        <a:lstStyle/>
                        <a:p>
                          <a:pPr algn="ctr" fontAlgn="b"/>
                          <a14:m>
                            <m:oMathPara xmlns:m="http://schemas.openxmlformats.org/officeDocument/2006/math">
                              <m:oMathParaPr>
                                <m:jc m:val="centerGroup"/>
                              </m:oMathParaPr>
                              <m:oMath xmlns:m="http://schemas.openxmlformats.org/officeDocument/2006/math">
                                <m:r>
                                  <a:rPr lang="de-DE" sz="1900" u="none" strike="noStrike" smtClean="0">
                                    <a:solidFill>
                                      <a:schemeClr val="bg1"/>
                                    </a:solidFill>
                                    <a:effectLst/>
                                    <a:latin typeface="Cambria Math" panose="02040503050406030204" pitchFamily="18" charset="0"/>
                                  </a:rPr>
                                  <m:t>⋮</m:t>
                                </m:r>
                              </m:oMath>
                            </m:oMathPara>
                          </a14:m>
                          <a:endParaRPr lang="de-DE" sz="1900" b="0" i="0" u="none" strike="noStrike" dirty="0">
                            <a:solidFill>
                              <a:schemeClr val="bg1"/>
                            </a:solidFill>
                            <a:effectLst/>
                            <a:latin typeface="Calibri" panose="020F0502020204030204" pitchFamily="34" charset="0"/>
                          </a:endParaRPr>
                        </a:p>
                      </a:txBody>
                      <a:tcPr marL="9525" marR="9525" marT="9525" marB="0" anchor="ctr"/>
                    </a:tc>
                    <a:tc>
                      <a:txBody>
                        <a:bodyPr/>
                        <a:lstStyle/>
                        <a:p>
                          <a:pPr algn="ctr" fontAlgn="b"/>
                          <a14:m>
                            <m:oMathPara xmlns:m="http://schemas.openxmlformats.org/officeDocument/2006/math">
                              <m:oMathParaPr>
                                <m:jc m:val="centerGroup"/>
                              </m:oMathParaPr>
                              <m:oMath xmlns:m="http://schemas.openxmlformats.org/officeDocument/2006/math">
                                <m:r>
                                  <a:rPr lang="de-DE" sz="1900" b="0" u="none" strike="noStrike" smtClean="0">
                                    <a:solidFill>
                                      <a:srgbClr val="000000"/>
                                    </a:solidFill>
                                    <a:effectLst/>
                                    <a:latin typeface="Cambria Math" panose="02040503050406030204" pitchFamily="18" charset="0"/>
                                  </a:rPr>
                                  <m:t>⋱</m:t>
                                </m:r>
                              </m:oMath>
                            </m:oMathPara>
                          </a14:m>
                          <a:endParaRPr lang="de-DE" sz="19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endParaRPr lang="de-DE" sz="1900" b="0" i="0" u="none" strike="noStrike" dirty="0">
                            <a:solidFill>
                              <a:srgbClr val="000000"/>
                            </a:solidFill>
                            <a:effectLst/>
                            <a:latin typeface="+mn-lt"/>
                          </a:endParaRPr>
                        </a:p>
                      </a:txBody>
                      <a:tcPr marL="9525" marR="9525" marT="9525" marB="0" anchor="ctr"/>
                    </a:tc>
                    <a:tc>
                      <a:txBody>
                        <a:bodyPr/>
                        <a:lstStyle/>
                        <a:p>
                          <a:pPr algn="ctr" fontAlgn="b"/>
                          <a:endParaRPr lang="de-DE" sz="1900" b="0" i="0" u="none" strike="noStrike">
                            <a:solidFill>
                              <a:srgbClr val="000000"/>
                            </a:solidFill>
                            <a:effectLst/>
                            <a:latin typeface="+mn-lt"/>
                          </a:endParaRPr>
                        </a:p>
                      </a:txBody>
                      <a:tcPr marL="9525" marR="9525" marT="9525" marB="0" anchor="ctr"/>
                    </a:tc>
                    <a:tc>
                      <a:txBody>
                        <a:bodyPr/>
                        <a:lstStyle/>
                        <a:p>
                          <a:pPr algn="ctr" fontAlgn="b"/>
                          <a:endParaRPr lang="de-DE" sz="1900" b="0" i="0" u="none" strike="noStrike" dirty="0">
                            <a:solidFill>
                              <a:srgbClr val="000000"/>
                            </a:solidFill>
                            <a:effectLst/>
                            <a:latin typeface="+mn-lt"/>
                          </a:endParaRPr>
                        </a:p>
                      </a:txBody>
                      <a:tcPr marL="9525" marR="9525" marT="9525" marB="0" anchor="ctr"/>
                    </a:tc>
                    <a:tc>
                      <a:txBody>
                        <a:bodyPr/>
                        <a:lstStyle/>
                        <a:p>
                          <a:pPr algn="ctr" fontAlgn="b"/>
                          <a:endParaRPr lang="de-DE" sz="1900" b="0" i="0" u="none" strike="noStrike" dirty="0">
                            <a:solidFill>
                              <a:srgbClr val="000000"/>
                            </a:solidFill>
                            <a:effectLst/>
                            <a:latin typeface="+mn-lt"/>
                          </a:endParaRPr>
                        </a:p>
                      </a:txBody>
                      <a:tcPr marL="9525" marR="9525" marT="9525" marB="0" anchor="ctr"/>
                    </a:tc>
                    <a:tc>
                      <a:txBody>
                        <a:bodyPr/>
                        <a:lstStyle/>
                        <a:p>
                          <a:pPr algn="ctr" fontAlgn="b"/>
                          <a:endParaRPr lang="de-DE" sz="1900" b="0" i="0" u="none" strike="noStrike" dirty="0">
                            <a:solidFill>
                              <a:srgbClr val="000000"/>
                            </a:solidFill>
                            <a:effectLst/>
                            <a:latin typeface="+mn-lt"/>
                          </a:endParaRPr>
                        </a:p>
                      </a:txBody>
                      <a:tcPr marL="9525" marR="9525" marT="9525" marB="0" anchor="ctr"/>
                    </a:tc>
                    <a:extLst>
                      <a:ext uri="{0D108BD9-81ED-4DB2-BD59-A6C34878D82A}">
                        <a16:rowId xmlns:a16="http://schemas.microsoft.com/office/drawing/2014/main" val="10001"/>
                      </a:ext>
                    </a:extLst>
                  </a:tr>
                  <a:tr h="424475">
                    <a:tc>
                      <a:txBody>
                        <a:bodyPr/>
                        <a:lstStyle/>
                        <a:p>
                          <a:pPr algn="ctr" fontAlgn="b">
                            <a:defRPr sz="1900">
                              <a:solidFill>
                                <a:schemeClr val="bg1"/>
                              </a:solidFill>
                              <a:effectLst/>
                            </a:defRPr>
                          </a:pPr>
                          <a:r>
                            <a:t>E</a:t>
                          </a:r>
                          <a:endParaRPr lang="de-DE" sz="1900" b="0" i="0" u="none" strike="noStrike" dirty="0">
                            <a:solidFill>
                              <a:schemeClr val="bg1"/>
                            </a:solidFill>
                            <a:effectLst/>
                            <a:latin typeface="Calibri" panose="020F0502020204030204" pitchFamily="34" charset="0"/>
                          </a:endParaRPr>
                        </a:p>
                      </a:txBody>
                      <a:tcPr marL="9525" marR="9525" marT="9525" marB="0" anchor="ctr"/>
                    </a:tc>
                    <a:tc>
                      <a:txBody>
                        <a:bodyPr/>
                        <a:lstStyle/>
                        <a:p>
                          <a:pPr algn="ctr" fontAlgn="b"/>
                          <a:endParaRPr lang="de-DE" sz="19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endParaRPr lang="de-DE" sz="1900" b="0" i="0" u="none" strike="noStrike" dirty="0">
                            <a:solidFill>
                              <a:srgbClr val="000000"/>
                            </a:solidFill>
                            <a:effectLst/>
                            <a:latin typeface="+mn-lt"/>
                          </a:endParaRPr>
                        </a:p>
                      </a:txBody>
                      <a:tcPr marL="9525" marR="9525" marT="9525" marB="0" anchor="ctr"/>
                    </a:tc>
                    <a:tc>
                      <a:txBody>
                        <a:bodyPr/>
                        <a:lstStyle/>
                        <a:p>
                          <a:pPr algn="ctr" fontAlgn="b"/>
                          <a:endParaRPr lang="de-DE" sz="1900" b="0" i="0" u="none" strike="noStrike" dirty="0">
                            <a:solidFill>
                              <a:srgbClr val="000000"/>
                            </a:solidFill>
                            <a:effectLst/>
                            <a:latin typeface="+mn-lt"/>
                          </a:endParaRPr>
                        </a:p>
                      </a:txBody>
                      <a:tcPr marL="9525" marR="9525" marT="9525" marB="0" anchor="ctr"/>
                    </a:tc>
                    <a:tc>
                      <a:txBody>
                        <a:bodyPr/>
                        <a:lstStyle/>
                        <a:p>
                          <a:pPr algn="ctr" fontAlgn="b"/>
                          <a:endParaRPr lang="de-DE" sz="1900" b="0" i="0" u="none" strike="noStrike">
                            <a:solidFill>
                              <a:srgbClr val="000000"/>
                            </a:solidFill>
                            <a:effectLst/>
                            <a:latin typeface="+mn-lt"/>
                          </a:endParaRPr>
                        </a:p>
                      </a:txBody>
                      <a:tcPr marL="9525" marR="9525" marT="9525" marB="0" anchor="ctr"/>
                    </a:tc>
                    <a:tc>
                      <a:txBody>
                        <a:bodyPr/>
                        <a:lstStyle/>
                        <a:p>
                          <a:pPr algn="ctr" fontAlgn="b"/>
                          <a:endParaRPr lang="de-DE" sz="1900" b="0" i="0" u="none" strike="noStrike">
                            <a:solidFill>
                              <a:srgbClr val="000000"/>
                            </a:solidFill>
                            <a:effectLst/>
                            <a:latin typeface="+mn-lt"/>
                          </a:endParaRPr>
                        </a:p>
                      </a:txBody>
                      <a:tcPr marL="9525" marR="9525" marT="9525" marB="0" anchor="ctr"/>
                    </a:tc>
                    <a:tc>
                      <a:txBody>
                        <a:bodyPr/>
                        <a:lstStyle/>
                        <a:p>
                          <a:pPr algn="ctr" fontAlgn="b">
                            <a:defRPr sz="1900">
                              <a:solidFill>
                                <a:srgbClr val="000000"/>
                              </a:solidFill>
                              <a:effectLst/>
                              <a:latin typeface="+mn-lt"/>
                            </a:defRPr>
                          </a:pPr>
                          <a:r>
                            <a:t>8</a:t>
                          </a:r>
                        </a:p>
                      </a:txBody>
                      <a:tcPr marL="9525" marR="9525" marT="9525" marB="0" anchor="ctr"/>
                    </a:tc>
                    <a:extLst>
                      <a:ext uri="{0D108BD9-81ED-4DB2-BD59-A6C34878D82A}">
                        <a16:rowId xmlns:a16="http://schemas.microsoft.com/office/drawing/2014/main" val="10002"/>
                      </a:ext>
                    </a:extLst>
                  </a:tr>
                  <a:tr h="424475">
                    <a:tc>
                      <a:txBody>
                        <a:bodyPr/>
                        <a:lstStyle/>
                        <a:p>
                          <a:pPr algn="ctr" fontAlgn="b">
                            <a:defRPr sz="1900">
                              <a:solidFill>
                                <a:schemeClr val="bg1"/>
                              </a:solidFill>
                              <a:effectLst/>
                            </a:defRPr>
                          </a:pPr>
                          <a:r>
                            <a:rPr lang="tr-TR" sz="1900" b="0" i="0" u="none" strike="noStrike" dirty="0">
                              <a:solidFill>
                                <a:schemeClr val="bg1"/>
                              </a:solidFill>
                              <a:effectLst/>
                              <a:latin typeface="Calibri" panose="020F0502020204030204" pitchFamily="34" charset="0"/>
                            </a:rPr>
                            <a:t>D</a:t>
                          </a:r>
                          <a:endParaRPr lang="de-DE" sz="1900" b="0" i="0" u="none" strike="noStrike" dirty="0">
                            <a:solidFill>
                              <a:schemeClr val="bg1"/>
                            </a:solidFill>
                            <a:effectLst/>
                            <a:latin typeface="Calibri" panose="020F0502020204030204" pitchFamily="34" charset="0"/>
                          </a:endParaRPr>
                        </a:p>
                      </a:txBody>
                      <a:tcPr marL="9525" marR="9525" marT="9525" marB="0" anchor="ctr"/>
                    </a:tc>
                    <a:tc>
                      <a:txBody>
                        <a:bodyPr/>
                        <a:lstStyle/>
                        <a:p>
                          <a:pPr algn="ctr" fontAlgn="b"/>
                          <a:endParaRPr lang="de-DE" sz="19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defRPr sz="1900">
                              <a:solidFill>
                                <a:srgbClr val="000000"/>
                              </a:solidFill>
                              <a:effectLst/>
                              <a:latin typeface="+mn-lt"/>
                            </a:defRPr>
                          </a:pPr>
                          <a:r>
                            <a:t>4</a:t>
                          </a:r>
                        </a:p>
                      </a:txBody>
                      <a:tcPr marL="9525" marR="9525" marT="9525" marB="0" anchor="ctr"/>
                    </a:tc>
                    <a:tc>
                      <a:txBody>
                        <a:bodyPr/>
                        <a:lstStyle/>
                        <a:p>
                          <a:pPr algn="ctr" fontAlgn="b"/>
                          <a:endParaRPr lang="de-DE" sz="1900" b="0" i="0" u="none" strike="noStrike" dirty="0">
                            <a:solidFill>
                              <a:srgbClr val="000000"/>
                            </a:solidFill>
                            <a:effectLst/>
                            <a:latin typeface="+mn-lt"/>
                          </a:endParaRPr>
                        </a:p>
                      </a:txBody>
                      <a:tcPr marL="9525" marR="9525" marT="9525" marB="0" anchor="ctr"/>
                    </a:tc>
                    <a:tc>
                      <a:txBody>
                        <a:bodyPr/>
                        <a:lstStyle/>
                        <a:p>
                          <a:pPr algn="ctr" fontAlgn="b"/>
                          <a:endParaRPr lang="de-DE" sz="1900" b="0" i="0" u="none" strike="noStrike" dirty="0">
                            <a:solidFill>
                              <a:srgbClr val="000000"/>
                            </a:solidFill>
                            <a:effectLst/>
                            <a:latin typeface="+mn-lt"/>
                          </a:endParaRPr>
                        </a:p>
                      </a:txBody>
                      <a:tcPr marL="9525" marR="9525" marT="9525" marB="0" anchor="ctr"/>
                    </a:tc>
                    <a:tc>
                      <a:txBody>
                        <a:bodyPr/>
                        <a:lstStyle/>
                        <a:p>
                          <a:pPr algn="ctr" fontAlgn="b"/>
                          <a:endParaRPr lang="de-DE" sz="1900" b="0" i="0" u="none" strike="noStrike">
                            <a:solidFill>
                              <a:srgbClr val="000000"/>
                            </a:solidFill>
                            <a:effectLst/>
                            <a:latin typeface="+mn-lt"/>
                          </a:endParaRPr>
                        </a:p>
                      </a:txBody>
                      <a:tcPr marL="9525" marR="9525" marT="9525" marB="0" anchor="ctr"/>
                    </a:tc>
                    <a:tc>
                      <a:txBody>
                        <a:bodyPr/>
                        <a:lstStyle/>
                        <a:p>
                          <a:pPr algn="ctr" fontAlgn="b"/>
                          <a:endParaRPr lang="de-DE" sz="1900" b="0" i="0" u="none" strike="noStrike">
                            <a:solidFill>
                              <a:srgbClr val="000000"/>
                            </a:solidFill>
                            <a:effectLst/>
                            <a:latin typeface="+mn-lt"/>
                          </a:endParaRPr>
                        </a:p>
                      </a:txBody>
                      <a:tcPr marL="9525" marR="9525" marT="9525" marB="0" anchor="ctr"/>
                    </a:tc>
                    <a:extLst>
                      <a:ext uri="{0D108BD9-81ED-4DB2-BD59-A6C34878D82A}">
                        <a16:rowId xmlns:a16="http://schemas.microsoft.com/office/drawing/2014/main" val="10003"/>
                      </a:ext>
                    </a:extLst>
                  </a:tr>
                  <a:tr h="424475">
                    <a:tc>
                      <a:txBody>
                        <a:bodyPr/>
                        <a:lstStyle/>
                        <a:p>
                          <a:pPr algn="ctr" fontAlgn="b"/>
                          <a14:m>
                            <m:oMathPara xmlns:m="http://schemas.openxmlformats.org/officeDocument/2006/math">
                              <m:oMathParaPr>
                                <m:jc m:val="centerGroup"/>
                              </m:oMathParaPr>
                              <m:oMath xmlns:m="http://schemas.openxmlformats.org/officeDocument/2006/math">
                                <m:r>
                                  <a:rPr lang="de-DE" sz="1900" u="none" strike="noStrike" smtClean="0">
                                    <a:solidFill>
                                      <a:schemeClr val="bg1"/>
                                    </a:solidFill>
                                    <a:effectLst/>
                                    <a:latin typeface="Cambria Math" panose="02040503050406030204" pitchFamily="18" charset="0"/>
                                  </a:rPr>
                                  <m:t>⋮</m:t>
                                </m:r>
                              </m:oMath>
                            </m:oMathPara>
                          </a14:m>
                          <a:endParaRPr lang="de-DE" sz="1900" b="0" i="0" u="none" strike="noStrike" dirty="0">
                            <a:solidFill>
                              <a:schemeClr val="bg1"/>
                            </a:solidFill>
                            <a:effectLst/>
                            <a:latin typeface="Calibri" panose="020F0502020204030204" pitchFamily="34" charset="0"/>
                          </a:endParaRPr>
                        </a:p>
                      </a:txBody>
                      <a:tcPr marL="9525" marR="9525" marT="9525" marB="0" anchor="ctr"/>
                    </a:tc>
                    <a:tc>
                      <a:txBody>
                        <a:bodyPr/>
                        <a:lstStyle/>
                        <a:p>
                          <a:pPr algn="ctr" fontAlgn="b"/>
                          <a:endParaRPr lang="de-DE" sz="19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endParaRPr lang="de-DE" sz="1900" b="0" i="0" u="none" strike="noStrike">
                            <a:solidFill>
                              <a:srgbClr val="000000"/>
                            </a:solidFill>
                            <a:effectLst/>
                            <a:latin typeface="+mn-lt"/>
                          </a:endParaRPr>
                        </a:p>
                      </a:txBody>
                      <a:tcPr marL="9525" marR="9525" marT="9525" marB="0" anchor="ctr"/>
                    </a:tc>
                    <a:tc>
                      <a:txBody>
                        <a:bodyPr/>
                        <a:lstStyle/>
                        <a:p>
                          <a:pPr algn="ctr" fontAlgn="b"/>
                          <a:endParaRPr lang="de-DE" sz="1900" b="0" i="0" u="none" strike="noStrike">
                            <a:solidFill>
                              <a:srgbClr val="000000"/>
                            </a:solidFill>
                            <a:effectLst/>
                            <a:latin typeface="+mn-lt"/>
                          </a:endParaRPr>
                        </a:p>
                      </a:txBody>
                      <a:tcPr marL="9525" marR="9525" marT="9525" marB="0" anchor="ctr"/>
                    </a:tc>
                    <a:tc>
                      <a:txBody>
                        <a:bodyPr/>
                        <a:lstStyle/>
                        <a:p>
                          <a:pPr algn="ctr" fontAlgn="b"/>
                          <a14:m>
                            <m:oMathPara xmlns:m="http://schemas.openxmlformats.org/officeDocument/2006/math">
                              <m:oMathParaPr>
                                <m:jc m:val="centerGroup"/>
                              </m:oMathParaPr>
                              <m:oMath xmlns:m="http://schemas.openxmlformats.org/officeDocument/2006/math">
                                <m:r>
                                  <a:rPr lang="de-DE" sz="1900" b="0" u="none" strike="noStrike" smtClean="0">
                                    <a:solidFill>
                                      <a:srgbClr val="000000"/>
                                    </a:solidFill>
                                    <a:effectLst/>
                                    <a:latin typeface="Cambria Math" panose="02040503050406030204" pitchFamily="18" charset="0"/>
                                  </a:rPr>
                                  <m:t>⋱</m:t>
                                </m:r>
                              </m:oMath>
                            </m:oMathPara>
                          </a14:m>
                          <a:endParaRPr lang="de-DE" sz="1900" b="0" i="0" u="none" strike="noStrike" dirty="0">
                            <a:solidFill>
                              <a:srgbClr val="000000"/>
                            </a:solidFill>
                            <a:effectLst/>
                            <a:latin typeface="+mn-lt"/>
                          </a:endParaRPr>
                        </a:p>
                      </a:txBody>
                      <a:tcPr marL="9525" marR="9525" marT="9525" marB="0" anchor="ctr"/>
                    </a:tc>
                    <a:tc>
                      <a:txBody>
                        <a:bodyPr/>
                        <a:lstStyle/>
                        <a:p>
                          <a:pPr algn="ctr" fontAlgn="b"/>
                          <a:endParaRPr lang="de-DE" sz="1900" b="0" i="0" u="none" strike="noStrike" dirty="0">
                            <a:solidFill>
                              <a:srgbClr val="000000"/>
                            </a:solidFill>
                            <a:effectLst/>
                            <a:latin typeface="+mn-lt"/>
                          </a:endParaRPr>
                        </a:p>
                      </a:txBody>
                      <a:tcPr marL="9525" marR="9525" marT="9525" marB="0" anchor="ctr"/>
                    </a:tc>
                    <a:tc>
                      <a:txBody>
                        <a:bodyPr/>
                        <a:lstStyle/>
                        <a:p>
                          <a:pPr algn="ctr" fontAlgn="b"/>
                          <a:endParaRPr lang="de-DE" sz="1900" b="0" i="0" u="none" strike="noStrike">
                            <a:solidFill>
                              <a:srgbClr val="000000"/>
                            </a:solidFill>
                            <a:effectLst/>
                            <a:latin typeface="+mn-lt"/>
                          </a:endParaRPr>
                        </a:p>
                      </a:txBody>
                      <a:tcPr marL="9525" marR="9525" marT="9525" marB="0" anchor="ctr"/>
                    </a:tc>
                    <a:extLst>
                      <a:ext uri="{0D108BD9-81ED-4DB2-BD59-A6C34878D82A}">
                        <a16:rowId xmlns:a16="http://schemas.microsoft.com/office/drawing/2014/main" val="10004"/>
                      </a:ext>
                    </a:extLst>
                  </a:tr>
                  <a:tr h="424475">
                    <a:tc>
                      <a:txBody>
                        <a:bodyPr/>
                        <a:lstStyle/>
                        <a:p>
                          <a:pPr algn="ctr" fontAlgn="b">
                            <a:defRPr sz="1900">
                              <a:solidFill>
                                <a:schemeClr val="bg1"/>
                              </a:solidFill>
                              <a:effectLst/>
                            </a:defRPr>
                          </a:pPr>
                          <a:r>
                            <a:rPr dirty="0"/>
                            <a:t>A</a:t>
                          </a:r>
                          <a:endParaRPr lang="de-DE" sz="1900" b="0" i="0" u="none" strike="noStrike" dirty="0">
                            <a:solidFill>
                              <a:schemeClr val="bg1"/>
                            </a:solidFill>
                            <a:effectLst/>
                            <a:latin typeface="Calibri" panose="020F0502020204030204" pitchFamily="34" charset="0"/>
                          </a:endParaRPr>
                        </a:p>
                      </a:txBody>
                      <a:tcPr marL="9525" marR="9525" marT="9525" marB="0" anchor="ctr"/>
                    </a:tc>
                    <a:tc>
                      <a:txBody>
                        <a:bodyPr/>
                        <a:lstStyle/>
                        <a:p>
                          <a:pPr algn="ctr" fontAlgn="b"/>
                          <a:endParaRPr lang="de-DE" sz="19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defRPr sz="1900">
                              <a:solidFill>
                                <a:srgbClr val="000000"/>
                              </a:solidFill>
                              <a:effectLst/>
                              <a:latin typeface="+mn-lt"/>
                            </a:defRPr>
                          </a:pPr>
                          <a:r>
                            <a:t>4</a:t>
                          </a:r>
                        </a:p>
                      </a:txBody>
                      <a:tcPr marL="9525" marR="9525" marT="9525" marB="0" anchor="ctr"/>
                    </a:tc>
                    <a:tc>
                      <a:txBody>
                        <a:bodyPr/>
                        <a:lstStyle/>
                        <a:p>
                          <a:pPr algn="ctr" fontAlgn="b">
                            <a:defRPr sz="1900">
                              <a:solidFill>
                                <a:srgbClr val="000000"/>
                              </a:solidFill>
                              <a:effectLst/>
                              <a:latin typeface="+mn-lt"/>
                            </a:defRPr>
                          </a:pPr>
                          <a:r>
                            <a:t>4</a:t>
                          </a:r>
                        </a:p>
                      </a:txBody>
                      <a:tcPr marL="9525" marR="9525" marT="9525" marB="0" anchor="ctr"/>
                    </a:tc>
                    <a:tc>
                      <a:txBody>
                        <a:bodyPr/>
                        <a:lstStyle/>
                        <a:p>
                          <a:pPr algn="ctr" fontAlgn="b"/>
                          <a:endParaRPr lang="de-DE" sz="1900" b="0" i="0" u="none" strike="noStrike" dirty="0">
                            <a:solidFill>
                              <a:srgbClr val="000000"/>
                            </a:solidFill>
                            <a:effectLst/>
                            <a:latin typeface="+mn-lt"/>
                          </a:endParaRPr>
                        </a:p>
                      </a:txBody>
                      <a:tcPr marL="9525" marR="9525" marT="9525" marB="0" anchor="ctr"/>
                    </a:tc>
                    <a:tc>
                      <a:txBody>
                        <a:bodyPr/>
                        <a:lstStyle/>
                        <a:p>
                          <a:pPr algn="ctr" fontAlgn="b"/>
                          <a:endParaRPr lang="de-DE" sz="1900" b="0" i="0" u="none" strike="noStrike" dirty="0">
                            <a:solidFill>
                              <a:srgbClr val="000000"/>
                            </a:solidFill>
                            <a:effectLst/>
                            <a:latin typeface="+mn-lt"/>
                          </a:endParaRPr>
                        </a:p>
                      </a:txBody>
                      <a:tcPr marL="9525" marR="9525" marT="9525" marB="0" anchor="ctr"/>
                    </a:tc>
                    <a:tc>
                      <a:txBody>
                        <a:bodyPr/>
                        <a:lstStyle/>
                        <a:p>
                          <a:pPr algn="ctr" fontAlgn="b"/>
                          <a:endParaRPr lang="de-DE" sz="1900" b="0" i="0" u="none" strike="noStrike" dirty="0">
                            <a:solidFill>
                              <a:srgbClr val="000000"/>
                            </a:solidFill>
                            <a:effectLst/>
                            <a:latin typeface="+mn-lt"/>
                          </a:endParaRPr>
                        </a:p>
                      </a:txBody>
                      <a:tcPr marL="9525" marR="9525" marT="9525" marB="0" anchor="ctr"/>
                    </a:tc>
                    <a:extLst>
                      <a:ext uri="{0D108BD9-81ED-4DB2-BD59-A6C34878D82A}">
                        <a16:rowId xmlns:a16="http://schemas.microsoft.com/office/drawing/2014/main" val="10005"/>
                      </a:ext>
                    </a:extLst>
                  </a:tr>
                  <a:tr h="424475">
                    <a:tc>
                      <a:txBody>
                        <a:bodyPr/>
                        <a:lstStyle/>
                        <a:p>
                          <a:pPr algn="ctr" fontAlgn="b"/>
                          <a14:m>
                            <m:oMathPara xmlns:m="http://schemas.openxmlformats.org/officeDocument/2006/math">
                              <m:oMathParaPr>
                                <m:jc m:val="centerGroup"/>
                              </m:oMathParaPr>
                              <m:oMath xmlns:m="http://schemas.openxmlformats.org/officeDocument/2006/math">
                                <m:r>
                                  <a:rPr lang="tr-TR" sz="1900" b="0" i="1" u="none" strike="noStrike" smtClean="0">
                                    <a:solidFill>
                                      <a:schemeClr val="bg1"/>
                                    </a:solidFill>
                                    <a:effectLst/>
                                    <a:latin typeface="Cambria Math" panose="02040503050406030204" pitchFamily="18" charset="0"/>
                                  </a:rPr>
                                  <m:t>İ</m:t>
                                </m:r>
                              </m:oMath>
                            </m:oMathPara>
                          </a14:m>
                          <a:endParaRPr lang="de-DE" sz="1900" b="0" i="0" u="none" strike="noStrike" dirty="0">
                            <a:solidFill>
                              <a:schemeClr val="bg1"/>
                            </a:solidFill>
                            <a:effectLst/>
                            <a:latin typeface="Calibri" panose="020F0502020204030204" pitchFamily="34" charset="0"/>
                          </a:endParaRPr>
                        </a:p>
                      </a:txBody>
                      <a:tcPr marL="9525" marR="9525" marT="9525" marB="0" anchor="ctr"/>
                    </a:tc>
                    <a:tc>
                      <a:txBody>
                        <a:bodyPr/>
                        <a:lstStyle/>
                        <a:p>
                          <a:pPr algn="ctr" fontAlgn="b"/>
                          <a:endParaRPr lang="de-DE" sz="19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endParaRPr lang="de-DE" sz="1900" b="0" i="0" u="none" strike="noStrike">
                            <a:solidFill>
                              <a:srgbClr val="000000"/>
                            </a:solidFill>
                            <a:effectLst/>
                            <a:latin typeface="+mn-lt"/>
                          </a:endParaRPr>
                        </a:p>
                      </a:txBody>
                      <a:tcPr marL="9525" marR="9525" marT="9525" marB="0" anchor="ctr"/>
                    </a:tc>
                    <a:tc>
                      <a:txBody>
                        <a:bodyPr/>
                        <a:lstStyle/>
                        <a:p>
                          <a:pPr algn="ctr" fontAlgn="b"/>
                          <a:endParaRPr lang="de-DE" sz="1900" b="0" i="0" u="none" strike="noStrike" dirty="0">
                            <a:solidFill>
                              <a:srgbClr val="000000"/>
                            </a:solidFill>
                            <a:effectLst/>
                            <a:latin typeface="+mn-lt"/>
                          </a:endParaRPr>
                        </a:p>
                      </a:txBody>
                      <a:tcPr marL="9525" marR="9525" marT="9525" marB="0" anchor="ctr"/>
                    </a:tc>
                    <a:tc>
                      <a:txBody>
                        <a:bodyPr/>
                        <a:lstStyle/>
                        <a:p>
                          <a:pPr algn="ctr" fontAlgn="b"/>
                          <a:endParaRPr lang="de-DE" sz="1900" b="0" i="0" u="none" strike="noStrike">
                            <a:solidFill>
                              <a:srgbClr val="000000"/>
                            </a:solidFill>
                            <a:effectLst/>
                            <a:latin typeface="+mn-lt"/>
                          </a:endParaRPr>
                        </a:p>
                      </a:txBody>
                      <a:tcPr marL="9525" marR="9525" marT="9525" marB="0" anchor="ctr"/>
                    </a:tc>
                    <a:tc>
                      <a:txBody>
                        <a:bodyPr/>
                        <a:lstStyle/>
                        <a:p>
                          <a:pPr algn="ctr" fontAlgn="b">
                            <a:defRPr sz="1900">
                              <a:solidFill>
                                <a:srgbClr val="000000"/>
                              </a:solidFill>
                              <a:effectLst/>
                              <a:latin typeface="+mn-lt"/>
                            </a:defRPr>
                          </a:pPr>
                          <a:r>
                            <a:t>8</a:t>
                          </a:r>
                        </a:p>
                      </a:txBody>
                      <a:tcPr marL="9525" marR="9525" marT="9525" marB="0" anchor="ctr"/>
                    </a:tc>
                    <a:tc>
                      <a:txBody>
                        <a:bodyPr/>
                        <a:lstStyle/>
                        <a:p>
                          <a:pPr algn="ctr" fontAlgn="b"/>
                          <a:endParaRPr lang="de-DE" sz="1900" b="0" i="0" u="none" strike="noStrike" dirty="0">
                            <a:solidFill>
                              <a:srgbClr val="000000"/>
                            </a:solidFill>
                            <a:effectLst/>
                            <a:latin typeface="+mn-lt"/>
                          </a:endParaRPr>
                        </a:p>
                      </a:txBody>
                      <a:tcPr marL="9525" marR="9525" marT="9525" marB="0" anchor="ctr"/>
                    </a:tc>
                    <a:extLst>
                      <a:ext uri="{0D108BD9-81ED-4DB2-BD59-A6C34878D82A}">
                        <a16:rowId xmlns:a16="http://schemas.microsoft.com/office/drawing/2014/main" val="10006"/>
                      </a:ext>
                    </a:extLst>
                  </a:tr>
                </a:tbl>
              </a:graphicData>
            </a:graphic>
          </p:graphicFrame>
        </mc:Choice>
        <mc:Fallback>
          <p:graphicFrame>
            <p:nvGraphicFramePr>
              <p:cNvPr id="18" name="Tabelle 19">
                <a:extLst>
                  <a:ext uri="{FF2B5EF4-FFF2-40B4-BE49-F238E27FC236}">
                    <a16:creationId xmlns:a16="http://schemas.microsoft.com/office/drawing/2014/main" id="{FD78A194-B15F-97C1-B126-9F30FC571BF1}"/>
                  </a:ext>
                </a:extLst>
              </p:cNvPr>
              <p:cNvGraphicFramePr>
                <a:graphicFrameLocks noGrp="1"/>
              </p:cNvGraphicFramePr>
              <p:nvPr>
                <p:extLst>
                  <p:ext uri="{D42A27DB-BD31-4B8C-83A1-F6EECF244321}">
                    <p14:modId xmlns:p14="http://schemas.microsoft.com/office/powerpoint/2010/main" val="3317031688"/>
                  </p:ext>
                </p:extLst>
              </p:nvPr>
            </p:nvGraphicFramePr>
            <p:xfrm>
              <a:off x="7080143" y="2356834"/>
              <a:ext cx="4748947" cy="2971325"/>
            </p:xfrm>
            <a:graphic>
              <a:graphicData uri="http://schemas.openxmlformats.org/drawingml/2006/table">
                <a:tbl>
                  <a:tblPr firstRow="1" firstCol="1">
                    <a:tableStyleId>{F5AB1C69-6EDB-4FF4-983F-18BD219EF322}</a:tableStyleId>
                  </a:tblPr>
                  <a:tblGrid>
                    <a:gridCol w="678421">
                      <a:extLst>
                        <a:ext uri="{9D8B030D-6E8A-4147-A177-3AD203B41FA5}">
                          <a16:colId xmlns:a16="http://schemas.microsoft.com/office/drawing/2014/main" val="20000"/>
                        </a:ext>
                      </a:extLst>
                    </a:gridCol>
                    <a:gridCol w="678421">
                      <a:extLst>
                        <a:ext uri="{9D8B030D-6E8A-4147-A177-3AD203B41FA5}">
                          <a16:colId xmlns:a16="http://schemas.microsoft.com/office/drawing/2014/main" val="3031590756"/>
                        </a:ext>
                      </a:extLst>
                    </a:gridCol>
                    <a:gridCol w="678421">
                      <a:extLst>
                        <a:ext uri="{9D8B030D-6E8A-4147-A177-3AD203B41FA5}">
                          <a16:colId xmlns:a16="http://schemas.microsoft.com/office/drawing/2014/main" val="20001"/>
                        </a:ext>
                      </a:extLst>
                    </a:gridCol>
                    <a:gridCol w="678421">
                      <a:extLst>
                        <a:ext uri="{9D8B030D-6E8A-4147-A177-3AD203B41FA5}">
                          <a16:colId xmlns:a16="http://schemas.microsoft.com/office/drawing/2014/main" val="20002"/>
                        </a:ext>
                      </a:extLst>
                    </a:gridCol>
                    <a:gridCol w="678421">
                      <a:extLst>
                        <a:ext uri="{9D8B030D-6E8A-4147-A177-3AD203B41FA5}">
                          <a16:colId xmlns:a16="http://schemas.microsoft.com/office/drawing/2014/main" val="20003"/>
                        </a:ext>
                      </a:extLst>
                    </a:gridCol>
                    <a:gridCol w="678421">
                      <a:extLst>
                        <a:ext uri="{9D8B030D-6E8A-4147-A177-3AD203B41FA5}">
                          <a16:colId xmlns:a16="http://schemas.microsoft.com/office/drawing/2014/main" val="20004"/>
                        </a:ext>
                      </a:extLst>
                    </a:gridCol>
                    <a:gridCol w="678421">
                      <a:extLst>
                        <a:ext uri="{9D8B030D-6E8A-4147-A177-3AD203B41FA5}">
                          <a16:colId xmlns:a16="http://schemas.microsoft.com/office/drawing/2014/main" val="20005"/>
                        </a:ext>
                      </a:extLst>
                    </a:gridCol>
                  </a:tblGrid>
                  <a:tr h="424475">
                    <a:tc>
                      <a:txBody>
                        <a:bodyPr/>
                        <a:lstStyle/>
                        <a:p>
                          <a:pPr algn="ctr" fontAlgn="b"/>
                          <a:endParaRPr lang="de-DE" sz="1900" b="0" i="0" u="none" strike="noStrike" dirty="0">
                            <a:solidFill>
                              <a:srgbClr val="000000"/>
                            </a:solidFill>
                            <a:effectLst/>
                            <a:latin typeface="Calibri" panose="020F0502020204030204" pitchFamily="34" charset="0"/>
                          </a:endParaRPr>
                        </a:p>
                      </a:txBody>
                      <a:tcPr marL="9525" marR="9525" marT="9525" marB="0" anchor="ctr"/>
                    </a:tc>
                    <a:tc>
                      <a:txBody>
                        <a:bodyPr/>
                        <a:lstStyle/>
                        <a:p>
                          <a:endParaRPr lang="en-US"/>
                        </a:p>
                      </a:txBody>
                      <a:tcPr marL="9525" marR="9525" marT="9525" marB="0" anchor="ctr">
                        <a:blipFill>
                          <a:blip r:embed="rId5"/>
                          <a:stretch>
                            <a:fillRect l="-100000" t="-1429" r="-500893" b="-618571"/>
                          </a:stretch>
                        </a:blipFill>
                      </a:tcPr>
                    </a:tc>
                    <a:tc>
                      <a:txBody>
                        <a:bodyPr/>
                        <a:lstStyle/>
                        <a:p>
                          <a:pPr algn="ctr" fontAlgn="b">
                            <a:defRPr sz="1900">
                              <a:solidFill>
                                <a:schemeClr val="bg1"/>
                              </a:solidFill>
                              <a:effectLst/>
                            </a:defRPr>
                          </a:pPr>
                          <a:r>
                            <a:rPr dirty="0"/>
                            <a:t>E</a:t>
                          </a:r>
                          <a:endParaRPr lang="de-DE" sz="1900" b="0" i="0" u="none" strike="noStrike" dirty="0">
                            <a:solidFill>
                              <a:schemeClr val="bg1"/>
                            </a:solidFill>
                            <a:effectLst/>
                            <a:latin typeface="Calibri" panose="020F0502020204030204" pitchFamily="34" charset="0"/>
                          </a:endParaRPr>
                        </a:p>
                      </a:txBody>
                      <a:tcPr marL="9525" marR="9525" marT="9525" marB="0" anchor="ctr"/>
                    </a:tc>
                    <a:tc>
                      <a:txBody>
                        <a:bodyPr/>
                        <a:lstStyle/>
                        <a:p>
                          <a:endParaRPr lang="en-US"/>
                        </a:p>
                      </a:txBody>
                      <a:tcPr marL="9525" marR="9525" marT="9525" marB="0" anchor="ctr">
                        <a:blipFill>
                          <a:blip r:embed="rId5"/>
                          <a:stretch>
                            <a:fillRect l="-299107" t="-1429" r="-301786" b="-618571"/>
                          </a:stretch>
                        </a:blipFill>
                      </a:tcPr>
                    </a:tc>
                    <a:tc>
                      <a:txBody>
                        <a:bodyPr/>
                        <a:lstStyle/>
                        <a:p>
                          <a:endParaRPr lang="en-US"/>
                        </a:p>
                      </a:txBody>
                      <a:tcPr marL="9525" marR="9525" marT="9525" marB="0" anchor="ctr">
                        <a:blipFill>
                          <a:blip r:embed="rId5"/>
                          <a:stretch>
                            <a:fillRect l="-402703" t="-1429" r="-204505" b="-618571"/>
                          </a:stretch>
                        </a:blipFill>
                      </a:tcPr>
                    </a:tc>
                    <a:tc>
                      <a:txBody>
                        <a:bodyPr/>
                        <a:lstStyle/>
                        <a:p>
                          <a:pPr algn="ctr" fontAlgn="b">
                            <a:defRPr sz="1900">
                              <a:solidFill>
                                <a:schemeClr val="bg1"/>
                              </a:solidFill>
                              <a:effectLst/>
                            </a:defRPr>
                          </a:pPr>
                          <a:r>
                            <a:rPr dirty="0"/>
                            <a:t>A</a:t>
                          </a:r>
                          <a:endParaRPr lang="de-DE" sz="1900" b="0" i="0" u="none" strike="noStrike" dirty="0">
                            <a:solidFill>
                              <a:schemeClr val="bg1"/>
                            </a:solidFill>
                            <a:effectLst/>
                            <a:latin typeface="Calibri" panose="020F0502020204030204" pitchFamily="34" charset="0"/>
                          </a:endParaRPr>
                        </a:p>
                      </a:txBody>
                      <a:tcPr marL="9525" marR="9525" marT="9525" marB="0" anchor="ctr"/>
                    </a:tc>
                    <a:tc>
                      <a:txBody>
                        <a:bodyPr/>
                        <a:lstStyle/>
                        <a:p>
                          <a:endParaRPr lang="en-US"/>
                        </a:p>
                      </a:txBody>
                      <a:tcPr marL="9525" marR="9525" marT="9525" marB="0" anchor="ctr">
                        <a:blipFill>
                          <a:blip r:embed="rId5"/>
                          <a:stretch>
                            <a:fillRect l="-603604" t="-1429" r="-3604" b="-618571"/>
                          </a:stretch>
                        </a:blipFill>
                      </a:tcPr>
                    </a:tc>
                    <a:extLst>
                      <a:ext uri="{0D108BD9-81ED-4DB2-BD59-A6C34878D82A}">
                        <a16:rowId xmlns:a16="http://schemas.microsoft.com/office/drawing/2014/main" val="10000"/>
                      </a:ext>
                    </a:extLst>
                  </a:tr>
                  <a:tr h="424475">
                    <a:tc>
                      <a:txBody>
                        <a:bodyPr/>
                        <a:lstStyle/>
                        <a:p>
                          <a:endParaRPr lang="en-US"/>
                        </a:p>
                      </a:txBody>
                      <a:tcPr marL="9525" marR="9525" marT="9525" marB="0" anchor="ctr">
                        <a:blipFill>
                          <a:blip r:embed="rId5"/>
                          <a:stretch>
                            <a:fillRect l="-901" t="-101429" r="-606306" b="-518571"/>
                          </a:stretch>
                        </a:blipFill>
                      </a:tcPr>
                    </a:tc>
                    <a:tc>
                      <a:txBody>
                        <a:bodyPr/>
                        <a:lstStyle/>
                        <a:p>
                          <a:endParaRPr lang="en-US"/>
                        </a:p>
                      </a:txBody>
                      <a:tcPr marL="9525" marR="9525" marT="9525" marB="0" anchor="ctr">
                        <a:blipFill>
                          <a:blip r:embed="rId5"/>
                          <a:stretch>
                            <a:fillRect l="-100000" t="-101429" r="-500893" b="-518571"/>
                          </a:stretch>
                        </a:blipFill>
                      </a:tcPr>
                    </a:tc>
                    <a:tc>
                      <a:txBody>
                        <a:bodyPr/>
                        <a:lstStyle/>
                        <a:p>
                          <a:pPr algn="ctr" fontAlgn="b"/>
                          <a:endParaRPr lang="de-DE" sz="1900" b="0" i="0" u="none" strike="noStrike" dirty="0">
                            <a:solidFill>
                              <a:srgbClr val="000000"/>
                            </a:solidFill>
                            <a:effectLst/>
                            <a:latin typeface="+mn-lt"/>
                          </a:endParaRPr>
                        </a:p>
                      </a:txBody>
                      <a:tcPr marL="9525" marR="9525" marT="9525" marB="0" anchor="ctr"/>
                    </a:tc>
                    <a:tc>
                      <a:txBody>
                        <a:bodyPr/>
                        <a:lstStyle/>
                        <a:p>
                          <a:pPr algn="ctr" fontAlgn="b"/>
                          <a:endParaRPr lang="de-DE" sz="1900" b="0" i="0" u="none" strike="noStrike">
                            <a:solidFill>
                              <a:srgbClr val="000000"/>
                            </a:solidFill>
                            <a:effectLst/>
                            <a:latin typeface="+mn-lt"/>
                          </a:endParaRPr>
                        </a:p>
                      </a:txBody>
                      <a:tcPr marL="9525" marR="9525" marT="9525" marB="0" anchor="ctr"/>
                    </a:tc>
                    <a:tc>
                      <a:txBody>
                        <a:bodyPr/>
                        <a:lstStyle/>
                        <a:p>
                          <a:pPr algn="ctr" fontAlgn="b"/>
                          <a:endParaRPr lang="de-DE" sz="1900" b="0" i="0" u="none" strike="noStrike" dirty="0">
                            <a:solidFill>
                              <a:srgbClr val="000000"/>
                            </a:solidFill>
                            <a:effectLst/>
                            <a:latin typeface="+mn-lt"/>
                          </a:endParaRPr>
                        </a:p>
                      </a:txBody>
                      <a:tcPr marL="9525" marR="9525" marT="9525" marB="0" anchor="ctr"/>
                    </a:tc>
                    <a:tc>
                      <a:txBody>
                        <a:bodyPr/>
                        <a:lstStyle/>
                        <a:p>
                          <a:pPr algn="ctr" fontAlgn="b"/>
                          <a:endParaRPr lang="de-DE" sz="1900" b="0" i="0" u="none" strike="noStrike" dirty="0">
                            <a:solidFill>
                              <a:srgbClr val="000000"/>
                            </a:solidFill>
                            <a:effectLst/>
                            <a:latin typeface="+mn-lt"/>
                          </a:endParaRPr>
                        </a:p>
                      </a:txBody>
                      <a:tcPr marL="9525" marR="9525" marT="9525" marB="0" anchor="ctr"/>
                    </a:tc>
                    <a:tc>
                      <a:txBody>
                        <a:bodyPr/>
                        <a:lstStyle/>
                        <a:p>
                          <a:pPr algn="ctr" fontAlgn="b"/>
                          <a:endParaRPr lang="de-DE" sz="1900" b="0" i="0" u="none" strike="noStrike" dirty="0">
                            <a:solidFill>
                              <a:srgbClr val="000000"/>
                            </a:solidFill>
                            <a:effectLst/>
                            <a:latin typeface="+mn-lt"/>
                          </a:endParaRPr>
                        </a:p>
                      </a:txBody>
                      <a:tcPr marL="9525" marR="9525" marT="9525" marB="0" anchor="ctr"/>
                    </a:tc>
                    <a:extLst>
                      <a:ext uri="{0D108BD9-81ED-4DB2-BD59-A6C34878D82A}">
                        <a16:rowId xmlns:a16="http://schemas.microsoft.com/office/drawing/2014/main" val="10001"/>
                      </a:ext>
                    </a:extLst>
                  </a:tr>
                  <a:tr h="424475">
                    <a:tc>
                      <a:txBody>
                        <a:bodyPr/>
                        <a:lstStyle/>
                        <a:p>
                          <a:pPr algn="ctr" fontAlgn="b">
                            <a:defRPr sz="1900">
                              <a:solidFill>
                                <a:schemeClr val="bg1"/>
                              </a:solidFill>
                              <a:effectLst/>
                            </a:defRPr>
                          </a:pPr>
                          <a:r>
                            <a:t>E</a:t>
                          </a:r>
                          <a:endParaRPr lang="de-DE" sz="1900" b="0" i="0" u="none" strike="noStrike" dirty="0">
                            <a:solidFill>
                              <a:schemeClr val="bg1"/>
                            </a:solidFill>
                            <a:effectLst/>
                            <a:latin typeface="Calibri" panose="020F0502020204030204" pitchFamily="34" charset="0"/>
                          </a:endParaRPr>
                        </a:p>
                      </a:txBody>
                      <a:tcPr marL="9525" marR="9525" marT="9525" marB="0" anchor="ctr"/>
                    </a:tc>
                    <a:tc>
                      <a:txBody>
                        <a:bodyPr/>
                        <a:lstStyle/>
                        <a:p>
                          <a:pPr algn="ctr" fontAlgn="b"/>
                          <a:endParaRPr lang="de-DE" sz="19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endParaRPr lang="de-DE" sz="1900" b="0" i="0" u="none" strike="noStrike" dirty="0">
                            <a:solidFill>
                              <a:srgbClr val="000000"/>
                            </a:solidFill>
                            <a:effectLst/>
                            <a:latin typeface="+mn-lt"/>
                          </a:endParaRPr>
                        </a:p>
                      </a:txBody>
                      <a:tcPr marL="9525" marR="9525" marT="9525" marB="0" anchor="ctr"/>
                    </a:tc>
                    <a:tc>
                      <a:txBody>
                        <a:bodyPr/>
                        <a:lstStyle/>
                        <a:p>
                          <a:pPr algn="ctr" fontAlgn="b"/>
                          <a:endParaRPr lang="de-DE" sz="1900" b="0" i="0" u="none" strike="noStrike" dirty="0">
                            <a:solidFill>
                              <a:srgbClr val="000000"/>
                            </a:solidFill>
                            <a:effectLst/>
                            <a:latin typeface="+mn-lt"/>
                          </a:endParaRPr>
                        </a:p>
                      </a:txBody>
                      <a:tcPr marL="9525" marR="9525" marT="9525" marB="0" anchor="ctr"/>
                    </a:tc>
                    <a:tc>
                      <a:txBody>
                        <a:bodyPr/>
                        <a:lstStyle/>
                        <a:p>
                          <a:pPr algn="ctr" fontAlgn="b"/>
                          <a:endParaRPr lang="de-DE" sz="1900" b="0" i="0" u="none" strike="noStrike">
                            <a:solidFill>
                              <a:srgbClr val="000000"/>
                            </a:solidFill>
                            <a:effectLst/>
                            <a:latin typeface="+mn-lt"/>
                          </a:endParaRPr>
                        </a:p>
                      </a:txBody>
                      <a:tcPr marL="9525" marR="9525" marT="9525" marB="0" anchor="ctr"/>
                    </a:tc>
                    <a:tc>
                      <a:txBody>
                        <a:bodyPr/>
                        <a:lstStyle/>
                        <a:p>
                          <a:pPr algn="ctr" fontAlgn="b"/>
                          <a:endParaRPr lang="de-DE" sz="1900" b="0" i="0" u="none" strike="noStrike">
                            <a:solidFill>
                              <a:srgbClr val="000000"/>
                            </a:solidFill>
                            <a:effectLst/>
                            <a:latin typeface="+mn-lt"/>
                          </a:endParaRPr>
                        </a:p>
                      </a:txBody>
                      <a:tcPr marL="9525" marR="9525" marT="9525" marB="0" anchor="ctr"/>
                    </a:tc>
                    <a:tc>
                      <a:txBody>
                        <a:bodyPr/>
                        <a:lstStyle/>
                        <a:p>
                          <a:pPr algn="ctr" fontAlgn="b">
                            <a:defRPr sz="1900">
                              <a:solidFill>
                                <a:srgbClr val="000000"/>
                              </a:solidFill>
                              <a:effectLst/>
                              <a:latin typeface="+mn-lt"/>
                            </a:defRPr>
                          </a:pPr>
                          <a:r>
                            <a:t>8</a:t>
                          </a:r>
                        </a:p>
                      </a:txBody>
                      <a:tcPr marL="9525" marR="9525" marT="9525" marB="0" anchor="ctr"/>
                    </a:tc>
                    <a:extLst>
                      <a:ext uri="{0D108BD9-81ED-4DB2-BD59-A6C34878D82A}">
                        <a16:rowId xmlns:a16="http://schemas.microsoft.com/office/drawing/2014/main" val="10002"/>
                      </a:ext>
                    </a:extLst>
                  </a:tr>
                  <a:tr h="424475">
                    <a:tc>
                      <a:txBody>
                        <a:bodyPr/>
                        <a:lstStyle/>
                        <a:p>
                          <a:pPr algn="ctr" fontAlgn="b">
                            <a:defRPr sz="1900">
                              <a:solidFill>
                                <a:schemeClr val="bg1"/>
                              </a:solidFill>
                              <a:effectLst/>
                            </a:defRPr>
                          </a:pPr>
                          <a:r>
                            <a:rPr lang="tr-TR" sz="1900" b="0" i="0" u="none" strike="noStrike" dirty="0">
                              <a:solidFill>
                                <a:schemeClr val="bg1"/>
                              </a:solidFill>
                              <a:effectLst/>
                              <a:latin typeface="Calibri" panose="020F0502020204030204" pitchFamily="34" charset="0"/>
                            </a:rPr>
                            <a:t>D</a:t>
                          </a:r>
                          <a:endParaRPr lang="de-DE" sz="1900" b="0" i="0" u="none" strike="noStrike" dirty="0">
                            <a:solidFill>
                              <a:schemeClr val="bg1"/>
                            </a:solidFill>
                            <a:effectLst/>
                            <a:latin typeface="Calibri" panose="020F0502020204030204" pitchFamily="34" charset="0"/>
                          </a:endParaRPr>
                        </a:p>
                      </a:txBody>
                      <a:tcPr marL="9525" marR="9525" marT="9525" marB="0" anchor="ctr"/>
                    </a:tc>
                    <a:tc>
                      <a:txBody>
                        <a:bodyPr/>
                        <a:lstStyle/>
                        <a:p>
                          <a:pPr algn="ctr" fontAlgn="b"/>
                          <a:endParaRPr lang="de-DE" sz="19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defRPr sz="1900">
                              <a:solidFill>
                                <a:srgbClr val="000000"/>
                              </a:solidFill>
                              <a:effectLst/>
                              <a:latin typeface="+mn-lt"/>
                            </a:defRPr>
                          </a:pPr>
                          <a:r>
                            <a:t>4</a:t>
                          </a:r>
                        </a:p>
                      </a:txBody>
                      <a:tcPr marL="9525" marR="9525" marT="9525" marB="0" anchor="ctr"/>
                    </a:tc>
                    <a:tc>
                      <a:txBody>
                        <a:bodyPr/>
                        <a:lstStyle/>
                        <a:p>
                          <a:pPr algn="ctr" fontAlgn="b"/>
                          <a:endParaRPr lang="de-DE" sz="1900" b="0" i="0" u="none" strike="noStrike" dirty="0">
                            <a:solidFill>
                              <a:srgbClr val="000000"/>
                            </a:solidFill>
                            <a:effectLst/>
                            <a:latin typeface="+mn-lt"/>
                          </a:endParaRPr>
                        </a:p>
                      </a:txBody>
                      <a:tcPr marL="9525" marR="9525" marT="9525" marB="0" anchor="ctr"/>
                    </a:tc>
                    <a:tc>
                      <a:txBody>
                        <a:bodyPr/>
                        <a:lstStyle/>
                        <a:p>
                          <a:pPr algn="ctr" fontAlgn="b"/>
                          <a:endParaRPr lang="de-DE" sz="1900" b="0" i="0" u="none" strike="noStrike" dirty="0">
                            <a:solidFill>
                              <a:srgbClr val="000000"/>
                            </a:solidFill>
                            <a:effectLst/>
                            <a:latin typeface="+mn-lt"/>
                          </a:endParaRPr>
                        </a:p>
                      </a:txBody>
                      <a:tcPr marL="9525" marR="9525" marT="9525" marB="0" anchor="ctr"/>
                    </a:tc>
                    <a:tc>
                      <a:txBody>
                        <a:bodyPr/>
                        <a:lstStyle/>
                        <a:p>
                          <a:pPr algn="ctr" fontAlgn="b"/>
                          <a:endParaRPr lang="de-DE" sz="1900" b="0" i="0" u="none" strike="noStrike">
                            <a:solidFill>
                              <a:srgbClr val="000000"/>
                            </a:solidFill>
                            <a:effectLst/>
                            <a:latin typeface="+mn-lt"/>
                          </a:endParaRPr>
                        </a:p>
                      </a:txBody>
                      <a:tcPr marL="9525" marR="9525" marT="9525" marB="0" anchor="ctr"/>
                    </a:tc>
                    <a:tc>
                      <a:txBody>
                        <a:bodyPr/>
                        <a:lstStyle/>
                        <a:p>
                          <a:pPr algn="ctr" fontAlgn="b"/>
                          <a:endParaRPr lang="de-DE" sz="1900" b="0" i="0" u="none" strike="noStrike">
                            <a:solidFill>
                              <a:srgbClr val="000000"/>
                            </a:solidFill>
                            <a:effectLst/>
                            <a:latin typeface="+mn-lt"/>
                          </a:endParaRPr>
                        </a:p>
                      </a:txBody>
                      <a:tcPr marL="9525" marR="9525" marT="9525" marB="0" anchor="ctr"/>
                    </a:tc>
                    <a:extLst>
                      <a:ext uri="{0D108BD9-81ED-4DB2-BD59-A6C34878D82A}">
                        <a16:rowId xmlns:a16="http://schemas.microsoft.com/office/drawing/2014/main" val="10003"/>
                      </a:ext>
                    </a:extLst>
                  </a:tr>
                  <a:tr h="424475">
                    <a:tc>
                      <a:txBody>
                        <a:bodyPr/>
                        <a:lstStyle/>
                        <a:p>
                          <a:endParaRPr lang="en-US"/>
                        </a:p>
                      </a:txBody>
                      <a:tcPr marL="9525" marR="9525" marT="9525" marB="0" anchor="ctr">
                        <a:blipFill>
                          <a:blip r:embed="rId5"/>
                          <a:stretch>
                            <a:fillRect l="-901" t="-400000" r="-606306" b="-220000"/>
                          </a:stretch>
                        </a:blipFill>
                      </a:tcPr>
                    </a:tc>
                    <a:tc>
                      <a:txBody>
                        <a:bodyPr/>
                        <a:lstStyle/>
                        <a:p>
                          <a:pPr algn="ctr" fontAlgn="b"/>
                          <a:endParaRPr lang="de-DE" sz="19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endParaRPr lang="de-DE" sz="1900" b="0" i="0" u="none" strike="noStrike">
                            <a:solidFill>
                              <a:srgbClr val="000000"/>
                            </a:solidFill>
                            <a:effectLst/>
                            <a:latin typeface="+mn-lt"/>
                          </a:endParaRPr>
                        </a:p>
                      </a:txBody>
                      <a:tcPr marL="9525" marR="9525" marT="9525" marB="0" anchor="ctr"/>
                    </a:tc>
                    <a:tc>
                      <a:txBody>
                        <a:bodyPr/>
                        <a:lstStyle/>
                        <a:p>
                          <a:pPr algn="ctr" fontAlgn="b"/>
                          <a:endParaRPr lang="de-DE" sz="1900" b="0" i="0" u="none" strike="noStrike">
                            <a:solidFill>
                              <a:srgbClr val="000000"/>
                            </a:solidFill>
                            <a:effectLst/>
                            <a:latin typeface="+mn-lt"/>
                          </a:endParaRPr>
                        </a:p>
                      </a:txBody>
                      <a:tcPr marL="9525" marR="9525" marT="9525" marB="0" anchor="ctr"/>
                    </a:tc>
                    <a:tc>
                      <a:txBody>
                        <a:bodyPr/>
                        <a:lstStyle/>
                        <a:p>
                          <a:endParaRPr lang="en-US"/>
                        </a:p>
                      </a:txBody>
                      <a:tcPr marL="9525" marR="9525" marT="9525" marB="0" anchor="ctr">
                        <a:blipFill>
                          <a:blip r:embed="rId5"/>
                          <a:stretch>
                            <a:fillRect l="-402703" t="-400000" r="-204505" b="-220000"/>
                          </a:stretch>
                        </a:blipFill>
                      </a:tcPr>
                    </a:tc>
                    <a:tc>
                      <a:txBody>
                        <a:bodyPr/>
                        <a:lstStyle/>
                        <a:p>
                          <a:pPr algn="ctr" fontAlgn="b"/>
                          <a:endParaRPr lang="de-DE" sz="1900" b="0" i="0" u="none" strike="noStrike" dirty="0">
                            <a:solidFill>
                              <a:srgbClr val="000000"/>
                            </a:solidFill>
                            <a:effectLst/>
                            <a:latin typeface="+mn-lt"/>
                          </a:endParaRPr>
                        </a:p>
                      </a:txBody>
                      <a:tcPr marL="9525" marR="9525" marT="9525" marB="0" anchor="ctr"/>
                    </a:tc>
                    <a:tc>
                      <a:txBody>
                        <a:bodyPr/>
                        <a:lstStyle/>
                        <a:p>
                          <a:pPr algn="ctr" fontAlgn="b"/>
                          <a:endParaRPr lang="de-DE" sz="1900" b="0" i="0" u="none" strike="noStrike">
                            <a:solidFill>
                              <a:srgbClr val="000000"/>
                            </a:solidFill>
                            <a:effectLst/>
                            <a:latin typeface="+mn-lt"/>
                          </a:endParaRPr>
                        </a:p>
                      </a:txBody>
                      <a:tcPr marL="9525" marR="9525" marT="9525" marB="0" anchor="ctr"/>
                    </a:tc>
                    <a:extLst>
                      <a:ext uri="{0D108BD9-81ED-4DB2-BD59-A6C34878D82A}">
                        <a16:rowId xmlns:a16="http://schemas.microsoft.com/office/drawing/2014/main" val="10004"/>
                      </a:ext>
                    </a:extLst>
                  </a:tr>
                  <a:tr h="424475">
                    <a:tc>
                      <a:txBody>
                        <a:bodyPr/>
                        <a:lstStyle/>
                        <a:p>
                          <a:pPr algn="ctr" fontAlgn="b">
                            <a:defRPr sz="1900">
                              <a:solidFill>
                                <a:schemeClr val="bg1"/>
                              </a:solidFill>
                              <a:effectLst/>
                            </a:defRPr>
                          </a:pPr>
                          <a:r>
                            <a:rPr dirty="0"/>
                            <a:t>A</a:t>
                          </a:r>
                          <a:endParaRPr lang="de-DE" sz="1900" b="0" i="0" u="none" strike="noStrike" dirty="0">
                            <a:solidFill>
                              <a:schemeClr val="bg1"/>
                            </a:solidFill>
                            <a:effectLst/>
                            <a:latin typeface="Calibri" panose="020F0502020204030204" pitchFamily="34" charset="0"/>
                          </a:endParaRPr>
                        </a:p>
                      </a:txBody>
                      <a:tcPr marL="9525" marR="9525" marT="9525" marB="0" anchor="ctr"/>
                    </a:tc>
                    <a:tc>
                      <a:txBody>
                        <a:bodyPr/>
                        <a:lstStyle/>
                        <a:p>
                          <a:pPr algn="ctr" fontAlgn="b"/>
                          <a:endParaRPr lang="de-DE" sz="1900" b="0" i="0" u="none" strike="noStrike">
                            <a:solidFill>
                              <a:srgbClr val="000000"/>
                            </a:solidFill>
                            <a:effectLst/>
                            <a:latin typeface="Calibri" panose="020F0502020204030204" pitchFamily="34" charset="0"/>
                          </a:endParaRPr>
                        </a:p>
                      </a:txBody>
                      <a:tcPr marL="9525" marR="9525" marT="9525" marB="0" anchor="ctr"/>
                    </a:tc>
                    <a:tc>
                      <a:txBody>
                        <a:bodyPr/>
                        <a:lstStyle/>
                        <a:p>
                          <a:pPr algn="ctr" fontAlgn="b">
                            <a:defRPr sz="1900">
                              <a:solidFill>
                                <a:srgbClr val="000000"/>
                              </a:solidFill>
                              <a:effectLst/>
                              <a:latin typeface="+mn-lt"/>
                            </a:defRPr>
                          </a:pPr>
                          <a:r>
                            <a:t>4</a:t>
                          </a:r>
                        </a:p>
                      </a:txBody>
                      <a:tcPr marL="9525" marR="9525" marT="9525" marB="0" anchor="ctr"/>
                    </a:tc>
                    <a:tc>
                      <a:txBody>
                        <a:bodyPr/>
                        <a:lstStyle/>
                        <a:p>
                          <a:pPr algn="ctr" fontAlgn="b">
                            <a:defRPr sz="1900">
                              <a:solidFill>
                                <a:srgbClr val="000000"/>
                              </a:solidFill>
                              <a:effectLst/>
                              <a:latin typeface="+mn-lt"/>
                            </a:defRPr>
                          </a:pPr>
                          <a:r>
                            <a:t>4</a:t>
                          </a:r>
                        </a:p>
                      </a:txBody>
                      <a:tcPr marL="9525" marR="9525" marT="9525" marB="0" anchor="ctr"/>
                    </a:tc>
                    <a:tc>
                      <a:txBody>
                        <a:bodyPr/>
                        <a:lstStyle/>
                        <a:p>
                          <a:pPr algn="ctr" fontAlgn="b"/>
                          <a:endParaRPr lang="de-DE" sz="1900" b="0" i="0" u="none" strike="noStrike" dirty="0">
                            <a:solidFill>
                              <a:srgbClr val="000000"/>
                            </a:solidFill>
                            <a:effectLst/>
                            <a:latin typeface="+mn-lt"/>
                          </a:endParaRPr>
                        </a:p>
                      </a:txBody>
                      <a:tcPr marL="9525" marR="9525" marT="9525" marB="0" anchor="ctr"/>
                    </a:tc>
                    <a:tc>
                      <a:txBody>
                        <a:bodyPr/>
                        <a:lstStyle/>
                        <a:p>
                          <a:pPr algn="ctr" fontAlgn="b"/>
                          <a:endParaRPr lang="de-DE" sz="1900" b="0" i="0" u="none" strike="noStrike" dirty="0">
                            <a:solidFill>
                              <a:srgbClr val="000000"/>
                            </a:solidFill>
                            <a:effectLst/>
                            <a:latin typeface="+mn-lt"/>
                          </a:endParaRPr>
                        </a:p>
                      </a:txBody>
                      <a:tcPr marL="9525" marR="9525" marT="9525" marB="0" anchor="ctr"/>
                    </a:tc>
                    <a:tc>
                      <a:txBody>
                        <a:bodyPr/>
                        <a:lstStyle/>
                        <a:p>
                          <a:pPr algn="ctr" fontAlgn="b"/>
                          <a:endParaRPr lang="de-DE" sz="1900" b="0" i="0" u="none" strike="noStrike" dirty="0">
                            <a:solidFill>
                              <a:srgbClr val="000000"/>
                            </a:solidFill>
                            <a:effectLst/>
                            <a:latin typeface="+mn-lt"/>
                          </a:endParaRPr>
                        </a:p>
                      </a:txBody>
                      <a:tcPr marL="9525" marR="9525" marT="9525" marB="0" anchor="ctr"/>
                    </a:tc>
                    <a:extLst>
                      <a:ext uri="{0D108BD9-81ED-4DB2-BD59-A6C34878D82A}">
                        <a16:rowId xmlns:a16="http://schemas.microsoft.com/office/drawing/2014/main" val="10005"/>
                      </a:ext>
                    </a:extLst>
                  </a:tr>
                  <a:tr h="424475">
                    <a:tc>
                      <a:txBody>
                        <a:bodyPr/>
                        <a:lstStyle/>
                        <a:p>
                          <a:endParaRPr lang="en-US"/>
                        </a:p>
                      </a:txBody>
                      <a:tcPr marL="9525" marR="9525" marT="9525" marB="0" anchor="ctr">
                        <a:blipFill>
                          <a:blip r:embed="rId5"/>
                          <a:stretch>
                            <a:fillRect l="-901" t="-600000" r="-606306" b="-20000"/>
                          </a:stretch>
                        </a:blipFill>
                      </a:tcPr>
                    </a:tc>
                    <a:tc>
                      <a:txBody>
                        <a:bodyPr/>
                        <a:lstStyle/>
                        <a:p>
                          <a:pPr algn="ctr" fontAlgn="b"/>
                          <a:endParaRPr lang="de-DE" sz="1900" b="0" i="0" u="none" strike="noStrike" dirty="0">
                            <a:solidFill>
                              <a:srgbClr val="000000"/>
                            </a:solidFill>
                            <a:effectLst/>
                            <a:latin typeface="Calibri" panose="020F0502020204030204" pitchFamily="34" charset="0"/>
                          </a:endParaRPr>
                        </a:p>
                      </a:txBody>
                      <a:tcPr marL="9525" marR="9525" marT="9525" marB="0" anchor="ctr"/>
                    </a:tc>
                    <a:tc>
                      <a:txBody>
                        <a:bodyPr/>
                        <a:lstStyle/>
                        <a:p>
                          <a:pPr algn="ctr" fontAlgn="b"/>
                          <a:endParaRPr lang="de-DE" sz="1900" b="0" i="0" u="none" strike="noStrike">
                            <a:solidFill>
                              <a:srgbClr val="000000"/>
                            </a:solidFill>
                            <a:effectLst/>
                            <a:latin typeface="+mn-lt"/>
                          </a:endParaRPr>
                        </a:p>
                      </a:txBody>
                      <a:tcPr marL="9525" marR="9525" marT="9525" marB="0" anchor="ctr"/>
                    </a:tc>
                    <a:tc>
                      <a:txBody>
                        <a:bodyPr/>
                        <a:lstStyle/>
                        <a:p>
                          <a:pPr algn="ctr" fontAlgn="b"/>
                          <a:endParaRPr lang="de-DE" sz="1900" b="0" i="0" u="none" strike="noStrike" dirty="0">
                            <a:solidFill>
                              <a:srgbClr val="000000"/>
                            </a:solidFill>
                            <a:effectLst/>
                            <a:latin typeface="+mn-lt"/>
                          </a:endParaRPr>
                        </a:p>
                      </a:txBody>
                      <a:tcPr marL="9525" marR="9525" marT="9525" marB="0" anchor="ctr"/>
                    </a:tc>
                    <a:tc>
                      <a:txBody>
                        <a:bodyPr/>
                        <a:lstStyle/>
                        <a:p>
                          <a:pPr algn="ctr" fontAlgn="b"/>
                          <a:endParaRPr lang="de-DE" sz="1900" b="0" i="0" u="none" strike="noStrike">
                            <a:solidFill>
                              <a:srgbClr val="000000"/>
                            </a:solidFill>
                            <a:effectLst/>
                            <a:latin typeface="+mn-lt"/>
                          </a:endParaRPr>
                        </a:p>
                      </a:txBody>
                      <a:tcPr marL="9525" marR="9525" marT="9525" marB="0" anchor="ctr"/>
                    </a:tc>
                    <a:tc>
                      <a:txBody>
                        <a:bodyPr/>
                        <a:lstStyle/>
                        <a:p>
                          <a:pPr algn="ctr" fontAlgn="b">
                            <a:defRPr sz="1900">
                              <a:solidFill>
                                <a:srgbClr val="000000"/>
                              </a:solidFill>
                              <a:effectLst/>
                              <a:latin typeface="+mn-lt"/>
                            </a:defRPr>
                          </a:pPr>
                          <a:r>
                            <a:t>8</a:t>
                          </a:r>
                        </a:p>
                      </a:txBody>
                      <a:tcPr marL="9525" marR="9525" marT="9525" marB="0" anchor="ctr"/>
                    </a:tc>
                    <a:tc>
                      <a:txBody>
                        <a:bodyPr/>
                        <a:lstStyle/>
                        <a:p>
                          <a:pPr algn="ctr" fontAlgn="b"/>
                          <a:endParaRPr lang="de-DE" sz="1900" b="0" i="0" u="none" strike="noStrike" dirty="0">
                            <a:solidFill>
                              <a:srgbClr val="000000"/>
                            </a:solidFill>
                            <a:effectLst/>
                            <a:latin typeface="+mn-lt"/>
                          </a:endParaRPr>
                        </a:p>
                      </a:txBody>
                      <a:tcPr marL="9525" marR="9525" marT="9525" marB="0" anchor="ctr"/>
                    </a:tc>
                    <a:extLst>
                      <a:ext uri="{0D108BD9-81ED-4DB2-BD59-A6C34878D82A}">
                        <a16:rowId xmlns:a16="http://schemas.microsoft.com/office/drawing/2014/main" val="10006"/>
                      </a:ext>
                    </a:extLst>
                  </a:tr>
                </a:tbl>
              </a:graphicData>
            </a:graphic>
          </p:graphicFrame>
        </mc:Fallback>
      </mc:AlternateContent>
      <p:cxnSp>
        <p:nvCxnSpPr>
          <p:cNvPr id="19" name="Gerade Verbindung mit Pfeil 20">
            <a:extLst>
              <a:ext uri="{FF2B5EF4-FFF2-40B4-BE49-F238E27FC236}">
                <a16:creationId xmlns:a16="http://schemas.microsoft.com/office/drawing/2014/main" id="{1457A067-377F-9396-8825-4C839F4DCBB7}"/>
              </a:ext>
            </a:extLst>
          </p:cNvPr>
          <p:cNvCxnSpPr>
            <a:cxnSpLocks/>
          </p:cNvCxnSpPr>
          <p:nvPr/>
        </p:nvCxnSpPr>
        <p:spPr>
          <a:xfrm flipH="1" flipV="1">
            <a:off x="2729864" y="3251800"/>
            <a:ext cx="2383583" cy="1216474"/>
          </a:xfrm>
          <a:prstGeom prst="straightConnector1">
            <a:avLst/>
          </a:prstGeom>
          <a:ln w="57150">
            <a:solidFill>
              <a:srgbClr val="5B5B5A"/>
            </a:solidFill>
            <a:tailEnd type="triangle"/>
          </a:ln>
        </p:spPr>
        <p:style>
          <a:lnRef idx="1">
            <a:schemeClr val="accent1"/>
          </a:lnRef>
          <a:fillRef idx="0">
            <a:schemeClr val="accent1"/>
          </a:fillRef>
          <a:effectRef idx="0">
            <a:schemeClr val="accent1"/>
          </a:effectRef>
          <a:fontRef idx="minor">
            <a:schemeClr val="tx1"/>
          </a:fontRef>
        </p:style>
      </p:cxnSp>
      <p:grpSp>
        <p:nvGrpSpPr>
          <p:cNvPr id="20" name="Gruppieren 4 Personen braun">
            <a:extLst>
              <a:ext uri="{FF2B5EF4-FFF2-40B4-BE49-F238E27FC236}">
                <a16:creationId xmlns:a16="http://schemas.microsoft.com/office/drawing/2014/main" id="{844C0BDB-E0C3-221D-AD7C-4AA6F8370E88}"/>
              </a:ext>
            </a:extLst>
          </p:cNvPr>
          <p:cNvGrpSpPr/>
          <p:nvPr/>
        </p:nvGrpSpPr>
        <p:grpSpPr>
          <a:xfrm>
            <a:off x="1248046" y="2494980"/>
            <a:ext cx="823566" cy="680722"/>
            <a:chOff x="2865865" y="2478671"/>
            <a:chExt cx="823566" cy="680722"/>
          </a:xfrm>
        </p:grpSpPr>
        <p:pic>
          <p:nvPicPr>
            <p:cNvPr id="21" name="Grafik 13">
              <a:extLst>
                <a:ext uri="{FF2B5EF4-FFF2-40B4-BE49-F238E27FC236}">
                  <a16:creationId xmlns:a16="http://schemas.microsoft.com/office/drawing/2014/main" id="{2773A35B-4A75-38C6-C08A-A7D26414ADF6}"/>
                </a:ext>
              </a:extLst>
            </p:cNvPr>
            <p:cNvPicPr>
              <a:picLocks noChangeAspect="1"/>
            </p:cNvPicPr>
            <p:nvPr/>
          </p:nvPicPr>
          <p:blipFill>
            <a:blip r:embed="rId6"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2865865" y="2598414"/>
              <a:ext cx="441236" cy="441236"/>
            </a:xfrm>
            <a:prstGeom prst="rect">
              <a:avLst/>
            </a:prstGeom>
          </p:spPr>
        </p:pic>
        <p:pic>
          <p:nvPicPr>
            <p:cNvPr id="22" name="Grafik 23">
              <a:extLst>
                <a:ext uri="{FF2B5EF4-FFF2-40B4-BE49-F238E27FC236}">
                  <a16:creationId xmlns:a16="http://schemas.microsoft.com/office/drawing/2014/main" id="{49A03A2D-3736-9FE0-140E-71DE10F0E807}"/>
                </a:ext>
              </a:extLst>
            </p:cNvPr>
            <p:cNvPicPr>
              <a:picLocks noChangeAspect="1"/>
            </p:cNvPicPr>
            <p:nvPr/>
          </p:nvPicPr>
          <p:blipFill>
            <a:blip r:embed="rId6"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3034528" y="2478671"/>
              <a:ext cx="441236" cy="441236"/>
            </a:xfrm>
            <a:prstGeom prst="rect">
              <a:avLst/>
            </a:prstGeom>
          </p:spPr>
        </p:pic>
        <p:pic>
          <p:nvPicPr>
            <p:cNvPr id="23" name="Grafik 24">
              <a:extLst>
                <a:ext uri="{FF2B5EF4-FFF2-40B4-BE49-F238E27FC236}">
                  <a16:creationId xmlns:a16="http://schemas.microsoft.com/office/drawing/2014/main" id="{E40C24FC-64ED-4E53-1101-E02C7C683F0A}"/>
                </a:ext>
              </a:extLst>
            </p:cNvPr>
            <p:cNvPicPr>
              <a:picLocks noChangeAspect="1"/>
            </p:cNvPicPr>
            <p:nvPr/>
          </p:nvPicPr>
          <p:blipFill>
            <a:blip r:embed="rId6"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3120912" y="2718157"/>
              <a:ext cx="441236" cy="441236"/>
            </a:xfrm>
            <a:prstGeom prst="rect">
              <a:avLst/>
            </a:prstGeom>
          </p:spPr>
        </p:pic>
        <p:pic>
          <p:nvPicPr>
            <p:cNvPr id="24" name="Grafik 25">
              <a:extLst>
                <a:ext uri="{FF2B5EF4-FFF2-40B4-BE49-F238E27FC236}">
                  <a16:creationId xmlns:a16="http://schemas.microsoft.com/office/drawing/2014/main" id="{95AF2726-4FCF-2897-29A8-0EF79CF4044B}"/>
                </a:ext>
              </a:extLst>
            </p:cNvPr>
            <p:cNvPicPr>
              <a:picLocks noChangeAspect="1"/>
            </p:cNvPicPr>
            <p:nvPr/>
          </p:nvPicPr>
          <p:blipFill>
            <a:blip r:embed="rId6"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3248195" y="2524875"/>
              <a:ext cx="441236" cy="441236"/>
            </a:xfrm>
            <a:prstGeom prst="rect">
              <a:avLst/>
            </a:prstGeom>
          </p:spPr>
        </p:pic>
      </p:grpSp>
      <p:grpSp>
        <p:nvGrpSpPr>
          <p:cNvPr id="25" name="Gruppieren 4 Personen rot">
            <a:extLst>
              <a:ext uri="{FF2B5EF4-FFF2-40B4-BE49-F238E27FC236}">
                <a16:creationId xmlns:a16="http://schemas.microsoft.com/office/drawing/2014/main" id="{F9961B59-0623-8E15-4AF6-9D131A0C12C1}"/>
              </a:ext>
            </a:extLst>
          </p:cNvPr>
          <p:cNvGrpSpPr/>
          <p:nvPr/>
        </p:nvGrpSpPr>
        <p:grpSpPr>
          <a:xfrm>
            <a:off x="1248046" y="2472280"/>
            <a:ext cx="823566" cy="680722"/>
            <a:chOff x="2865865" y="2478671"/>
            <a:chExt cx="823566" cy="680722"/>
          </a:xfrm>
        </p:grpSpPr>
        <p:pic>
          <p:nvPicPr>
            <p:cNvPr id="26" name="Grafik 28">
              <a:extLst>
                <a:ext uri="{FF2B5EF4-FFF2-40B4-BE49-F238E27FC236}">
                  <a16:creationId xmlns:a16="http://schemas.microsoft.com/office/drawing/2014/main" id="{40729BE0-6EE9-A4BB-1406-C29D41873C42}"/>
                </a:ext>
              </a:extLst>
            </p:cNvPr>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2865865" y="2598414"/>
              <a:ext cx="441236" cy="441236"/>
            </a:xfrm>
            <a:prstGeom prst="rect">
              <a:avLst/>
            </a:prstGeom>
          </p:spPr>
        </p:pic>
        <p:pic>
          <p:nvPicPr>
            <p:cNvPr id="27" name="Grafik 29">
              <a:extLst>
                <a:ext uri="{FF2B5EF4-FFF2-40B4-BE49-F238E27FC236}">
                  <a16:creationId xmlns:a16="http://schemas.microsoft.com/office/drawing/2014/main" id="{D876561F-0E1C-CCF7-422D-2C72813AB03B}"/>
                </a:ext>
              </a:extLst>
            </p:cNvPr>
            <p:cNvPicPr>
              <a:picLocks noChangeAspect="1"/>
            </p:cNvPicPr>
            <p:nvPr/>
          </p:nvPicPr>
          <p:blipFill>
            <a:blip r:embed="rId6"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3034528" y="2478671"/>
              <a:ext cx="441236" cy="441236"/>
            </a:xfrm>
            <a:prstGeom prst="rect">
              <a:avLst/>
            </a:prstGeom>
          </p:spPr>
        </p:pic>
        <p:pic>
          <p:nvPicPr>
            <p:cNvPr id="28" name="Grafik 30" descr="Gehen mit einfarbiger Füllung">
              <a:extLst>
                <a:ext uri="{FF2B5EF4-FFF2-40B4-BE49-F238E27FC236}">
                  <a16:creationId xmlns:a16="http://schemas.microsoft.com/office/drawing/2014/main" id="{B3B85DB9-631C-C4D4-5A2C-68C28E33BC3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3120912" y="2718157"/>
              <a:ext cx="441236" cy="441236"/>
            </a:xfrm>
            <a:prstGeom prst="rect">
              <a:avLst/>
            </a:prstGeom>
          </p:spPr>
        </p:pic>
        <p:pic>
          <p:nvPicPr>
            <p:cNvPr id="29" name="Grafik 31" descr="Gehen mit einfarbiger Füllung">
              <a:extLst>
                <a:ext uri="{FF2B5EF4-FFF2-40B4-BE49-F238E27FC236}">
                  <a16:creationId xmlns:a16="http://schemas.microsoft.com/office/drawing/2014/main" id="{6077A3A5-557A-0AEE-B915-FF427A4D7E9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3248195" y="2524875"/>
              <a:ext cx="441236" cy="441236"/>
            </a:xfrm>
            <a:prstGeom prst="rect">
              <a:avLst/>
            </a:prstGeom>
          </p:spPr>
        </p:pic>
      </p:grpSp>
      <p:sp>
        <p:nvSpPr>
          <p:cNvPr id="31" name="TextBox 30">
            <a:extLst>
              <a:ext uri="{FF2B5EF4-FFF2-40B4-BE49-F238E27FC236}">
                <a16:creationId xmlns:a16="http://schemas.microsoft.com/office/drawing/2014/main" id="{4BFBA4B6-8DBE-E9DC-AEE5-A25806E6D8DC}"/>
              </a:ext>
            </a:extLst>
          </p:cNvPr>
          <p:cNvSpPr txBox="1"/>
          <p:nvPr/>
        </p:nvSpPr>
        <p:spPr>
          <a:xfrm>
            <a:off x="133539" y="1085132"/>
            <a:ext cx="6097508" cy="584775"/>
          </a:xfrm>
          <a:prstGeom prst="rect">
            <a:avLst/>
          </a:prstGeom>
          <a:noFill/>
        </p:spPr>
        <p:txBody>
          <a:bodyPr wrap="square">
            <a:spAutoFit/>
          </a:bodyPr>
          <a:lstStyle/>
          <a:p>
            <a:pPr>
              <a:defRPr sz="3200" b="1"/>
            </a:pPr>
            <a:r>
              <a:t>Temel tanımlar – faaliyet zinciri</a:t>
            </a:r>
          </a:p>
        </p:txBody>
      </p:sp>
    </p:spTree>
    <p:extLst>
      <p:ext uri="{BB962C8B-B14F-4D97-AF65-F5344CB8AC3E}">
        <p14:creationId xmlns:p14="http://schemas.microsoft.com/office/powerpoint/2010/main" val="21761702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500"/>
                                  </p:stCondLst>
                                  <p:childTnLst>
                                    <p:set>
                                      <p:cBhvr>
                                        <p:cTn id="9" dur="1" fill="hold">
                                          <p:stCondLst>
                                            <p:cond delay="0"/>
                                          </p:stCondLst>
                                        </p:cTn>
                                        <p:tgtEl>
                                          <p:spTgt spid="5"/>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nodeType="afterEffect">
                                  <p:stCondLst>
                                    <p:cond delay="500"/>
                                  </p:stCondLst>
                                  <p:childTnLst>
                                    <p:set>
                                      <p:cBhvr>
                                        <p:cTn id="12" dur="1" fill="hold">
                                          <p:stCondLst>
                                            <p:cond delay="0"/>
                                          </p:stCondLst>
                                        </p:cTn>
                                        <p:tgtEl>
                                          <p:spTgt spid="11"/>
                                        </p:tgtEl>
                                        <p:attrNameLst>
                                          <p:attrName>style.visibility</p:attrName>
                                        </p:attrNameLst>
                                      </p:cBhvr>
                                      <p:to>
                                        <p:strVal val="visible"/>
                                      </p:to>
                                    </p:set>
                                  </p:childTnLst>
                                </p:cTn>
                              </p:par>
                            </p:childTnLst>
                          </p:cTn>
                        </p:par>
                        <p:par>
                          <p:cTn id="13" fill="hold">
                            <p:stCondLst>
                              <p:cond delay="1000"/>
                            </p:stCondLst>
                            <p:childTnLst>
                              <p:par>
                                <p:cTn id="14" presetID="1" presetClass="entr" presetSubtype="0" fill="hold" nodeType="afterEffect">
                                  <p:stCondLst>
                                    <p:cond delay="500"/>
                                  </p:stCondLst>
                                  <p:childTnLst>
                                    <p:set>
                                      <p:cBhvr>
                                        <p:cTn id="15" dur="1" fill="hold">
                                          <p:stCondLst>
                                            <p:cond delay="0"/>
                                          </p:stCondLst>
                                        </p:cTn>
                                        <p:tgtEl>
                                          <p:spTgt spid="8"/>
                                        </p:tgtEl>
                                        <p:attrNameLst>
                                          <p:attrName>style.visibility</p:attrName>
                                        </p:attrNameLst>
                                      </p:cBhvr>
                                      <p:to>
                                        <p:strVal val="visible"/>
                                      </p:to>
                                    </p:set>
                                  </p:childTnLst>
                                </p:cTn>
                              </p:par>
                            </p:childTnLst>
                          </p:cTn>
                        </p:par>
                        <p:par>
                          <p:cTn id="16" fill="hold">
                            <p:stCondLst>
                              <p:cond delay="1500"/>
                            </p:stCondLst>
                            <p:childTnLst>
                              <p:par>
                                <p:cTn id="17" presetID="1" presetClass="entr" presetSubtype="0" fill="hold" nodeType="afterEffect">
                                  <p:stCondLst>
                                    <p:cond delay="0"/>
                                  </p:stCondLst>
                                  <p:childTnLst>
                                    <p:set>
                                      <p:cBhvr>
                                        <p:cTn id="18" dur="1" fill="hold">
                                          <p:stCondLst>
                                            <p:cond delay="0"/>
                                          </p:stCondLst>
                                        </p:cTn>
                                        <p:tgtEl>
                                          <p:spTgt spid="25"/>
                                        </p:tgtEl>
                                        <p:attrNameLst>
                                          <p:attrName>style.visibility</p:attrName>
                                        </p:attrNameLst>
                                      </p:cBhvr>
                                      <p:to>
                                        <p:strVal val="visible"/>
                                      </p:to>
                                    </p:set>
                                  </p:childTnLst>
                                </p:cTn>
                              </p:par>
                            </p:childTnLst>
                          </p:cTn>
                        </p:par>
                        <p:par>
                          <p:cTn id="19" fill="hold">
                            <p:stCondLst>
                              <p:cond delay="1500"/>
                            </p:stCondLst>
                            <p:childTnLst>
                              <p:par>
                                <p:cTn id="20" presetID="1" presetClass="entr" presetSubtype="0" fill="hold" nodeType="afterEffect">
                                  <p:stCondLst>
                                    <p:cond delay="0"/>
                                  </p:stCondLst>
                                  <p:childTnLst>
                                    <p:set>
                                      <p:cBhvr>
                                        <p:cTn id="21" dur="1" fill="hold">
                                          <p:stCondLst>
                                            <p:cond delay="0"/>
                                          </p:stCondLst>
                                        </p:cTn>
                                        <p:tgtEl>
                                          <p:spTgt spid="14"/>
                                        </p:tgtEl>
                                        <p:attrNameLst>
                                          <p:attrName>style.visibility</p:attrName>
                                        </p:attrNameLst>
                                      </p:cBhvr>
                                      <p:to>
                                        <p:strVal val="visible"/>
                                      </p:to>
                                    </p:set>
                                  </p:childTnLst>
                                </p:cTn>
                              </p:par>
                            </p:childTnLst>
                          </p:cTn>
                        </p:par>
                        <p:par>
                          <p:cTn id="22" fill="hold">
                            <p:stCondLst>
                              <p:cond delay="1500"/>
                            </p:stCondLst>
                            <p:childTnLst>
                              <p:par>
                                <p:cTn id="23" presetID="42" presetClass="path" presetSubtype="0" accel="50000" decel="50000" fill="hold" nodeType="afterEffect">
                                  <p:stCondLst>
                                    <p:cond delay="0"/>
                                  </p:stCondLst>
                                  <p:childTnLst>
                                    <p:animMotion origin="layout" path="M 6.50957E-9 -3.7037E-6 L 0.34566 0.00301 " pathEditMode="relative" rAng="0" ptsTypes="AA">
                                      <p:cBhvr>
                                        <p:cTn id="24" dur="2000" fill="hold"/>
                                        <p:tgtEl>
                                          <p:spTgt spid="25"/>
                                        </p:tgtEl>
                                        <p:attrNameLst>
                                          <p:attrName>ppt_x</p:attrName>
                                          <p:attrName>ppt_y</p:attrName>
                                        </p:attrNameLst>
                                      </p:cBhvr>
                                      <p:rCtr x="17276" y="139"/>
                                    </p:animMotion>
                                  </p:childTnLst>
                                </p:cTn>
                              </p:par>
                            </p:childTnLst>
                          </p:cTn>
                        </p:par>
                        <p:par>
                          <p:cTn id="25" fill="hold">
                            <p:stCondLst>
                              <p:cond delay="3500"/>
                            </p:stCondLst>
                            <p:childTnLst>
                              <p:par>
                                <p:cTn id="26" presetID="1" presetClass="entr" presetSubtype="0" fill="hold" nodeType="afterEffect">
                                  <p:stCondLst>
                                    <p:cond delay="0"/>
                                  </p:stCondLst>
                                  <p:childTnLst>
                                    <p:set>
                                      <p:cBhvr>
                                        <p:cTn id="27" dur="1" fill="hold">
                                          <p:stCondLst>
                                            <p:cond delay="0"/>
                                          </p:stCondLst>
                                        </p:cTn>
                                        <p:tgtEl>
                                          <p:spTgt spid="16"/>
                                        </p:tgtEl>
                                        <p:attrNameLst>
                                          <p:attrName>style.visibility</p:attrName>
                                        </p:attrNameLst>
                                      </p:cBhvr>
                                      <p:to>
                                        <p:strVal val="visible"/>
                                      </p:to>
                                    </p:set>
                                  </p:childTnLst>
                                </p:cTn>
                              </p:par>
                            </p:childTnLst>
                          </p:cTn>
                        </p:par>
                        <p:par>
                          <p:cTn id="28" fill="hold">
                            <p:stCondLst>
                              <p:cond delay="3500"/>
                            </p:stCondLst>
                            <p:childTnLst>
                              <p:par>
                                <p:cTn id="29" presetID="42" presetClass="path" presetSubtype="0" accel="50000" decel="50000" fill="hold" nodeType="afterEffect">
                                  <p:stCondLst>
                                    <p:cond delay="0"/>
                                  </p:stCondLst>
                                  <p:childTnLst>
                                    <p:animMotion origin="layout" path="M 0.34566 0.00301 L 0.34696 0.31922 " pathEditMode="relative" rAng="0" ptsTypes="AA">
                                      <p:cBhvr>
                                        <p:cTn id="30" dur="2000" fill="hold"/>
                                        <p:tgtEl>
                                          <p:spTgt spid="25"/>
                                        </p:tgtEl>
                                        <p:attrNameLst>
                                          <p:attrName>ppt_x</p:attrName>
                                          <p:attrName>ppt_y</p:attrName>
                                        </p:attrNameLst>
                                      </p:cBhvr>
                                      <p:rCtr x="65" y="15810"/>
                                    </p:animMotion>
                                  </p:childTnLst>
                                </p:cTn>
                              </p:par>
                            </p:childTnLst>
                          </p:cTn>
                        </p:par>
                        <p:par>
                          <p:cTn id="31" fill="hold">
                            <p:stCondLst>
                              <p:cond delay="5500"/>
                            </p:stCondLst>
                            <p:childTnLst>
                              <p:par>
                                <p:cTn id="32" presetID="1" presetClass="entr" presetSubtype="0" fill="hold" nodeType="afterEffect">
                                  <p:stCondLst>
                                    <p:cond delay="0"/>
                                  </p:stCondLst>
                                  <p:childTnLst>
                                    <p:set>
                                      <p:cBhvr>
                                        <p:cTn id="33" dur="1" fill="hold">
                                          <p:stCondLst>
                                            <p:cond delay="0"/>
                                          </p:stCondLst>
                                        </p:cTn>
                                        <p:tgtEl>
                                          <p:spTgt spid="15"/>
                                        </p:tgtEl>
                                        <p:attrNameLst>
                                          <p:attrName>style.visibility</p:attrName>
                                        </p:attrNameLst>
                                      </p:cBhvr>
                                      <p:to>
                                        <p:strVal val="visible"/>
                                      </p:to>
                                    </p:set>
                                  </p:childTnLst>
                                </p:cTn>
                              </p:par>
                            </p:childTnLst>
                          </p:cTn>
                        </p:par>
                        <p:par>
                          <p:cTn id="34" fill="hold">
                            <p:stCondLst>
                              <p:cond delay="5500"/>
                            </p:stCondLst>
                            <p:childTnLst>
                              <p:par>
                                <p:cTn id="35" presetID="42" presetClass="path" presetSubtype="0" accel="50000" decel="50000" fill="hold" nodeType="afterEffect">
                                  <p:stCondLst>
                                    <p:cond delay="0"/>
                                  </p:stCondLst>
                                  <p:childTnLst>
                                    <p:animMotion origin="layout" path="M 0.34696 0.31922 L 0.00417 0.31921 " pathEditMode="relative" rAng="0" ptsTypes="AA">
                                      <p:cBhvr>
                                        <p:cTn id="36" dur="2000" fill="hold"/>
                                        <p:tgtEl>
                                          <p:spTgt spid="25"/>
                                        </p:tgtEl>
                                        <p:attrNameLst>
                                          <p:attrName>ppt_x</p:attrName>
                                          <p:attrName>ppt_y</p:attrName>
                                        </p:attrNameLst>
                                      </p:cBhvr>
                                      <p:rCtr x="-17081" y="162"/>
                                    </p:animMotion>
                                  </p:childTnLst>
                                </p:cTn>
                              </p:par>
                            </p:childTnLst>
                          </p:cTn>
                        </p:par>
                        <p:par>
                          <p:cTn id="37" fill="hold">
                            <p:stCondLst>
                              <p:cond delay="7500"/>
                            </p:stCondLst>
                            <p:childTnLst>
                              <p:par>
                                <p:cTn id="38" presetID="1" presetClass="entr" presetSubtype="0" fill="hold" nodeType="afterEffect">
                                  <p:stCondLst>
                                    <p:cond delay="0"/>
                                  </p:stCondLst>
                                  <p:childTnLst>
                                    <p:set>
                                      <p:cBhvr>
                                        <p:cTn id="39" dur="1" fill="hold">
                                          <p:stCondLst>
                                            <p:cond delay="0"/>
                                          </p:stCondLst>
                                        </p:cTn>
                                        <p:tgtEl>
                                          <p:spTgt spid="17"/>
                                        </p:tgtEl>
                                        <p:attrNameLst>
                                          <p:attrName>style.visibility</p:attrName>
                                        </p:attrNameLst>
                                      </p:cBhvr>
                                      <p:to>
                                        <p:strVal val="visible"/>
                                      </p:to>
                                    </p:set>
                                  </p:childTnLst>
                                </p:cTn>
                              </p:par>
                            </p:childTnLst>
                          </p:cTn>
                        </p:par>
                        <p:par>
                          <p:cTn id="40" fill="hold">
                            <p:stCondLst>
                              <p:cond delay="7500"/>
                            </p:stCondLst>
                            <p:childTnLst>
                              <p:par>
                                <p:cTn id="41" presetID="42" presetClass="path" presetSubtype="0" accel="50000" decel="50000" fill="hold" nodeType="afterEffect">
                                  <p:stCondLst>
                                    <p:cond delay="0"/>
                                  </p:stCondLst>
                                  <p:childTnLst>
                                    <p:animMotion origin="layout" path="M 0.00417 0.31922 L -0.02955 -0.00115 " pathEditMode="relative" rAng="0" ptsTypes="AA">
                                      <p:cBhvr>
                                        <p:cTn id="42" dur="2000" fill="hold"/>
                                        <p:tgtEl>
                                          <p:spTgt spid="25"/>
                                        </p:tgtEl>
                                        <p:attrNameLst>
                                          <p:attrName>ppt_x</p:attrName>
                                          <p:attrName>ppt_y</p:attrName>
                                        </p:attrNameLst>
                                      </p:cBhvr>
                                      <p:rCtr x="-1692" y="-16019"/>
                                    </p:animMotion>
                                  </p:childTnLst>
                                </p:cTn>
                              </p:par>
                            </p:childTnLst>
                          </p:cTn>
                        </p:par>
                        <p:par>
                          <p:cTn id="43" fill="hold">
                            <p:stCondLst>
                              <p:cond delay="9500"/>
                            </p:stCondLst>
                            <p:childTnLst>
                              <p:par>
                                <p:cTn id="44" presetID="1" presetClass="entr" presetSubtype="0" fill="hold" nodeType="afterEffect">
                                  <p:stCondLst>
                                    <p:cond delay="0"/>
                                  </p:stCondLst>
                                  <p:childTnLst>
                                    <p:set>
                                      <p:cBhvr>
                                        <p:cTn id="45" dur="1" fill="hold">
                                          <p:stCondLst>
                                            <p:cond delay="0"/>
                                          </p:stCondLst>
                                        </p:cTn>
                                        <p:tgtEl>
                                          <p:spTgt spid="20"/>
                                        </p:tgtEl>
                                        <p:attrNameLst>
                                          <p:attrName>style.visibility</p:attrName>
                                        </p:attrNameLst>
                                      </p:cBhvr>
                                      <p:to>
                                        <p:strVal val="visible"/>
                                      </p:to>
                                    </p:set>
                                  </p:childTnLst>
                                </p:cTn>
                              </p:par>
                            </p:childTnLst>
                          </p:cTn>
                        </p:par>
                        <p:par>
                          <p:cTn id="46" fill="hold">
                            <p:stCondLst>
                              <p:cond delay="9500"/>
                            </p:stCondLst>
                            <p:childTnLst>
                              <p:par>
                                <p:cTn id="47" presetID="42" presetClass="path" presetSubtype="0" accel="50000" decel="50000" fill="hold" nodeType="afterEffect">
                                  <p:stCondLst>
                                    <p:cond delay="0"/>
                                  </p:stCondLst>
                                  <p:childTnLst>
                                    <p:animMotion origin="layout" path="M 6.50957E-9 4.07407E-6 L 0.34565 -0.00046 " pathEditMode="relative" rAng="0" ptsTypes="AA">
                                      <p:cBhvr>
                                        <p:cTn id="48" dur="2000" fill="hold"/>
                                        <p:tgtEl>
                                          <p:spTgt spid="20"/>
                                        </p:tgtEl>
                                        <p:attrNameLst>
                                          <p:attrName>ppt_x</p:attrName>
                                          <p:attrName>ppt_y</p:attrName>
                                        </p:attrNameLst>
                                      </p:cBhvr>
                                      <p:rCtr x="17107" y="185"/>
                                    </p:animMotion>
                                  </p:childTnLst>
                                </p:cTn>
                              </p:par>
                            </p:childTnLst>
                          </p:cTn>
                        </p:par>
                        <p:par>
                          <p:cTn id="49" fill="hold">
                            <p:stCondLst>
                              <p:cond delay="11500"/>
                            </p:stCondLst>
                            <p:childTnLst>
                              <p:par>
                                <p:cTn id="50" presetID="42" presetClass="path" presetSubtype="0" accel="50000" decel="50000" fill="hold" nodeType="afterEffect">
                                  <p:stCondLst>
                                    <p:cond delay="0"/>
                                  </p:stCondLst>
                                  <p:childTnLst>
                                    <p:animMotion origin="layout" path="M 0.34566 -0.00047 L 0.34696 0.31574 " pathEditMode="relative" rAng="0" ptsTypes="AA">
                                      <p:cBhvr>
                                        <p:cTn id="51" dur="2000" fill="hold"/>
                                        <p:tgtEl>
                                          <p:spTgt spid="20"/>
                                        </p:tgtEl>
                                        <p:attrNameLst>
                                          <p:attrName>ppt_x</p:attrName>
                                          <p:attrName>ppt_y</p:attrName>
                                        </p:attrNameLst>
                                      </p:cBhvr>
                                      <p:rCtr x="65" y="16019"/>
                                    </p:animMotion>
                                  </p:childTnLst>
                                </p:cTn>
                              </p:par>
                            </p:childTnLst>
                          </p:cTn>
                        </p:par>
                        <p:par>
                          <p:cTn id="52" fill="hold">
                            <p:stCondLst>
                              <p:cond delay="13500"/>
                            </p:stCondLst>
                            <p:childTnLst>
                              <p:par>
                                <p:cTn id="53" presetID="1" presetClass="entr" presetSubtype="0" fill="hold" nodeType="afterEffect">
                                  <p:stCondLst>
                                    <p:cond delay="0"/>
                                  </p:stCondLst>
                                  <p:childTnLst>
                                    <p:set>
                                      <p:cBhvr>
                                        <p:cTn id="54" dur="1" fill="hold">
                                          <p:stCondLst>
                                            <p:cond delay="0"/>
                                          </p:stCondLst>
                                        </p:cTn>
                                        <p:tgtEl>
                                          <p:spTgt spid="19"/>
                                        </p:tgtEl>
                                        <p:attrNameLst>
                                          <p:attrName>style.visibility</p:attrName>
                                        </p:attrNameLst>
                                      </p:cBhvr>
                                      <p:to>
                                        <p:strVal val="visible"/>
                                      </p:to>
                                    </p:set>
                                  </p:childTnLst>
                                </p:cTn>
                              </p:par>
                            </p:childTnLst>
                          </p:cTn>
                        </p:par>
                        <p:par>
                          <p:cTn id="55" fill="hold">
                            <p:stCondLst>
                              <p:cond delay="13500"/>
                            </p:stCondLst>
                            <p:childTnLst>
                              <p:par>
                                <p:cTn id="56" presetID="42" presetClass="path" presetSubtype="0" accel="50000" decel="50000" fill="hold" nodeType="afterEffect">
                                  <p:stCondLst>
                                    <p:cond delay="0"/>
                                  </p:stCondLst>
                                  <p:childTnLst>
                                    <p:animMotion origin="layout" path="M 0.34696 0.31575 L 0.01745 -0.00162 " pathEditMode="relative" rAng="0" ptsTypes="AA">
                                      <p:cBhvr>
                                        <p:cTn id="57" dur="2000" fill="hold"/>
                                        <p:tgtEl>
                                          <p:spTgt spid="20"/>
                                        </p:tgtEl>
                                        <p:attrNameLst>
                                          <p:attrName>ppt_x</p:attrName>
                                          <p:attrName>ppt_y</p:attrName>
                                        </p:attrNameLst>
                                      </p:cBhvr>
                                      <p:rCtr x="-16417" y="-1594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pSp>
        <p:nvGrpSpPr>
          <p:cNvPr id="2" name="Gruppieren 81">
            <a:extLst>
              <a:ext uri="{FF2B5EF4-FFF2-40B4-BE49-F238E27FC236}">
                <a16:creationId xmlns:a16="http://schemas.microsoft.com/office/drawing/2014/main" id="{E3C71BA3-DC19-2FE2-D65E-E725E2C3B60A}"/>
              </a:ext>
            </a:extLst>
          </p:cNvPr>
          <p:cNvGrpSpPr/>
          <p:nvPr/>
        </p:nvGrpSpPr>
        <p:grpSpPr>
          <a:xfrm>
            <a:off x="2794320" y="4899289"/>
            <a:ext cx="2378865" cy="931418"/>
            <a:chOff x="4566675" y="4598209"/>
            <a:chExt cx="2378865" cy="931418"/>
          </a:xfrm>
        </p:grpSpPr>
        <p:cxnSp>
          <p:nvCxnSpPr>
            <p:cNvPr id="3" name="Gerade Verbindung mit Pfeil 12">
              <a:extLst>
                <a:ext uri="{FF2B5EF4-FFF2-40B4-BE49-F238E27FC236}">
                  <a16:creationId xmlns:a16="http://schemas.microsoft.com/office/drawing/2014/main" id="{18300442-D38A-0ADA-09E0-4E69195CB8F2}"/>
                </a:ext>
              </a:extLst>
            </p:cNvPr>
            <p:cNvCxnSpPr/>
            <p:nvPr/>
          </p:nvCxnSpPr>
          <p:spPr>
            <a:xfrm flipV="1">
              <a:off x="4566675" y="5038233"/>
              <a:ext cx="2378865" cy="10886"/>
            </a:xfrm>
            <a:prstGeom prst="straightConnector1">
              <a:avLst/>
            </a:prstGeom>
            <a:ln w="57150">
              <a:solidFill>
                <a:srgbClr val="5B5B5A"/>
              </a:solidFill>
              <a:tailEnd type="triangle"/>
            </a:ln>
          </p:spPr>
          <p:style>
            <a:lnRef idx="1">
              <a:schemeClr val="accent1"/>
            </a:lnRef>
            <a:fillRef idx="0">
              <a:schemeClr val="accent1"/>
            </a:fillRef>
            <a:effectRef idx="0">
              <a:schemeClr val="accent1"/>
            </a:effectRef>
            <a:fontRef idx="minor">
              <a:schemeClr val="tx1"/>
            </a:fontRef>
          </p:style>
        </p:cxnSp>
        <p:pic>
          <p:nvPicPr>
            <p:cNvPr id="4" name="Grafik 45">
              <a:extLst>
                <a:ext uri="{FF2B5EF4-FFF2-40B4-BE49-F238E27FC236}">
                  <a16:creationId xmlns:a16="http://schemas.microsoft.com/office/drawing/2014/main" id="{08BDBD86-D3AF-DFE3-9EF4-0EA386E0C88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84169" y="4598209"/>
              <a:ext cx="441236" cy="441236"/>
            </a:xfrm>
            <a:prstGeom prst="rect">
              <a:avLst/>
            </a:prstGeom>
          </p:spPr>
        </p:pic>
        <p:pic>
          <p:nvPicPr>
            <p:cNvPr id="5" name="Grafik 46">
              <a:extLst>
                <a:ext uri="{FF2B5EF4-FFF2-40B4-BE49-F238E27FC236}">
                  <a16:creationId xmlns:a16="http://schemas.microsoft.com/office/drawing/2014/main" id="{6DF0DFCB-C3BE-80B2-8DC5-1FAE2AAC6F2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36569" y="4598209"/>
              <a:ext cx="441236" cy="441236"/>
            </a:xfrm>
            <a:prstGeom prst="rect">
              <a:avLst/>
            </a:prstGeom>
          </p:spPr>
        </p:pic>
        <p:pic>
          <p:nvPicPr>
            <p:cNvPr id="6" name="Grafik 47">
              <a:extLst>
                <a:ext uri="{FF2B5EF4-FFF2-40B4-BE49-F238E27FC236}">
                  <a16:creationId xmlns:a16="http://schemas.microsoft.com/office/drawing/2014/main" id="{834AAC8B-981D-0124-A9E0-C8E1E74C782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88969" y="4598209"/>
              <a:ext cx="441236" cy="441236"/>
            </a:xfrm>
            <a:prstGeom prst="rect">
              <a:avLst/>
            </a:prstGeom>
          </p:spPr>
        </p:pic>
        <p:pic>
          <p:nvPicPr>
            <p:cNvPr id="7" name="Grafik 48">
              <a:extLst>
                <a:ext uri="{FF2B5EF4-FFF2-40B4-BE49-F238E27FC236}">
                  <a16:creationId xmlns:a16="http://schemas.microsoft.com/office/drawing/2014/main" id="{686E0124-4EC7-7A6A-6A90-6ED3D9A637B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41369" y="4598209"/>
              <a:ext cx="441236" cy="441236"/>
            </a:xfrm>
            <a:prstGeom prst="rect">
              <a:avLst/>
            </a:prstGeom>
          </p:spPr>
        </p:pic>
        <p:sp>
          <p:nvSpPr>
            <p:cNvPr id="8" name="Textfeld 54">
              <a:extLst>
                <a:ext uri="{FF2B5EF4-FFF2-40B4-BE49-F238E27FC236}">
                  <a16:creationId xmlns:a16="http://schemas.microsoft.com/office/drawing/2014/main" id="{94367BB8-C2F7-702A-A1F7-3FC0777C4600}"/>
                </a:ext>
              </a:extLst>
            </p:cNvPr>
            <p:cNvSpPr txBox="1"/>
            <p:nvPr/>
          </p:nvSpPr>
          <p:spPr>
            <a:xfrm>
              <a:off x="4701551" y="5160295"/>
              <a:ext cx="625564" cy="369332"/>
            </a:xfrm>
            <a:prstGeom prst="rect">
              <a:avLst/>
            </a:prstGeom>
            <a:noFill/>
          </p:spPr>
          <p:txBody>
            <a:bodyPr wrap="square">
              <a:spAutoFit/>
            </a:bodyPr>
            <a:lstStyle/>
            <a:p>
              <a:r>
                <a:t>4</a:t>
              </a:r>
            </a:p>
          </p:txBody>
        </p:sp>
      </p:grpSp>
      <p:pic>
        <p:nvPicPr>
          <p:cNvPr id="9" name="Grafik 55">
            <a:extLst>
              <a:ext uri="{FF2B5EF4-FFF2-40B4-BE49-F238E27FC236}">
                <a16:creationId xmlns:a16="http://schemas.microsoft.com/office/drawing/2014/main" id="{C85CCEEA-6610-57FC-C625-BD41215918E6}"/>
              </a:ext>
            </a:extLst>
          </p:cNvPr>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142407" y="1759535"/>
            <a:ext cx="1552575" cy="1438275"/>
          </a:xfrm>
          <a:prstGeom prst="rect">
            <a:avLst/>
          </a:prstGeom>
        </p:spPr>
      </p:pic>
      <p:pic>
        <p:nvPicPr>
          <p:cNvPr id="10" name="Grafik 56">
            <a:extLst>
              <a:ext uri="{FF2B5EF4-FFF2-40B4-BE49-F238E27FC236}">
                <a16:creationId xmlns:a16="http://schemas.microsoft.com/office/drawing/2014/main" id="{E6D49698-E48D-0492-23A9-153C79F2ED8A}"/>
              </a:ext>
            </a:extLst>
          </p:cNvPr>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272526" y="1759534"/>
            <a:ext cx="1552575" cy="1438275"/>
          </a:xfrm>
          <a:prstGeom prst="rect">
            <a:avLst/>
          </a:prstGeom>
        </p:spPr>
      </p:pic>
      <p:sp>
        <p:nvSpPr>
          <p:cNvPr id="11" name="Textfeld 57">
            <a:extLst>
              <a:ext uri="{FF2B5EF4-FFF2-40B4-BE49-F238E27FC236}">
                <a16:creationId xmlns:a16="http://schemas.microsoft.com/office/drawing/2014/main" id="{88D9D2BA-84BA-779E-B8C6-FD3701B3CF02}"/>
              </a:ext>
            </a:extLst>
          </p:cNvPr>
          <p:cNvSpPr txBox="1"/>
          <p:nvPr/>
        </p:nvSpPr>
        <p:spPr>
          <a:xfrm>
            <a:off x="1709504" y="2136750"/>
            <a:ext cx="480725" cy="461665"/>
          </a:xfrm>
          <a:prstGeom prst="rect">
            <a:avLst/>
          </a:prstGeom>
          <a:noFill/>
        </p:spPr>
        <p:txBody>
          <a:bodyPr wrap="square">
            <a:spAutoFit/>
          </a:bodyPr>
          <a:lstStyle/>
          <a:p>
            <a:pPr>
              <a:defRPr sz="2400"/>
            </a:pPr>
            <a:r>
              <a:t>E</a:t>
            </a:r>
          </a:p>
        </p:txBody>
      </p:sp>
      <p:sp>
        <p:nvSpPr>
          <p:cNvPr id="12" name="Textfeld 58">
            <a:extLst>
              <a:ext uri="{FF2B5EF4-FFF2-40B4-BE49-F238E27FC236}">
                <a16:creationId xmlns:a16="http://schemas.microsoft.com/office/drawing/2014/main" id="{F2C557FD-2711-0285-9BF7-F1F366CA43CC}"/>
              </a:ext>
            </a:extLst>
          </p:cNvPr>
          <p:cNvSpPr txBox="1"/>
          <p:nvPr/>
        </p:nvSpPr>
        <p:spPr>
          <a:xfrm>
            <a:off x="5843086" y="2136749"/>
            <a:ext cx="480725" cy="461665"/>
          </a:xfrm>
          <a:prstGeom prst="rect">
            <a:avLst/>
          </a:prstGeom>
          <a:noFill/>
        </p:spPr>
        <p:txBody>
          <a:bodyPr wrap="square">
            <a:spAutoFit/>
          </a:bodyPr>
          <a:lstStyle/>
          <a:p>
            <a:pPr>
              <a:defRPr sz="2400"/>
            </a:pPr>
            <a:r>
              <a:t>İ</a:t>
            </a:r>
          </a:p>
        </p:txBody>
      </p:sp>
      <p:pic>
        <p:nvPicPr>
          <p:cNvPr id="13" name="Grafik 59">
            <a:extLst>
              <a:ext uri="{FF2B5EF4-FFF2-40B4-BE49-F238E27FC236}">
                <a16:creationId xmlns:a16="http://schemas.microsoft.com/office/drawing/2014/main" id="{94960EDF-BF02-3116-5F03-C1AB98EDBFC9}"/>
              </a:ext>
            </a:extLst>
          </p:cNvPr>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1142407" y="4053790"/>
            <a:ext cx="1552575" cy="1438275"/>
          </a:xfrm>
          <a:prstGeom prst="rect">
            <a:avLst/>
          </a:prstGeom>
        </p:spPr>
      </p:pic>
      <p:pic>
        <p:nvPicPr>
          <p:cNvPr id="14" name="Grafik 60">
            <a:extLst>
              <a:ext uri="{FF2B5EF4-FFF2-40B4-BE49-F238E27FC236}">
                <a16:creationId xmlns:a16="http://schemas.microsoft.com/office/drawing/2014/main" id="{F0971B62-E6DB-1726-B148-EBD9A1510224}"/>
              </a:ext>
            </a:extLst>
          </p:cNvPr>
          <p:cNvPicPr>
            <a:picLocks noChangeAspect="1"/>
          </p:cNvPicPr>
          <p:nvPr/>
        </p:nvPicPr>
        <p:blipFill>
          <a:blip r:embed="rId5" cstate="print">
            <a:duotone>
              <a:schemeClr val="bg2">
                <a:shade val="45000"/>
                <a:satMod val="135000"/>
              </a:schemeClr>
              <a:prstClr val="white"/>
            </a:duotone>
            <a:extLst>
              <a:ext uri="{28A0092B-C50C-407E-A947-70E740481C1C}">
                <a14:useLocalDpi xmlns:a14="http://schemas.microsoft.com/office/drawing/2010/main" val="0"/>
              </a:ext>
            </a:extLst>
          </a:blip>
          <a:stretch>
            <a:fillRect/>
          </a:stretch>
        </p:blipFill>
        <p:spPr>
          <a:xfrm>
            <a:off x="5272526" y="4053789"/>
            <a:ext cx="1552575" cy="1438275"/>
          </a:xfrm>
          <a:prstGeom prst="rect">
            <a:avLst/>
          </a:prstGeom>
        </p:spPr>
      </p:pic>
      <p:sp>
        <p:nvSpPr>
          <p:cNvPr id="15" name="Textfeld 61">
            <a:extLst>
              <a:ext uri="{FF2B5EF4-FFF2-40B4-BE49-F238E27FC236}">
                <a16:creationId xmlns:a16="http://schemas.microsoft.com/office/drawing/2014/main" id="{BAD05048-0B6A-CB01-DBA4-573179ADA367}"/>
              </a:ext>
            </a:extLst>
          </p:cNvPr>
          <p:cNvSpPr txBox="1"/>
          <p:nvPr/>
        </p:nvSpPr>
        <p:spPr>
          <a:xfrm>
            <a:off x="1726036" y="4426474"/>
            <a:ext cx="480725" cy="461665"/>
          </a:xfrm>
          <a:prstGeom prst="rect">
            <a:avLst/>
          </a:prstGeom>
          <a:noFill/>
        </p:spPr>
        <p:txBody>
          <a:bodyPr wrap="square">
            <a:spAutoFit/>
          </a:bodyPr>
          <a:lstStyle/>
          <a:p>
            <a:pPr>
              <a:defRPr sz="2400"/>
            </a:pPr>
            <a:r>
              <a:t>A</a:t>
            </a:r>
          </a:p>
        </p:txBody>
      </p:sp>
      <p:sp>
        <p:nvSpPr>
          <p:cNvPr id="16" name="Textfeld 62">
            <a:extLst>
              <a:ext uri="{FF2B5EF4-FFF2-40B4-BE49-F238E27FC236}">
                <a16:creationId xmlns:a16="http://schemas.microsoft.com/office/drawing/2014/main" id="{5D2A2EF9-6BF4-E8B4-0F20-F0671AF9ABAC}"/>
              </a:ext>
            </a:extLst>
          </p:cNvPr>
          <p:cNvSpPr txBox="1"/>
          <p:nvPr/>
        </p:nvSpPr>
        <p:spPr>
          <a:xfrm>
            <a:off x="5873764" y="4431004"/>
            <a:ext cx="480725" cy="461665"/>
          </a:xfrm>
          <a:prstGeom prst="rect">
            <a:avLst/>
          </a:prstGeom>
          <a:noFill/>
        </p:spPr>
        <p:txBody>
          <a:bodyPr wrap="square">
            <a:spAutoFit/>
          </a:bodyPr>
          <a:lstStyle/>
          <a:p>
            <a:pPr>
              <a:defRPr sz="2400"/>
            </a:pPr>
            <a:r>
              <a:rPr lang="tr-TR" dirty="0"/>
              <a:t>D</a:t>
            </a:r>
            <a:endParaRPr dirty="0"/>
          </a:p>
        </p:txBody>
      </p:sp>
      <p:grpSp>
        <p:nvGrpSpPr>
          <p:cNvPr id="17" name="Gruppieren 70">
            <a:extLst>
              <a:ext uri="{FF2B5EF4-FFF2-40B4-BE49-F238E27FC236}">
                <a16:creationId xmlns:a16="http://schemas.microsoft.com/office/drawing/2014/main" id="{7B9B9B89-E1CB-169A-6BEE-904F3F5E0529}"/>
              </a:ext>
            </a:extLst>
          </p:cNvPr>
          <p:cNvGrpSpPr/>
          <p:nvPr/>
        </p:nvGrpSpPr>
        <p:grpSpPr>
          <a:xfrm>
            <a:off x="2794321" y="2635726"/>
            <a:ext cx="2378865" cy="869137"/>
            <a:chOff x="4566676" y="2836444"/>
            <a:chExt cx="2378865" cy="869137"/>
          </a:xfrm>
        </p:grpSpPr>
        <p:cxnSp>
          <p:nvCxnSpPr>
            <p:cNvPr id="18" name="Gerade Verbindung mit Pfeil 71">
              <a:extLst>
                <a:ext uri="{FF2B5EF4-FFF2-40B4-BE49-F238E27FC236}">
                  <a16:creationId xmlns:a16="http://schemas.microsoft.com/office/drawing/2014/main" id="{67AB502D-5D92-F1ED-537B-F46F4FF7B63A}"/>
                </a:ext>
              </a:extLst>
            </p:cNvPr>
            <p:cNvCxnSpPr/>
            <p:nvPr/>
          </p:nvCxnSpPr>
          <p:spPr>
            <a:xfrm flipV="1">
              <a:off x="4566676" y="3242090"/>
              <a:ext cx="2378865" cy="10886"/>
            </a:xfrm>
            <a:prstGeom prst="straightConnector1">
              <a:avLst/>
            </a:prstGeom>
            <a:ln w="57150">
              <a:solidFill>
                <a:srgbClr val="5B5B5A"/>
              </a:solidFill>
              <a:tailEnd type="triangle"/>
            </a:ln>
          </p:spPr>
          <p:style>
            <a:lnRef idx="1">
              <a:schemeClr val="accent1"/>
            </a:lnRef>
            <a:fillRef idx="0">
              <a:schemeClr val="accent1"/>
            </a:fillRef>
            <a:effectRef idx="0">
              <a:schemeClr val="accent1"/>
            </a:effectRef>
            <a:fontRef idx="minor">
              <a:schemeClr val="tx1"/>
            </a:fontRef>
          </p:style>
        </p:cxnSp>
        <p:pic>
          <p:nvPicPr>
            <p:cNvPr id="19" name="Grafik 72">
              <a:extLst>
                <a:ext uri="{FF2B5EF4-FFF2-40B4-BE49-F238E27FC236}">
                  <a16:creationId xmlns:a16="http://schemas.microsoft.com/office/drawing/2014/main" id="{E5812477-A096-CD3C-4EEC-ED7E88E335C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38225" y="2836444"/>
              <a:ext cx="441236" cy="441236"/>
            </a:xfrm>
            <a:prstGeom prst="rect">
              <a:avLst/>
            </a:prstGeom>
          </p:spPr>
        </p:pic>
        <p:pic>
          <p:nvPicPr>
            <p:cNvPr id="20" name="Grafik 73">
              <a:extLst>
                <a:ext uri="{FF2B5EF4-FFF2-40B4-BE49-F238E27FC236}">
                  <a16:creationId xmlns:a16="http://schemas.microsoft.com/office/drawing/2014/main" id="{B73EBAC7-930B-09CE-281B-79DAD1DB6DC5}"/>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90625" y="2836444"/>
              <a:ext cx="441236" cy="441236"/>
            </a:xfrm>
            <a:prstGeom prst="rect">
              <a:avLst/>
            </a:prstGeom>
          </p:spPr>
        </p:pic>
        <p:pic>
          <p:nvPicPr>
            <p:cNvPr id="21" name="Grafik 74">
              <a:extLst>
                <a:ext uri="{FF2B5EF4-FFF2-40B4-BE49-F238E27FC236}">
                  <a16:creationId xmlns:a16="http://schemas.microsoft.com/office/drawing/2014/main" id="{23DA58D0-CE6D-7F1A-5EA5-9F617BAD10F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943025" y="2836444"/>
              <a:ext cx="441236" cy="441236"/>
            </a:xfrm>
            <a:prstGeom prst="rect">
              <a:avLst/>
            </a:prstGeom>
          </p:spPr>
        </p:pic>
        <p:pic>
          <p:nvPicPr>
            <p:cNvPr id="22" name="Grafik 75">
              <a:extLst>
                <a:ext uri="{FF2B5EF4-FFF2-40B4-BE49-F238E27FC236}">
                  <a16:creationId xmlns:a16="http://schemas.microsoft.com/office/drawing/2014/main" id="{1F902F0E-FD4C-6D6A-9899-D38773E2E28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095425" y="2836444"/>
              <a:ext cx="441236" cy="441236"/>
            </a:xfrm>
            <a:prstGeom prst="rect">
              <a:avLst/>
            </a:prstGeom>
          </p:spPr>
        </p:pic>
        <p:pic>
          <p:nvPicPr>
            <p:cNvPr id="23" name="Grafik 76">
              <a:extLst>
                <a:ext uri="{FF2B5EF4-FFF2-40B4-BE49-F238E27FC236}">
                  <a16:creationId xmlns:a16="http://schemas.microsoft.com/office/drawing/2014/main" id="{A09B94DD-A3CE-1D52-AB79-641829C7ABC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47825" y="2836444"/>
              <a:ext cx="441236" cy="441236"/>
            </a:xfrm>
            <a:prstGeom prst="rect">
              <a:avLst/>
            </a:prstGeom>
          </p:spPr>
        </p:pic>
        <p:pic>
          <p:nvPicPr>
            <p:cNvPr id="24" name="Grafik 77">
              <a:extLst>
                <a:ext uri="{FF2B5EF4-FFF2-40B4-BE49-F238E27FC236}">
                  <a16:creationId xmlns:a16="http://schemas.microsoft.com/office/drawing/2014/main" id="{016DD3F6-8964-2DF8-18FC-8F87B2A1A0C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00225" y="2836444"/>
              <a:ext cx="441236" cy="441236"/>
            </a:xfrm>
            <a:prstGeom prst="rect">
              <a:avLst/>
            </a:prstGeom>
          </p:spPr>
        </p:pic>
        <p:pic>
          <p:nvPicPr>
            <p:cNvPr id="25" name="Grafik 78">
              <a:extLst>
                <a:ext uri="{FF2B5EF4-FFF2-40B4-BE49-F238E27FC236}">
                  <a16:creationId xmlns:a16="http://schemas.microsoft.com/office/drawing/2014/main" id="{1AFFE460-BC65-1AD7-F937-809C109F969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52625" y="2836444"/>
              <a:ext cx="441236" cy="441236"/>
            </a:xfrm>
            <a:prstGeom prst="rect">
              <a:avLst/>
            </a:prstGeom>
          </p:spPr>
        </p:pic>
        <p:pic>
          <p:nvPicPr>
            <p:cNvPr id="26" name="Grafik 79">
              <a:extLst>
                <a:ext uri="{FF2B5EF4-FFF2-40B4-BE49-F238E27FC236}">
                  <a16:creationId xmlns:a16="http://schemas.microsoft.com/office/drawing/2014/main" id="{E8385AF7-737F-BAE8-B360-C67B8C4950E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05025" y="2836444"/>
              <a:ext cx="441236" cy="441236"/>
            </a:xfrm>
            <a:prstGeom prst="rect">
              <a:avLst/>
            </a:prstGeom>
          </p:spPr>
        </p:pic>
        <p:sp>
          <p:nvSpPr>
            <p:cNvPr id="27" name="Textfeld 80">
              <a:extLst>
                <a:ext uri="{FF2B5EF4-FFF2-40B4-BE49-F238E27FC236}">
                  <a16:creationId xmlns:a16="http://schemas.microsoft.com/office/drawing/2014/main" id="{B7822248-4A2A-2BE2-E066-2D70B305D2F3}"/>
                </a:ext>
              </a:extLst>
            </p:cNvPr>
            <p:cNvSpPr txBox="1"/>
            <p:nvPr/>
          </p:nvSpPr>
          <p:spPr>
            <a:xfrm>
              <a:off x="4701551" y="3336249"/>
              <a:ext cx="625564" cy="369332"/>
            </a:xfrm>
            <a:prstGeom prst="rect">
              <a:avLst/>
            </a:prstGeom>
            <a:noFill/>
          </p:spPr>
          <p:txBody>
            <a:bodyPr wrap="square">
              <a:spAutoFit/>
            </a:bodyPr>
            <a:lstStyle/>
            <a:p>
              <a:r>
                <a:t>8</a:t>
              </a:r>
            </a:p>
          </p:txBody>
        </p:sp>
      </p:grpSp>
      <p:pic>
        <p:nvPicPr>
          <p:cNvPr id="28" name="Grafik 5">
            <a:extLst>
              <a:ext uri="{FF2B5EF4-FFF2-40B4-BE49-F238E27FC236}">
                <a16:creationId xmlns:a16="http://schemas.microsoft.com/office/drawing/2014/main" id="{C0144EDF-5962-4E92-515A-98C49F5073A9}"/>
              </a:ext>
            </a:extLst>
          </p:cNvPr>
          <p:cNvPicPr>
            <a:picLocks noChangeAspect="1"/>
          </p:cNvPicPr>
          <p:nvPr/>
        </p:nvPicPr>
        <p:blipFill>
          <a:blip r:embed="rId6"/>
          <a:stretch>
            <a:fillRect/>
          </a:stretch>
        </p:blipFill>
        <p:spPr>
          <a:xfrm>
            <a:off x="7783201" y="1759534"/>
            <a:ext cx="2793949" cy="1484677"/>
          </a:xfrm>
          <a:prstGeom prst="rect">
            <a:avLst/>
          </a:prstGeom>
        </p:spPr>
      </p:pic>
      <p:pic>
        <p:nvPicPr>
          <p:cNvPr id="29" name="Grafik 7">
            <a:extLst>
              <a:ext uri="{FF2B5EF4-FFF2-40B4-BE49-F238E27FC236}">
                <a16:creationId xmlns:a16="http://schemas.microsoft.com/office/drawing/2014/main" id="{B72B5D90-5A02-770B-B4A8-B097A731D439}"/>
              </a:ext>
            </a:extLst>
          </p:cNvPr>
          <p:cNvPicPr>
            <a:picLocks noChangeAspect="1"/>
          </p:cNvPicPr>
          <p:nvPr/>
        </p:nvPicPr>
        <p:blipFill>
          <a:blip r:embed="rId7"/>
          <a:stretch>
            <a:fillRect/>
          </a:stretch>
        </p:blipFill>
        <p:spPr>
          <a:xfrm>
            <a:off x="7783201" y="4054254"/>
            <a:ext cx="2793950" cy="1484677"/>
          </a:xfrm>
          <a:prstGeom prst="rect">
            <a:avLst/>
          </a:prstGeom>
        </p:spPr>
      </p:pic>
      <p:sp>
        <p:nvSpPr>
          <p:cNvPr id="31" name="TextBox 30">
            <a:extLst>
              <a:ext uri="{FF2B5EF4-FFF2-40B4-BE49-F238E27FC236}">
                <a16:creationId xmlns:a16="http://schemas.microsoft.com/office/drawing/2014/main" id="{23151DB9-5A27-6D8C-ADDD-7196CE4768A9}"/>
              </a:ext>
            </a:extLst>
          </p:cNvPr>
          <p:cNvSpPr txBox="1"/>
          <p:nvPr/>
        </p:nvSpPr>
        <p:spPr>
          <a:xfrm>
            <a:off x="121916" y="1070204"/>
            <a:ext cx="6097508" cy="584775"/>
          </a:xfrm>
          <a:prstGeom prst="rect">
            <a:avLst/>
          </a:prstGeom>
          <a:noFill/>
        </p:spPr>
        <p:txBody>
          <a:bodyPr wrap="square">
            <a:spAutoFit/>
          </a:bodyPr>
          <a:lstStyle/>
          <a:p>
            <a:pPr>
              <a:defRPr sz="3200" b="1"/>
            </a:pPr>
            <a:r>
              <a:t>Temel tanımlar – zaman aralığı</a:t>
            </a:r>
          </a:p>
        </p:txBody>
      </p:sp>
    </p:spTree>
    <p:extLst>
      <p:ext uri="{BB962C8B-B14F-4D97-AF65-F5344CB8AC3E}">
        <p14:creationId xmlns:p14="http://schemas.microsoft.com/office/powerpoint/2010/main" val="411729375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Rechteck 2">
            <a:extLst>
              <a:ext uri="{FF2B5EF4-FFF2-40B4-BE49-F238E27FC236}">
                <a16:creationId xmlns:a16="http://schemas.microsoft.com/office/drawing/2014/main" id="{84689E1D-3D93-1DD5-4010-B7AB24481146}"/>
              </a:ext>
            </a:extLst>
          </p:cNvPr>
          <p:cNvSpPr/>
          <p:nvPr/>
        </p:nvSpPr>
        <p:spPr bwMode="auto">
          <a:xfrm>
            <a:off x="2436577" y="1227604"/>
            <a:ext cx="7276152" cy="4892233"/>
          </a:xfrm>
          <a:prstGeom prst="rect">
            <a:avLst/>
          </a:prstGeom>
          <a:solidFill>
            <a:schemeClr val="bg2">
              <a:lumMod val="60000"/>
              <a:lumOff val="40000"/>
            </a:schemeClr>
          </a:solidFill>
          <a:ln w="9525" cap="flat" cmpd="sng" algn="ctr">
            <a:solidFill>
              <a:schemeClr val="tx1"/>
            </a:solidFill>
            <a:prstDash val="solid"/>
            <a:round/>
            <a:headEnd type="none" w="med" len="med"/>
            <a:tailEnd type="none" w="med" len="med"/>
          </a:ln>
          <a:effectLst/>
        </p:spPr>
        <p:txBody>
          <a:bodyPr vert="horz" wrap="square" lIns="71991" tIns="71991" rIns="71991" bIns="71991" numCol="1" anchor="ctr" anchorCtr="1" compatLnSpc="1">
            <a:prstTxWarp prst="textNoShape">
              <a:avLst/>
            </a:prstTxWarp>
            <a:noAutofit/>
          </a:bodyPr>
          <a:lstStyle/>
          <a:p>
            <a:pPr eaLnBrk="0" hangingPunct="0"/>
            <a:r>
              <a:t>Kordon bölgeleri (Geriye Kalan Yerler)</a:t>
            </a:r>
            <a:br>
              <a:rPr lang="en-US"/>
            </a:br>
            <a:br>
              <a:rPr lang="en-US"/>
            </a:br>
            <a:br>
              <a:rPr lang="en-US"/>
            </a:br>
            <a:br>
              <a:rPr lang="en-US"/>
            </a:br>
            <a:br>
              <a:rPr lang="en-US"/>
            </a:br>
            <a:br>
              <a:rPr lang="en-US"/>
            </a:br>
            <a:br>
              <a:rPr lang="en-US"/>
            </a:br>
            <a:br>
              <a:rPr lang="en-US"/>
            </a:br>
            <a:br>
              <a:rPr lang="en-US"/>
            </a:br>
            <a:br>
              <a:rPr lang="en-US"/>
            </a:br>
            <a:br>
              <a:rPr lang="en-US"/>
            </a:br>
            <a:br>
              <a:rPr lang="en-US"/>
            </a:br>
            <a:br>
              <a:rPr lang="en-US"/>
            </a:br>
            <a:endParaRPr lang="en-US"/>
          </a:p>
        </p:txBody>
      </p:sp>
      <p:sp>
        <p:nvSpPr>
          <p:cNvPr id="3" name="Rechteck 3">
            <a:extLst>
              <a:ext uri="{FF2B5EF4-FFF2-40B4-BE49-F238E27FC236}">
                <a16:creationId xmlns:a16="http://schemas.microsoft.com/office/drawing/2014/main" id="{44170150-0539-C0D5-C0C1-C5DFC262E67B}"/>
              </a:ext>
            </a:extLst>
          </p:cNvPr>
          <p:cNvSpPr/>
          <p:nvPr/>
        </p:nvSpPr>
        <p:spPr bwMode="auto">
          <a:xfrm>
            <a:off x="3178986" y="2057400"/>
            <a:ext cx="5628302" cy="3859263"/>
          </a:xfrm>
          <a:prstGeom prst="rect">
            <a:avLst/>
          </a:prstGeom>
          <a:solidFill>
            <a:schemeClr val="bg2">
              <a:lumMod val="40000"/>
              <a:lumOff val="60000"/>
            </a:schemeClr>
          </a:solidFill>
          <a:ln w="9525" cap="flat" cmpd="sng" algn="ctr">
            <a:solidFill>
              <a:schemeClr val="tx1"/>
            </a:solidFill>
            <a:prstDash val="solid"/>
            <a:round/>
            <a:headEnd type="none" w="med" len="med"/>
            <a:tailEnd type="none" w="med" len="med"/>
          </a:ln>
          <a:effectLst/>
        </p:spPr>
        <p:txBody>
          <a:bodyPr vert="horz" wrap="square" lIns="71991" tIns="71991" rIns="71991" bIns="71991" numCol="1" anchor="ctr" anchorCtr="1" compatLnSpc="1">
            <a:prstTxWarp prst="textNoShape">
              <a:avLst/>
            </a:prstTxWarp>
            <a:noAutofit/>
          </a:bodyPr>
          <a:lstStyle/>
          <a:p>
            <a:pPr eaLnBrk="0" hangingPunct="0"/>
            <a:r>
              <a:t>Genişletilmiş model alanı</a:t>
            </a:r>
          </a:p>
          <a:p>
            <a:pPr eaLnBrk="0" hangingPunct="0"/>
            <a:br>
              <a:rPr lang="en-US"/>
            </a:br>
            <a:br>
              <a:rPr lang="en-US"/>
            </a:br>
            <a:br>
              <a:rPr lang="en-US"/>
            </a:br>
            <a:br>
              <a:rPr lang="en-US"/>
            </a:br>
            <a:br>
              <a:rPr lang="en-US"/>
            </a:br>
            <a:br>
              <a:rPr lang="en-US"/>
            </a:br>
            <a:br>
              <a:rPr lang="en-US"/>
            </a:br>
            <a:br>
              <a:rPr lang="en-US"/>
            </a:br>
            <a:br>
              <a:rPr lang="en-US"/>
            </a:br>
            <a:br>
              <a:rPr lang="en-US"/>
            </a:br>
            <a:endParaRPr lang="en-US"/>
          </a:p>
        </p:txBody>
      </p:sp>
      <p:sp>
        <p:nvSpPr>
          <p:cNvPr id="4" name="Rechteck 4">
            <a:extLst>
              <a:ext uri="{FF2B5EF4-FFF2-40B4-BE49-F238E27FC236}">
                <a16:creationId xmlns:a16="http://schemas.microsoft.com/office/drawing/2014/main" id="{61EBE665-F9CE-D71F-14E6-F34B0F8ECF24}"/>
              </a:ext>
            </a:extLst>
          </p:cNvPr>
          <p:cNvSpPr/>
          <p:nvPr/>
        </p:nvSpPr>
        <p:spPr bwMode="auto">
          <a:xfrm>
            <a:off x="4315932" y="2670464"/>
            <a:ext cx="3453950" cy="2872867"/>
          </a:xfrm>
          <a:prstGeom prst="rect">
            <a:avLst/>
          </a:prstGeom>
          <a:solidFill>
            <a:schemeClr val="bg2">
              <a:lumMod val="20000"/>
              <a:lumOff val="80000"/>
            </a:schemeClr>
          </a:solidFill>
          <a:ln w="9525" cap="flat" cmpd="sng" algn="ctr">
            <a:solidFill>
              <a:schemeClr val="tx1"/>
            </a:solidFill>
            <a:prstDash val="solid"/>
            <a:round/>
            <a:headEnd type="none" w="med" len="med"/>
            <a:tailEnd type="none" w="med" len="med"/>
          </a:ln>
          <a:effectLst/>
        </p:spPr>
        <p:txBody>
          <a:bodyPr vert="horz" wrap="none" lIns="71991" tIns="71991" rIns="71991" bIns="71991" numCol="1" anchor="ctr" anchorCtr="1" compatLnSpc="1">
            <a:prstTxWarp prst="textNoShape">
              <a:avLst/>
            </a:prstTxWarp>
            <a:noAutofit/>
          </a:bodyPr>
          <a:lstStyle/>
          <a:p>
            <a:pPr eaLnBrk="0" hangingPunct="0">
              <a:defRPr sz="1600"/>
            </a:pPr>
            <a:r>
              <a:t>Model alanı</a:t>
            </a:r>
            <a:br>
              <a:rPr lang="en-US"/>
            </a:br>
            <a:br>
              <a:rPr lang="en-US"/>
            </a:br>
            <a:endParaRPr lang="en-US"/>
          </a:p>
          <a:p>
            <a:pPr defTabSz="914309" eaLnBrk="0" hangingPunct="0"/>
            <a:br>
              <a:rPr lang="en-US"/>
            </a:br>
            <a:br>
              <a:rPr lang="en-US"/>
            </a:br>
            <a:br>
              <a:rPr lang="en-US"/>
            </a:br>
            <a:br>
              <a:rPr lang="en-US"/>
            </a:br>
            <a:endParaRPr lang="en-US"/>
          </a:p>
        </p:txBody>
      </p:sp>
      <p:sp>
        <p:nvSpPr>
          <p:cNvPr id="5" name="Pfeil nach rechts 5">
            <a:extLst>
              <a:ext uri="{FF2B5EF4-FFF2-40B4-BE49-F238E27FC236}">
                <a16:creationId xmlns:a16="http://schemas.microsoft.com/office/drawing/2014/main" id="{D602A3CD-82BE-CC6A-9341-1BB73BB4DFCF}"/>
              </a:ext>
            </a:extLst>
          </p:cNvPr>
          <p:cNvSpPr/>
          <p:nvPr/>
        </p:nvSpPr>
        <p:spPr bwMode="auto">
          <a:xfrm>
            <a:off x="2792131" y="4883355"/>
            <a:ext cx="6597165" cy="528848"/>
          </a:xfrm>
          <a:prstGeom prst="rightArrow">
            <a:avLst/>
          </a:prstGeom>
          <a:solidFill>
            <a:schemeClr val="bg1">
              <a:lumMod val="85000"/>
              <a:alpha val="61000"/>
            </a:schemeClr>
          </a:solidFill>
          <a:ln w="9525" cap="flat" cmpd="sng" algn="ctr">
            <a:solidFill>
              <a:schemeClr val="tx1"/>
            </a:solidFill>
            <a:prstDash val="solid"/>
            <a:round/>
            <a:headEnd type="none" w="med" len="med"/>
            <a:tailEnd type="none" w="med" len="med"/>
          </a:ln>
          <a:effectLst/>
        </p:spPr>
        <p:txBody>
          <a:bodyPr vert="horz" wrap="none" lIns="71991" tIns="71991" rIns="71991" bIns="71991" numCol="1" anchor="ctr" anchorCtr="1" compatLnSpc="1">
            <a:prstTxWarp prst="textNoShape">
              <a:avLst/>
            </a:prstTxWarp>
            <a:noAutofit/>
          </a:bodyPr>
          <a:lstStyle/>
          <a:p>
            <a:pPr eaLnBrk="0" hangingPunct="0">
              <a:defRPr sz="1600"/>
            </a:pPr>
            <a:r>
              <a:t>Trafik Yoluyla</a:t>
            </a:r>
          </a:p>
        </p:txBody>
      </p:sp>
      <p:sp>
        <p:nvSpPr>
          <p:cNvPr id="6" name="Nach links gekrümmter Pfeil 6">
            <a:extLst>
              <a:ext uri="{FF2B5EF4-FFF2-40B4-BE49-F238E27FC236}">
                <a16:creationId xmlns:a16="http://schemas.microsoft.com/office/drawing/2014/main" id="{0C138C21-A357-AAC2-B108-16678FED1233}"/>
              </a:ext>
            </a:extLst>
          </p:cNvPr>
          <p:cNvSpPr/>
          <p:nvPr/>
        </p:nvSpPr>
        <p:spPr bwMode="auto">
          <a:xfrm>
            <a:off x="6074713" y="3328698"/>
            <a:ext cx="660314" cy="547934"/>
          </a:xfrm>
          <a:prstGeom prst="curvedLeftArrow">
            <a:avLst/>
          </a:prstGeom>
          <a:solidFill>
            <a:schemeClr val="bg1">
              <a:lumMod val="85000"/>
              <a:alpha val="61000"/>
            </a:schemeClr>
          </a:solidFill>
          <a:ln w="9525" cap="flat" cmpd="sng" algn="ctr">
            <a:solidFill>
              <a:schemeClr val="tx1"/>
            </a:solidFill>
            <a:prstDash val="solid"/>
            <a:round/>
            <a:headEnd type="none" w="med" len="med"/>
            <a:tailEnd type="none" w="med" len="med"/>
          </a:ln>
          <a:effectLst/>
        </p:spPr>
        <p:txBody>
          <a:bodyPr vert="horz" wrap="none" lIns="71991" tIns="71991" rIns="71991" bIns="71991" numCol="1" anchor="ctr" anchorCtr="1" compatLnSpc="1">
            <a:prstTxWarp prst="textNoShape">
              <a:avLst/>
            </a:prstTxWarp>
            <a:noAutofit/>
          </a:bodyPr>
          <a:lstStyle/>
          <a:p>
            <a:pPr eaLnBrk="0" hangingPunct="0"/>
            <a:endParaRPr lang="en-US" sz="1600"/>
          </a:p>
        </p:txBody>
      </p:sp>
      <p:sp>
        <p:nvSpPr>
          <p:cNvPr id="7" name="Nach links gekrümmter Pfeil 7">
            <a:extLst>
              <a:ext uri="{FF2B5EF4-FFF2-40B4-BE49-F238E27FC236}">
                <a16:creationId xmlns:a16="http://schemas.microsoft.com/office/drawing/2014/main" id="{52411E64-065F-866D-7477-091A36C91372}"/>
              </a:ext>
            </a:extLst>
          </p:cNvPr>
          <p:cNvSpPr/>
          <p:nvPr/>
        </p:nvSpPr>
        <p:spPr bwMode="auto">
          <a:xfrm rot="10800000">
            <a:off x="5222672" y="3288242"/>
            <a:ext cx="660314" cy="547934"/>
          </a:xfrm>
          <a:prstGeom prst="curvedLeftArrow">
            <a:avLst/>
          </a:prstGeom>
          <a:solidFill>
            <a:schemeClr val="bg1">
              <a:lumMod val="85000"/>
              <a:alpha val="61000"/>
            </a:schemeClr>
          </a:solidFill>
          <a:ln w="9525" cap="flat" cmpd="sng" algn="ctr">
            <a:solidFill>
              <a:schemeClr val="tx1"/>
            </a:solidFill>
            <a:prstDash val="solid"/>
            <a:round/>
            <a:headEnd type="none" w="med" len="med"/>
            <a:tailEnd type="none" w="med" len="med"/>
          </a:ln>
          <a:effectLst/>
        </p:spPr>
        <p:txBody>
          <a:bodyPr vert="horz" wrap="none" lIns="71991" tIns="71991" rIns="71991" bIns="71991" numCol="1" anchor="ctr" anchorCtr="1" compatLnSpc="1">
            <a:prstTxWarp prst="textNoShape">
              <a:avLst/>
            </a:prstTxWarp>
            <a:noAutofit/>
          </a:bodyPr>
          <a:lstStyle/>
          <a:p>
            <a:pPr eaLnBrk="0" hangingPunct="0"/>
            <a:endParaRPr lang="en-US" sz="1600"/>
          </a:p>
        </p:txBody>
      </p:sp>
      <p:sp>
        <p:nvSpPr>
          <p:cNvPr id="8" name="Pfeil nach rechts 8">
            <a:extLst>
              <a:ext uri="{FF2B5EF4-FFF2-40B4-BE49-F238E27FC236}">
                <a16:creationId xmlns:a16="http://schemas.microsoft.com/office/drawing/2014/main" id="{678894D7-770B-8282-02F1-5D6A6FF190CF}"/>
              </a:ext>
            </a:extLst>
          </p:cNvPr>
          <p:cNvSpPr/>
          <p:nvPr/>
        </p:nvSpPr>
        <p:spPr bwMode="auto">
          <a:xfrm>
            <a:off x="2540000" y="4205353"/>
            <a:ext cx="2367118" cy="528848"/>
          </a:xfrm>
          <a:prstGeom prst="rightArrow">
            <a:avLst/>
          </a:prstGeom>
          <a:solidFill>
            <a:schemeClr val="bg1">
              <a:lumMod val="85000"/>
              <a:alpha val="61000"/>
            </a:schemeClr>
          </a:solidFill>
          <a:ln w="9525" cap="flat" cmpd="sng" algn="ctr">
            <a:solidFill>
              <a:schemeClr val="tx1"/>
            </a:solidFill>
            <a:prstDash val="solid"/>
            <a:round/>
            <a:headEnd type="none" w="med" len="med"/>
            <a:tailEnd type="none" w="med" len="med"/>
          </a:ln>
          <a:effectLst/>
        </p:spPr>
        <p:txBody>
          <a:bodyPr vert="horz" wrap="none" lIns="71991" tIns="71991" rIns="71991" bIns="71991" numCol="1" anchor="ctr" anchorCtr="1" compatLnSpc="1">
            <a:prstTxWarp prst="textNoShape">
              <a:avLst/>
            </a:prstTxWarp>
            <a:noAutofit/>
          </a:bodyPr>
          <a:lstStyle/>
          <a:p>
            <a:pPr eaLnBrk="0" hangingPunct="0">
              <a:defRPr sz="1600"/>
            </a:pPr>
            <a:r>
              <a:t>Varış noktası trafiği</a:t>
            </a:r>
          </a:p>
        </p:txBody>
      </p:sp>
      <p:sp>
        <p:nvSpPr>
          <p:cNvPr id="9" name="Rechteck 10">
            <a:extLst>
              <a:ext uri="{FF2B5EF4-FFF2-40B4-BE49-F238E27FC236}">
                <a16:creationId xmlns:a16="http://schemas.microsoft.com/office/drawing/2014/main" id="{0D1029D6-2E48-8D44-79DE-8B94151B25D7}"/>
              </a:ext>
            </a:extLst>
          </p:cNvPr>
          <p:cNvSpPr/>
          <p:nvPr/>
        </p:nvSpPr>
        <p:spPr bwMode="auto">
          <a:xfrm>
            <a:off x="5117075" y="3887470"/>
            <a:ext cx="1790467" cy="561771"/>
          </a:xfrm>
          <a:prstGeom prst="rect">
            <a:avLst/>
          </a:prstGeom>
          <a:solidFill>
            <a:schemeClr val="bg1">
              <a:lumMod val="85000"/>
              <a:alpha val="61000"/>
            </a:schemeClr>
          </a:solidFill>
          <a:ln w="9525" cap="flat" cmpd="sng" algn="ctr">
            <a:solidFill>
              <a:schemeClr val="tx1"/>
            </a:solidFill>
            <a:prstDash val="solid"/>
            <a:round/>
            <a:headEnd type="none" w="med" len="med"/>
            <a:tailEnd type="none" w="med" len="med"/>
          </a:ln>
          <a:effectLst/>
        </p:spPr>
        <p:txBody>
          <a:bodyPr vert="horz" wrap="none" lIns="71991" tIns="71991" rIns="71991" bIns="71991" numCol="1" anchor="ctr" anchorCtr="1" compatLnSpc="1">
            <a:prstTxWarp prst="textNoShape">
              <a:avLst/>
            </a:prstTxWarp>
            <a:noAutofit/>
          </a:bodyPr>
          <a:lstStyle/>
          <a:p>
            <a:pPr eaLnBrk="0" hangingPunct="0">
              <a:defRPr sz="1600"/>
            </a:pPr>
            <a:r>
              <a:t>İç trafik</a:t>
            </a:r>
          </a:p>
        </p:txBody>
      </p:sp>
      <p:sp>
        <p:nvSpPr>
          <p:cNvPr id="10" name="Pfeil nach rechts 12">
            <a:extLst>
              <a:ext uri="{FF2B5EF4-FFF2-40B4-BE49-F238E27FC236}">
                <a16:creationId xmlns:a16="http://schemas.microsoft.com/office/drawing/2014/main" id="{E3545769-1762-DD22-ECAF-4E51D9110D16}"/>
              </a:ext>
            </a:extLst>
          </p:cNvPr>
          <p:cNvSpPr/>
          <p:nvPr/>
        </p:nvSpPr>
        <p:spPr bwMode="auto">
          <a:xfrm>
            <a:off x="7219247" y="4230596"/>
            <a:ext cx="2170049" cy="528848"/>
          </a:xfrm>
          <a:prstGeom prst="rightArrow">
            <a:avLst/>
          </a:prstGeom>
          <a:solidFill>
            <a:schemeClr val="bg1">
              <a:lumMod val="85000"/>
              <a:alpha val="61000"/>
            </a:schemeClr>
          </a:solidFill>
          <a:ln w="9525" cap="flat" cmpd="sng" algn="ctr">
            <a:solidFill>
              <a:schemeClr val="tx1"/>
            </a:solidFill>
            <a:prstDash val="solid"/>
            <a:round/>
            <a:headEnd type="none" w="med" len="med"/>
            <a:tailEnd type="none" w="med" len="med"/>
          </a:ln>
          <a:effectLst/>
        </p:spPr>
        <p:txBody>
          <a:bodyPr vert="horz" wrap="none" lIns="71991" tIns="71991" rIns="71991" bIns="71991" numCol="1" anchor="ctr" anchorCtr="1" compatLnSpc="1">
            <a:prstTxWarp prst="textNoShape">
              <a:avLst/>
            </a:prstTxWarp>
            <a:noAutofit/>
          </a:bodyPr>
          <a:lstStyle/>
          <a:p>
            <a:pPr eaLnBrk="0" hangingPunct="0">
              <a:defRPr sz="1600"/>
            </a:pPr>
            <a:r>
              <a:t>Orijin Trafiği</a:t>
            </a:r>
          </a:p>
        </p:txBody>
      </p:sp>
      <p:sp useBgFill="1">
        <p:nvSpPr>
          <p:cNvPr id="11" name="Textfeld 13">
            <a:extLst>
              <a:ext uri="{FF2B5EF4-FFF2-40B4-BE49-F238E27FC236}">
                <a16:creationId xmlns:a16="http://schemas.microsoft.com/office/drawing/2014/main" id="{078E1BAD-EA39-EE06-4978-C069F6933480}"/>
              </a:ext>
            </a:extLst>
          </p:cNvPr>
          <p:cNvSpPr txBox="1"/>
          <p:nvPr/>
        </p:nvSpPr>
        <p:spPr>
          <a:xfrm>
            <a:off x="7003316" y="2841786"/>
            <a:ext cx="1648281" cy="369332"/>
          </a:xfrm>
          <a:prstGeom prst="rect">
            <a:avLst/>
          </a:prstGeom>
          <a:ln w="12700">
            <a:solidFill>
              <a:schemeClr val="tx1"/>
            </a:solidFill>
          </a:ln>
        </p:spPr>
        <p:txBody>
          <a:bodyPr wrap="square">
            <a:spAutoFit/>
          </a:bodyPr>
          <a:lstStyle/>
          <a:p>
            <a:pPr algn="ctr"/>
            <a:r>
              <a:t>Model</a:t>
            </a:r>
          </a:p>
        </p:txBody>
      </p:sp>
      <p:sp useBgFill="1">
        <p:nvSpPr>
          <p:cNvPr id="12" name="Textfeld 14">
            <a:extLst>
              <a:ext uri="{FF2B5EF4-FFF2-40B4-BE49-F238E27FC236}">
                <a16:creationId xmlns:a16="http://schemas.microsoft.com/office/drawing/2014/main" id="{0EEBC7E0-8233-A72E-A69D-C2F9192D4E6A}"/>
              </a:ext>
            </a:extLst>
          </p:cNvPr>
          <p:cNvSpPr txBox="1"/>
          <p:nvPr/>
        </p:nvSpPr>
        <p:spPr>
          <a:xfrm>
            <a:off x="8055025" y="3575112"/>
            <a:ext cx="1648281" cy="646331"/>
          </a:xfrm>
          <a:prstGeom prst="rect">
            <a:avLst/>
          </a:prstGeom>
          <a:ln w="12700">
            <a:solidFill>
              <a:schemeClr val="tx1"/>
            </a:solidFill>
          </a:ln>
        </p:spPr>
        <p:txBody>
          <a:bodyPr wrap="square">
            <a:spAutoFit/>
          </a:bodyPr>
          <a:lstStyle/>
          <a:p>
            <a:pPr algn="ctr"/>
            <a:r>
              <a:t>Üst Düzey Model</a:t>
            </a:r>
          </a:p>
        </p:txBody>
      </p:sp>
      <p:sp>
        <p:nvSpPr>
          <p:cNvPr id="14" name="TextBox 13">
            <a:extLst>
              <a:ext uri="{FF2B5EF4-FFF2-40B4-BE49-F238E27FC236}">
                <a16:creationId xmlns:a16="http://schemas.microsoft.com/office/drawing/2014/main" id="{8BE2322A-8F2F-9C36-6314-DE81E4FCAB12}"/>
              </a:ext>
            </a:extLst>
          </p:cNvPr>
          <p:cNvSpPr txBox="1"/>
          <p:nvPr/>
        </p:nvSpPr>
        <p:spPr>
          <a:xfrm>
            <a:off x="8302" y="728599"/>
            <a:ext cx="2308344" cy="2554545"/>
          </a:xfrm>
          <a:prstGeom prst="rect">
            <a:avLst/>
          </a:prstGeom>
          <a:noFill/>
        </p:spPr>
        <p:txBody>
          <a:bodyPr wrap="square">
            <a:spAutoFit/>
          </a:bodyPr>
          <a:lstStyle/>
          <a:p>
            <a:pPr>
              <a:defRPr sz="3200"/>
            </a:pPr>
            <a:r>
              <a:t>Modelin Mekansal Ayrımı – trafik türleri</a:t>
            </a:r>
          </a:p>
        </p:txBody>
      </p:sp>
    </p:spTree>
    <p:extLst>
      <p:ext uri="{BB962C8B-B14F-4D97-AF65-F5344CB8AC3E}">
        <p14:creationId xmlns:p14="http://schemas.microsoft.com/office/powerpoint/2010/main" val="1309124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blinds(horizontal)">
                                      <p:cBhvr>
                                        <p:cTn id="7" dur="500"/>
                                        <p:tgtEl>
                                          <p:spTgt spid="7"/>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blinds(horizontal)">
                                      <p:cBhvr>
                                        <p:cTn id="10" dur="500"/>
                                        <p:tgtEl>
                                          <p:spTgt spid="6"/>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grpId="0" nodeType="click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blinds(horizontal)">
                                      <p:cBhvr>
                                        <p:cTn id="15" dur="500"/>
                                        <p:tgtEl>
                                          <p:spTgt spid="9"/>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blinds(horizontal)">
                                      <p:cBhvr>
                                        <p:cTn id="18" dur="500"/>
                                        <p:tgtEl>
                                          <p:spTgt spid="10"/>
                                        </p:tgtEl>
                                      </p:cBhvr>
                                    </p:animEffect>
                                  </p:childTnLst>
                                </p:cTn>
                              </p:par>
                              <p:par>
                                <p:cTn id="19" presetID="3" presetClass="entr" presetSubtype="1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animEffect transition="in" filter="blinds(horizontal)">
                                      <p:cBhvr>
                                        <p:cTn id="21" dur="500"/>
                                        <p:tgtEl>
                                          <p:spTgt spid="8"/>
                                        </p:tgtEl>
                                      </p:cBhvr>
                                    </p:animEffect>
                                  </p:childTnLst>
                                </p:cTn>
                              </p:par>
                            </p:childTnLst>
                          </p:cTn>
                        </p:par>
                      </p:childTnLst>
                    </p:cTn>
                  </p:par>
                  <p:par>
                    <p:cTn id="22" fill="hold">
                      <p:stCondLst>
                        <p:cond delay="indefinite"/>
                      </p:stCondLst>
                      <p:childTnLst>
                        <p:par>
                          <p:cTn id="23" fill="hold">
                            <p:stCondLst>
                              <p:cond delay="0"/>
                            </p:stCondLst>
                            <p:childTnLst>
                              <p:par>
                                <p:cTn id="24" presetID="3" presetClass="entr" presetSubtype="10" fill="hold" grpId="0" nodeType="click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blinds(horizontal)">
                                      <p:cBhvr>
                                        <p:cTn id="26" dur="500"/>
                                        <p:tgtEl>
                                          <p:spTgt spid="5"/>
                                        </p:tgtEl>
                                      </p:cBhvr>
                                    </p:animEffect>
                                  </p:childTnLst>
                                </p:cTn>
                              </p:par>
                            </p:childTnLst>
                          </p:cTn>
                        </p:par>
                      </p:childTnLst>
                    </p:cTn>
                  </p:par>
                  <p:par>
                    <p:cTn id="27" fill="hold">
                      <p:stCondLst>
                        <p:cond delay="indefinite"/>
                      </p:stCondLst>
                      <p:childTnLst>
                        <p:par>
                          <p:cTn id="28" fill="hold">
                            <p:stCondLst>
                              <p:cond delay="0"/>
                            </p:stCondLst>
                            <p:childTnLst>
                              <p:par>
                                <p:cTn id="29" presetID="3" presetClass="entr" presetSubtype="10" fill="hold" grpId="0"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blinds(horizontal)">
                                      <p:cBhvr>
                                        <p:cTn id="31" dur="500"/>
                                        <p:tgtEl>
                                          <p:spTgt spid="11"/>
                                        </p:tgtEl>
                                      </p:cBhvr>
                                    </p:animEffect>
                                  </p:childTnLst>
                                </p:cTn>
                              </p:par>
                            </p:childTnLst>
                          </p:cTn>
                        </p:par>
                      </p:childTnLst>
                    </p:cTn>
                  </p:par>
                  <p:par>
                    <p:cTn id="32" fill="hold">
                      <p:stCondLst>
                        <p:cond delay="indefinite"/>
                      </p:stCondLst>
                      <p:childTnLst>
                        <p:par>
                          <p:cTn id="33" fill="hold">
                            <p:stCondLst>
                              <p:cond delay="0"/>
                            </p:stCondLst>
                            <p:childTnLst>
                              <p:par>
                                <p:cTn id="34" presetID="3" presetClass="entr" presetSubtype="10" fill="hold" grpId="0" nodeType="click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blinds(horizontal)">
                                      <p:cBhvr>
                                        <p:cTn id="36"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ekstniOkvir 3">
            <a:extLst>
              <a:ext uri="{FF2B5EF4-FFF2-40B4-BE49-F238E27FC236}">
                <a16:creationId xmlns:a16="http://schemas.microsoft.com/office/drawing/2014/main" id="{0D585A6D-22A6-0001-E2F7-349E1CCD31AC}"/>
              </a:ext>
            </a:extLst>
          </p:cNvPr>
          <p:cNvSpPr txBox="1"/>
          <p:nvPr/>
        </p:nvSpPr>
        <p:spPr>
          <a:xfrm>
            <a:off x="-38439" y="1429570"/>
            <a:ext cx="6129102" cy="584775"/>
          </a:xfrm>
          <a:prstGeom prst="rect">
            <a:avLst/>
          </a:prstGeom>
          <a:noFill/>
        </p:spPr>
        <p:txBody>
          <a:bodyPr wrap="square">
            <a:spAutoFit/>
          </a:bodyPr>
          <a:lstStyle/>
          <a:p>
            <a:pPr algn="ctr">
              <a:defRPr sz="3200" b="1"/>
            </a:pPr>
            <a:r>
              <a:t>Ulaşım Planlama Süreci</a:t>
            </a:r>
            <a:endParaRPr lang="hr-HR" sz="3200" b="1" dirty="0">
              <a:ea typeface="MS Mincho" panose="02020609040205080304" pitchFamily="49" charset="-128"/>
              <a:cs typeface="Calibri" panose="020F0502020204030204" pitchFamily="34" charset="0"/>
            </a:endParaRPr>
          </a:p>
        </p:txBody>
      </p:sp>
      <p:sp>
        <p:nvSpPr>
          <p:cNvPr id="3" name="TextBox 2">
            <a:extLst>
              <a:ext uri="{FF2B5EF4-FFF2-40B4-BE49-F238E27FC236}">
                <a16:creationId xmlns:a16="http://schemas.microsoft.com/office/drawing/2014/main" id="{685F8E42-3E4C-02D5-481F-4BE34664FD11}"/>
              </a:ext>
            </a:extLst>
          </p:cNvPr>
          <p:cNvSpPr txBox="1"/>
          <p:nvPr/>
        </p:nvSpPr>
        <p:spPr>
          <a:xfrm>
            <a:off x="1063299" y="2553728"/>
            <a:ext cx="3925625" cy="3419398"/>
          </a:xfrm>
          <a:prstGeom prst="rect">
            <a:avLst/>
          </a:prstGeom>
          <a:noFill/>
        </p:spPr>
        <p:txBody>
          <a:bodyPr wrap="square">
            <a:spAutoFit/>
          </a:bodyPr>
          <a:lstStyle/>
          <a:p>
            <a:pPr algn="just">
              <a:lnSpc>
                <a:spcPct val="90000"/>
              </a:lnSpc>
              <a:spcAft>
                <a:spcPts val="600"/>
              </a:spcAft>
              <a:defRPr sz="1800"/>
            </a:pPr>
            <a:r>
              <a:rPr dirty="0" err="1"/>
              <a:t>Adım</a:t>
            </a:r>
            <a:r>
              <a:rPr dirty="0"/>
              <a:t> 1: </a:t>
            </a:r>
            <a:r>
              <a:rPr dirty="0" err="1"/>
              <a:t>Verilerin</a:t>
            </a:r>
            <a:r>
              <a:rPr dirty="0"/>
              <a:t> </a:t>
            </a:r>
            <a:r>
              <a:rPr dirty="0" err="1"/>
              <a:t>Toplanması</a:t>
            </a:r>
            <a:r>
              <a:rPr dirty="0"/>
              <a:t> </a:t>
            </a:r>
            <a:r>
              <a:rPr dirty="0" err="1"/>
              <a:t>ve</a:t>
            </a:r>
            <a:r>
              <a:rPr dirty="0"/>
              <a:t> </a:t>
            </a:r>
            <a:r>
              <a:rPr dirty="0" err="1"/>
              <a:t>Analizi</a:t>
            </a:r>
            <a:r>
              <a:rPr dirty="0"/>
              <a:t>:</a:t>
            </a:r>
          </a:p>
          <a:p>
            <a:pPr indent="-228600" algn="just">
              <a:lnSpc>
                <a:spcPct val="90000"/>
              </a:lnSpc>
              <a:spcAft>
                <a:spcPts val="600"/>
              </a:spcAft>
              <a:buFont typeface="Arial" panose="020B0604020202020204" pitchFamily="34" charset="0"/>
              <a:buChar char="•"/>
            </a:pPr>
            <a:endParaRPr lang="en-US" sz="1800" dirty="0"/>
          </a:p>
          <a:p>
            <a:pPr marL="285750" indent="-228600" algn="just">
              <a:lnSpc>
                <a:spcPct val="90000"/>
              </a:lnSpc>
              <a:spcAft>
                <a:spcPts val="600"/>
              </a:spcAft>
              <a:buFont typeface="Arial" panose="020B0604020202020204" pitchFamily="34" charset="0"/>
              <a:buChar char="•"/>
              <a:defRPr sz="1800"/>
            </a:pPr>
            <a:r>
              <a:rPr dirty="0" err="1"/>
              <a:t>Seyahat</a:t>
            </a:r>
            <a:r>
              <a:rPr dirty="0"/>
              <a:t> </a:t>
            </a:r>
            <a:r>
              <a:rPr dirty="0" err="1"/>
              <a:t>örüntüleri</a:t>
            </a:r>
            <a:r>
              <a:rPr dirty="0"/>
              <a:t>, </a:t>
            </a:r>
            <a:r>
              <a:rPr dirty="0" err="1"/>
              <a:t>nüfus</a:t>
            </a:r>
            <a:r>
              <a:rPr dirty="0"/>
              <a:t> </a:t>
            </a:r>
            <a:r>
              <a:rPr dirty="0" err="1"/>
              <a:t>demografisi</a:t>
            </a:r>
            <a:r>
              <a:rPr dirty="0"/>
              <a:t>, </a:t>
            </a:r>
            <a:r>
              <a:rPr dirty="0" err="1"/>
              <a:t>arazi</a:t>
            </a:r>
            <a:r>
              <a:rPr dirty="0"/>
              <a:t> </a:t>
            </a:r>
            <a:r>
              <a:rPr dirty="0" err="1"/>
              <a:t>kullanımı</a:t>
            </a:r>
            <a:r>
              <a:rPr dirty="0"/>
              <a:t> </a:t>
            </a:r>
            <a:r>
              <a:rPr dirty="0" err="1"/>
              <a:t>özellikleri</a:t>
            </a:r>
            <a:r>
              <a:rPr dirty="0"/>
              <a:t> </a:t>
            </a:r>
            <a:r>
              <a:rPr dirty="0" err="1"/>
              <a:t>ve</a:t>
            </a:r>
            <a:r>
              <a:rPr dirty="0"/>
              <a:t> </a:t>
            </a:r>
            <a:r>
              <a:rPr dirty="0" err="1"/>
              <a:t>mevcut</a:t>
            </a:r>
            <a:r>
              <a:rPr dirty="0"/>
              <a:t> </a:t>
            </a:r>
            <a:r>
              <a:rPr dirty="0" err="1"/>
              <a:t>altyapı</a:t>
            </a:r>
            <a:r>
              <a:rPr dirty="0"/>
              <a:t> </a:t>
            </a:r>
            <a:r>
              <a:rPr dirty="0" err="1"/>
              <a:t>gibi</a:t>
            </a:r>
            <a:r>
              <a:rPr dirty="0"/>
              <a:t> </a:t>
            </a:r>
            <a:r>
              <a:rPr dirty="0" err="1"/>
              <a:t>unsurların</a:t>
            </a:r>
            <a:r>
              <a:rPr dirty="0"/>
              <a:t> </a:t>
            </a:r>
            <a:r>
              <a:rPr dirty="0" err="1"/>
              <a:t>toplanması</a:t>
            </a:r>
            <a:r>
              <a:rPr dirty="0"/>
              <a:t> </a:t>
            </a:r>
            <a:r>
              <a:rPr dirty="0" err="1"/>
              <a:t>ve</a:t>
            </a:r>
            <a:r>
              <a:rPr dirty="0"/>
              <a:t> </a:t>
            </a:r>
            <a:r>
              <a:rPr dirty="0" err="1"/>
              <a:t>analiz</a:t>
            </a:r>
            <a:r>
              <a:rPr dirty="0"/>
              <a:t> </a:t>
            </a:r>
            <a:r>
              <a:rPr dirty="0" err="1"/>
              <a:t>edilmesi</a:t>
            </a:r>
            <a:r>
              <a:rPr dirty="0"/>
              <a:t>, </a:t>
            </a:r>
            <a:r>
              <a:rPr dirty="0" err="1"/>
              <a:t>ilgili</a:t>
            </a:r>
            <a:r>
              <a:rPr dirty="0"/>
              <a:t> </a:t>
            </a:r>
            <a:r>
              <a:rPr dirty="0" err="1"/>
              <a:t>verilerin</a:t>
            </a:r>
            <a:r>
              <a:rPr dirty="0"/>
              <a:t> </a:t>
            </a:r>
            <a:r>
              <a:rPr dirty="0" err="1"/>
              <a:t>kapsamlı</a:t>
            </a:r>
            <a:r>
              <a:rPr dirty="0"/>
              <a:t> </a:t>
            </a:r>
            <a:r>
              <a:rPr dirty="0" err="1"/>
              <a:t>bir</a:t>
            </a:r>
            <a:r>
              <a:rPr dirty="0"/>
              <a:t> </a:t>
            </a:r>
            <a:r>
              <a:rPr dirty="0" err="1"/>
              <a:t>şekilde</a:t>
            </a:r>
            <a:r>
              <a:rPr dirty="0"/>
              <a:t> </a:t>
            </a:r>
            <a:r>
              <a:rPr dirty="0" err="1"/>
              <a:t>incelenmesini</a:t>
            </a:r>
            <a:r>
              <a:rPr dirty="0"/>
              <a:t> </a:t>
            </a:r>
            <a:r>
              <a:rPr dirty="0" err="1"/>
              <a:t>içeren</a:t>
            </a:r>
            <a:r>
              <a:rPr dirty="0"/>
              <a:t> </a:t>
            </a:r>
            <a:r>
              <a:rPr dirty="0" err="1"/>
              <a:t>bir</a:t>
            </a:r>
            <a:r>
              <a:rPr dirty="0"/>
              <a:t> </a:t>
            </a:r>
            <a:r>
              <a:rPr dirty="0" err="1"/>
              <a:t>süreçtir</a:t>
            </a:r>
            <a:r>
              <a:rPr dirty="0"/>
              <a:t>.</a:t>
            </a:r>
          </a:p>
          <a:p>
            <a:pPr marL="285750" indent="-228600" algn="just">
              <a:lnSpc>
                <a:spcPct val="90000"/>
              </a:lnSpc>
              <a:spcAft>
                <a:spcPts val="600"/>
              </a:spcAft>
              <a:buFont typeface="Arial" panose="020B0604020202020204" pitchFamily="34" charset="0"/>
              <a:buChar char="•"/>
              <a:defRPr sz="1800"/>
            </a:pPr>
            <a:r>
              <a:rPr lang="tr-TR" dirty="0"/>
              <a:t>Kent için</a:t>
            </a:r>
            <a:r>
              <a:rPr dirty="0"/>
              <a:t> </a:t>
            </a:r>
            <a:r>
              <a:rPr dirty="0" err="1"/>
              <a:t>ulaşım</a:t>
            </a:r>
            <a:r>
              <a:rPr dirty="0"/>
              <a:t> </a:t>
            </a:r>
            <a:r>
              <a:rPr dirty="0" err="1"/>
              <a:t>zorluklarını</a:t>
            </a:r>
            <a:r>
              <a:rPr dirty="0"/>
              <a:t> </a:t>
            </a:r>
            <a:r>
              <a:rPr dirty="0" err="1"/>
              <a:t>ve</a:t>
            </a:r>
            <a:r>
              <a:rPr dirty="0"/>
              <a:t> </a:t>
            </a:r>
            <a:r>
              <a:rPr dirty="0" err="1"/>
              <a:t>fırsatlarını</a:t>
            </a:r>
            <a:r>
              <a:rPr dirty="0"/>
              <a:t> </a:t>
            </a:r>
            <a:r>
              <a:rPr dirty="0" err="1"/>
              <a:t>belirle</a:t>
            </a:r>
            <a:r>
              <a:rPr lang="tr-TR" dirty="0"/>
              <a:t>r.</a:t>
            </a:r>
            <a:endParaRPr dirty="0"/>
          </a:p>
          <a:p>
            <a:endParaRPr lang="en-US" dirty="0"/>
          </a:p>
        </p:txBody>
      </p:sp>
      <p:pic>
        <p:nvPicPr>
          <p:cNvPr id="4" name="Picture 3" descr="A picture containing drawing, symbol, cartoon, text  Description automatically generated">
            <a:extLst>
              <a:ext uri="{FF2B5EF4-FFF2-40B4-BE49-F238E27FC236}">
                <a16:creationId xmlns:a16="http://schemas.microsoft.com/office/drawing/2014/main" id="{F234DAF4-6D2B-D787-2302-77D96B712942}"/>
              </a:ext>
            </a:extLst>
          </p:cNvPr>
          <p:cNvPicPr>
            <a:picLocks noChangeAspect="1"/>
          </p:cNvPicPr>
          <p:nvPr/>
        </p:nvPicPr>
        <p:blipFill rotWithShape="1">
          <a:blip r:embed="rId4"/>
          <a:srcRect t="3911" r="3" b="16206"/>
          <a:stretch/>
        </p:blipFill>
        <p:spPr>
          <a:xfrm>
            <a:off x="6101338" y="2015168"/>
            <a:ext cx="5283866" cy="4210442"/>
          </a:xfrm>
          <a:custGeom>
            <a:avLst/>
            <a:gdLst/>
            <a:ahLst/>
            <a:cxnLst/>
            <a:rect l="l" t="t" r="r" b="b"/>
            <a:pathLst>
              <a:path w="5283866" h="4210442">
                <a:moveTo>
                  <a:pt x="839883" y="18"/>
                </a:moveTo>
                <a:cubicBezTo>
                  <a:pt x="851945" y="328"/>
                  <a:pt x="864423" y="4671"/>
                  <a:pt x="875727" y="6050"/>
                </a:cubicBezTo>
                <a:cubicBezTo>
                  <a:pt x="1125267" y="36932"/>
                  <a:pt x="1374804" y="70296"/>
                  <a:pt x="1624617" y="99799"/>
                </a:cubicBezTo>
                <a:cubicBezTo>
                  <a:pt x="1858164" y="127373"/>
                  <a:pt x="2093363" y="133714"/>
                  <a:pt x="2328012" y="148051"/>
                </a:cubicBezTo>
                <a:cubicBezTo>
                  <a:pt x="2612016" y="165424"/>
                  <a:pt x="2895470" y="189965"/>
                  <a:pt x="3177820" y="228566"/>
                </a:cubicBezTo>
                <a:cubicBezTo>
                  <a:pt x="3373866" y="255590"/>
                  <a:pt x="3571843" y="274338"/>
                  <a:pt x="3770646" y="252831"/>
                </a:cubicBezTo>
                <a:cubicBezTo>
                  <a:pt x="3780572" y="251727"/>
                  <a:pt x="3791878" y="248144"/>
                  <a:pt x="3800149" y="251727"/>
                </a:cubicBezTo>
                <a:cubicBezTo>
                  <a:pt x="3896658" y="291986"/>
                  <a:pt x="4001986" y="263033"/>
                  <a:pt x="4102076" y="288400"/>
                </a:cubicBezTo>
                <a:cubicBezTo>
                  <a:pt x="4076434" y="386286"/>
                  <a:pt x="3966416" y="378289"/>
                  <a:pt x="3904377" y="446120"/>
                </a:cubicBezTo>
                <a:cubicBezTo>
                  <a:pt x="4005570" y="473141"/>
                  <a:pt x="4096562" y="500439"/>
                  <a:pt x="4188933" y="520843"/>
                </a:cubicBezTo>
                <a:cubicBezTo>
                  <a:pt x="4286818" y="542350"/>
                  <a:pt x="4369813" y="600531"/>
                  <a:pt x="4465492" y="626449"/>
                </a:cubicBezTo>
                <a:cubicBezTo>
                  <a:pt x="4485897" y="631964"/>
                  <a:pt x="4510437" y="651264"/>
                  <a:pt x="4517606" y="670015"/>
                </a:cubicBezTo>
                <a:cubicBezTo>
                  <a:pt x="4540768" y="730677"/>
                  <a:pt x="5003171" y="900804"/>
                  <a:pt x="4948576" y="954847"/>
                </a:cubicBezTo>
                <a:cubicBezTo>
                  <a:pt x="4925966" y="977182"/>
                  <a:pt x="4896738" y="993174"/>
                  <a:pt x="4866132" y="1015233"/>
                </a:cubicBezTo>
                <a:cubicBezTo>
                  <a:pt x="4912180" y="1056869"/>
                  <a:pt x="4964017" y="1075067"/>
                  <a:pt x="5019164" y="1087474"/>
                </a:cubicBezTo>
                <a:cubicBezTo>
                  <a:pt x="5035708" y="1091335"/>
                  <a:pt x="5051977" y="1099055"/>
                  <a:pt x="5053630" y="1117806"/>
                </a:cubicBezTo>
                <a:cubicBezTo>
                  <a:pt x="5055284" y="1137382"/>
                  <a:pt x="5038464" y="1145101"/>
                  <a:pt x="5024404" y="1154202"/>
                </a:cubicBezTo>
                <a:cubicBezTo>
                  <a:pt x="5004826" y="1166885"/>
                  <a:pt x="4985800" y="1177916"/>
                  <a:pt x="4960984" y="1179569"/>
                </a:cubicBezTo>
                <a:cubicBezTo>
                  <a:pt x="4920176" y="1182051"/>
                  <a:pt x="4900600" y="1217344"/>
                  <a:pt x="4876887" y="1243814"/>
                </a:cubicBezTo>
                <a:cubicBezTo>
                  <a:pt x="4863652" y="1258705"/>
                  <a:pt x="4857034" y="1288759"/>
                  <a:pt x="4880195" y="1293998"/>
                </a:cubicBezTo>
                <a:cubicBezTo>
                  <a:pt x="4935892" y="1306682"/>
                  <a:pt x="4931480" y="1343355"/>
                  <a:pt x="4930104" y="1384991"/>
                </a:cubicBezTo>
                <a:cubicBezTo>
                  <a:pt x="4928173" y="1436553"/>
                  <a:pt x="4895360" y="1460265"/>
                  <a:pt x="4855103" y="1480119"/>
                </a:cubicBezTo>
                <a:cubicBezTo>
                  <a:pt x="4841316" y="1487011"/>
                  <a:pt x="4821740" y="1486735"/>
                  <a:pt x="4816500" y="1508242"/>
                </a:cubicBezTo>
                <a:cubicBezTo>
                  <a:pt x="4839110" y="1528648"/>
                  <a:pt x="4866684" y="1512103"/>
                  <a:pt x="4890949" y="1517893"/>
                </a:cubicBezTo>
                <a:cubicBezTo>
                  <a:pt x="4911077" y="1522581"/>
                  <a:pt x="4944441" y="1520100"/>
                  <a:pt x="4916868" y="1557599"/>
                </a:cubicBezTo>
                <a:cubicBezTo>
                  <a:pt x="4908870" y="1568352"/>
                  <a:pt x="4918245" y="1576625"/>
                  <a:pt x="4928448" y="1577453"/>
                </a:cubicBezTo>
                <a:cubicBezTo>
                  <a:pt x="5010066" y="1586000"/>
                  <a:pt x="4972566" y="1661827"/>
                  <a:pt x="4998760" y="1701809"/>
                </a:cubicBezTo>
                <a:cubicBezTo>
                  <a:pt x="5005928" y="1712836"/>
                  <a:pt x="4998208" y="1731862"/>
                  <a:pt x="4986903" y="1736550"/>
                </a:cubicBezTo>
                <a:cubicBezTo>
                  <a:pt x="4914660" y="1767432"/>
                  <a:pt x="4904735" y="1841053"/>
                  <a:pt x="4869716" y="1904472"/>
                </a:cubicBezTo>
                <a:cubicBezTo>
                  <a:pt x="4907768" y="1929562"/>
                  <a:pt x="4953264" y="1935077"/>
                  <a:pt x="4994348" y="1951346"/>
                </a:cubicBezTo>
                <a:cubicBezTo>
                  <a:pt x="5037087" y="1968441"/>
                  <a:pt x="5037087" y="1981125"/>
                  <a:pt x="5001792" y="2030756"/>
                </a:cubicBezTo>
                <a:cubicBezTo>
                  <a:pt x="5093611" y="2041511"/>
                  <a:pt x="5093611" y="2041511"/>
                  <a:pt x="5065212" y="2119543"/>
                </a:cubicBezTo>
                <a:cubicBezTo>
                  <a:pt x="5142142" y="2126712"/>
                  <a:pt x="5192876" y="2163660"/>
                  <a:pt x="5204732" y="2244450"/>
                </a:cubicBezTo>
                <a:cubicBezTo>
                  <a:pt x="5210523" y="2283604"/>
                  <a:pt x="5245265" y="2302077"/>
                  <a:pt x="5283866" y="2328272"/>
                </a:cubicBezTo>
                <a:cubicBezTo>
                  <a:pt x="5235890" y="2353641"/>
                  <a:pt x="5203354" y="2406580"/>
                  <a:pt x="5147380" y="2350606"/>
                </a:cubicBezTo>
                <a:cubicBezTo>
                  <a:pt x="5126976" y="2330203"/>
                  <a:pt x="5128904" y="2356121"/>
                  <a:pt x="5126148" y="2363566"/>
                </a:cubicBezTo>
                <a:cubicBezTo>
                  <a:pt x="5119532" y="2381764"/>
                  <a:pt x="5133316" y="2393897"/>
                  <a:pt x="5142417" y="2407682"/>
                </a:cubicBezTo>
                <a:cubicBezTo>
                  <a:pt x="5151240" y="2421470"/>
                  <a:pt x="5161718" y="2436083"/>
                  <a:pt x="5164200" y="2451526"/>
                </a:cubicBezTo>
                <a:cubicBezTo>
                  <a:pt x="5165852" y="2462279"/>
                  <a:pt x="5157858" y="2477994"/>
                  <a:pt x="5149034" y="2485992"/>
                </a:cubicBezTo>
                <a:cubicBezTo>
                  <a:pt x="5102710" y="2528178"/>
                  <a:pt x="5130284" y="2623031"/>
                  <a:pt x="5042601" y="2635164"/>
                </a:cubicBezTo>
                <a:cubicBezTo>
                  <a:pt x="5003171" y="2640677"/>
                  <a:pt x="4984146" y="2675420"/>
                  <a:pt x="4955194" y="2694445"/>
                </a:cubicBezTo>
                <a:cubicBezTo>
                  <a:pt x="4854552" y="2760897"/>
                  <a:pt x="4787272" y="2846375"/>
                  <a:pt x="4756116" y="2963836"/>
                </a:cubicBezTo>
                <a:cubicBezTo>
                  <a:pt x="4747568" y="2996372"/>
                  <a:pt x="4714754" y="3022569"/>
                  <a:pt x="4693523" y="3051244"/>
                </a:cubicBezTo>
                <a:cubicBezTo>
                  <a:pt x="4703726" y="3072199"/>
                  <a:pt x="4759424" y="3026979"/>
                  <a:pt x="4739848" y="3082125"/>
                </a:cubicBezTo>
                <a:cubicBezTo>
                  <a:pt x="4724958" y="3123486"/>
                  <a:pt x="4686906" y="3149129"/>
                  <a:pt x="4651060" y="3173670"/>
                </a:cubicBezTo>
                <a:cubicBezTo>
                  <a:pt x="4610252" y="3201518"/>
                  <a:pt x="4565032" y="3223852"/>
                  <a:pt x="4546556" y="3275413"/>
                </a:cubicBezTo>
                <a:cubicBezTo>
                  <a:pt x="4542697" y="3286444"/>
                  <a:pt x="4530288" y="3298024"/>
                  <a:pt x="4519261" y="3302437"/>
                </a:cubicBezTo>
                <a:cubicBezTo>
                  <a:pt x="3944081" y="4209875"/>
                  <a:pt x="2528194" y="4215939"/>
                  <a:pt x="2364961" y="4209597"/>
                </a:cubicBezTo>
                <a:cubicBezTo>
                  <a:pt x="2167260" y="4201602"/>
                  <a:pt x="1980313" y="4145627"/>
                  <a:pt x="1796951" y="4075867"/>
                </a:cubicBezTo>
                <a:cubicBezTo>
                  <a:pt x="1719469" y="4046365"/>
                  <a:pt x="1647505" y="4004453"/>
                  <a:pt x="1572227" y="3971917"/>
                </a:cubicBezTo>
                <a:cubicBezTo>
                  <a:pt x="1468277" y="3926971"/>
                  <a:pt x="1388040" y="3841219"/>
                  <a:pt x="1284364" y="3805097"/>
                </a:cubicBezTo>
                <a:cubicBezTo>
                  <a:pt x="1177655" y="3767873"/>
                  <a:pt x="1086388" y="3699767"/>
                  <a:pt x="976645" y="3670815"/>
                </a:cubicBezTo>
                <a:cubicBezTo>
                  <a:pt x="918742" y="3655375"/>
                  <a:pt x="862768" y="3627527"/>
                  <a:pt x="871866" y="3547839"/>
                </a:cubicBezTo>
                <a:cubicBezTo>
                  <a:pt x="874349" y="3525228"/>
                  <a:pt x="859184" y="3506755"/>
                  <a:pt x="835195" y="3513373"/>
                </a:cubicBezTo>
                <a:cubicBezTo>
                  <a:pt x="789424" y="3525780"/>
                  <a:pt x="768744" y="3492967"/>
                  <a:pt x="743375" y="3468427"/>
                </a:cubicBezTo>
                <a:cubicBezTo>
                  <a:pt x="698156" y="3424863"/>
                  <a:pt x="655142" y="3378540"/>
                  <a:pt x="583175" y="3371370"/>
                </a:cubicBezTo>
                <a:cubicBezTo>
                  <a:pt x="596961" y="3337178"/>
                  <a:pt x="620399" y="3342142"/>
                  <a:pt x="641906" y="3349311"/>
                </a:cubicBezTo>
                <a:cubicBezTo>
                  <a:pt x="698432" y="3368062"/>
                  <a:pt x="754405" y="3389293"/>
                  <a:pt x="810930" y="3408042"/>
                </a:cubicBezTo>
                <a:cubicBezTo>
                  <a:pt x="847878" y="3420175"/>
                  <a:pt x="884551" y="3437271"/>
                  <a:pt x="933908" y="3423758"/>
                </a:cubicBezTo>
                <a:cubicBezTo>
                  <a:pt x="891445" y="3354826"/>
                  <a:pt x="819202" y="3342418"/>
                  <a:pt x="760747" y="3321187"/>
                </a:cubicBezTo>
                <a:cubicBezTo>
                  <a:pt x="687678" y="3294441"/>
                  <a:pt x="644664" y="3243980"/>
                  <a:pt x="593101" y="3187731"/>
                </a:cubicBezTo>
                <a:cubicBezTo>
                  <a:pt x="646869" y="3174220"/>
                  <a:pt x="680233" y="3215581"/>
                  <a:pt x="722419" y="3213374"/>
                </a:cubicBezTo>
                <a:cubicBezTo>
                  <a:pt x="724627" y="3206207"/>
                  <a:pt x="728486" y="3195729"/>
                  <a:pt x="727934" y="3195451"/>
                </a:cubicBezTo>
                <a:cubicBezTo>
                  <a:pt x="659002" y="3164570"/>
                  <a:pt x="626741" y="3106666"/>
                  <a:pt x="615987" y="3036630"/>
                </a:cubicBezTo>
                <a:cubicBezTo>
                  <a:pt x="610473" y="3000510"/>
                  <a:pt x="585381" y="2989205"/>
                  <a:pt x="560564" y="2972660"/>
                </a:cubicBezTo>
                <a:cubicBezTo>
                  <a:pt x="473984" y="2913930"/>
                  <a:pt x="382441" y="2860713"/>
                  <a:pt x="311302" y="2779924"/>
                </a:cubicBezTo>
                <a:cubicBezTo>
                  <a:pt x="393471" y="2790677"/>
                  <a:pt x="459371" y="2843341"/>
                  <a:pt x="547882" y="2865952"/>
                </a:cubicBezTo>
                <a:cubicBezTo>
                  <a:pt x="477570" y="2777166"/>
                  <a:pt x="386577" y="2732222"/>
                  <a:pt x="303582" y="2678453"/>
                </a:cubicBezTo>
                <a:cubicBezTo>
                  <a:pt x="265806" y="2653913"/>
                  <a:pt x="230790" y="2622479"/>
                  <a:pt x="185016" y="2609244"/>
                </a:cubicBezTo>
                <a:cubicBezTo>
                  <a:pt x="168748" y="2604556"/>
                  <a:pt x="142002" y="2594630"/>
                  <a:pt x="154963" y="2568435"/>
                </a:cubicBezTo>
                <a:cubicBezTo>
                  <a:pt x="165990" y="2546654"/>
                  <a:pt x="187773" y="2553269"/>
                  <a:pt x="207627" y="2559612"/>
                </a:cubicBezTo>
                <a:cubicBezTo>
                  <a:pt x="255328" y="2575330"/>
                  <a:pt x="304685" y="2575604"/>
                  <a:pt x="369207" y="2575330"/>
                </a:cubicBezTo>
                <a:cubicBezTo>
                  <a:pt x="315163" y="2503363"/>
                  <a:pt x="216174" y="2524871"/>
                  <a:pt x="169852" y="2449319"/>
                </a:cubicBezTo>
                <a:cubicBezTo>
                  <a:pt x="227755" y="2436083"/>
                  <a:pt x="272424" y="2463381"/>
                  <a:pt x="319299" y="2468619"/>
                </a:cubicBezTo>
                <a:cubicBezTo>
                  <a:pt x="361761" y="2473307"/>
                  <a:pt x="372239" y="2460624"/>
                  <a:pt x="362313" y="2418988"/>
                </a:cubicBezTo>
                <a:cubicBezTo>
                  <a:pt x="346873" y="2354190"/>
                  <a:pt x="370034" y="2321102"/>
                  <a:pt x="431798" y="2338750"/>
                </a:cubicBezTo>
                <a:cubicBezTo>
                  <a:pt x="489149" y="2355293"/>
                  <a:pt x="495215" y="2331030"/>
                  <a:pt x="479775" y="2294082"/>
                </a:cubicBezTo>
                <a:cubicBezTo>
                  <a:pt x="457716" y="2240315"/>
                  <a:pt x="482807" y="2198678"/>
                  <a:pt x="499903" y="2153458"/>
                </a:cubicBezTo>
                <a:cubicBezTo>
                  <a:pt x="526099" y="2084525"/>
                  <a:pt x="515069" y="2050885"/>
                  <a:pt x="458544" y="1999599"/>
                </a:cubicBezTo>
                <a:cubicBezTo>
                  <a:pt x="426835" y="1970921"/>
                  <a:pt x="392645" y="1946658"/>
                  <a:pt x="346596" y="1921843"/>
                </a:cubicBezTo>
                <a:cubicBezTo>
                  <a:pt x="452753" y="1908331"/>
                  <a:pt x="341358" y="1862836"/>
                  <a:pt x="378857" y="1834435"/>
                </a:cubicBezTo>
                <a:cubicBezTo>
                  <a:pt x="453856" y="1822854"/>
                  <a:pt x="515069" y="1913294"/>
                  <a:pt x="617091" y="1887376"/>
                </a:cubicBezTo>
                <a:cubicBezTo>
                  <a:pt x="491080" y="1809066"/>
                  <a:pt x="351835" y="1783423"/>
                  <a:pt x="260568" y="1679198"/>
                </a:cubicBezTo>
                <a:cubicBezTo>
                  <a:pt x="281523" y="1655484"/>
                  <a:pt x="302479" y="1677543"/>
                  <a:pt x="320402" y="1668720"/>
                </a:cubicBezTo>
                <a:cubicBezTo>
                  <a:pt x="319850" y="1663205"/>
                  <a:pt x="321230" y="1654932"/>
                  <a:pt x="317920" y="1652452"/>
                </a:cubicBezTo>
                <a:cubicBezTo>
                  <a:pt x="249815" y="1595650"/>
                  <a:pt x="248711" y="1594273"/>
                  <a:pt x="321779" y="1552359"/>
                </a:cubicBezTo>
                <a:cubicBezTo>
                  <a:pt x="347424" y="1537746"/>
                  <a:pt x="345218" y="1524786"/>
                  <a:pt x="331707" y="1506313"/>
                </a:cubicBezTo>
                <a:cubicBezTo>
                  <a:pt x="322055" y="1493353"/>
                  <a:pt x="310475" y="1481772"/>
                  <a:pt x="315990" y="1453371"/>
                </a:cubicBezTo>
                <a:cubicBezTo>
                  <a:pt x="355971" y="1489769"/>
                  <a:pt x="549259" y="1477912"/>
                  <a:pt x="583450" y="1474052"/>
                </a:cubicBezTo>
                <a:cubicBezTo>
                  <a:pt x="621777" y="1469917"/>
                  <a:pt x="659553" y="1452269"/>
                  <a:pt x="699809" y="1461919"/>
                </a:cubicBezTo>
                <a:cubicBezTo>
                  <a:pt x="732070" y="1469641"/>
                  <a:pt x="881516" y="1544364"/>
                  <a:pt x="902750" y="1458612"/>
                </a:cubicBezTo>
                <a:cubicBezTo>
                  <a:pt x="903853" y="1454475"/>
                  <a:pt x="964237" y="1464127"/>
                  <a:pt x="996774" y="1468814"/>
                </a:cubicBezTo>
                <a:cubicBezTo>
                  <a:pt x="1025451" y="1472674"/>
                  <a:pt x="1057712" y="1489769"/>
                  <a:pt x="1077012" y="1455578"/>
                </a:cubicBezTo>
                <a:cubicBezTo>
                  <a:pt x="1088317" y="1435450"/>
                  <a:pt x="1041719" y="1396571"/>
                  <a:pt x="1000083" y="1393262"/>
                </a:cubicBezTo>
                <a:cubicBezTo>
                  <a:pt x="963961" y="1390229"/>
                  <a:pt x="926186" y="1385817"/>
                  <a:pt x="891720" y="1394089"/>
                </a:cubicBezTo>
                <a:cubicBezTo>
                  <a:pt x="849258" y="1404017"/>
                  <a:pt x="826372" y="1388024"/>
                  <a:pt x="814515" y="1353557"/>
                </a:cubicBezTo>
                <a:cubicBezTo>
                  <a:pt x="801280" y="1315506"/>
                  <a:pt x="775911" y="1297858"/>
                  <a:pt x="740895" y="1280211"/>
                </a:cubicBezTo>
                <a:cubicBezTo>
                  <a:pt x="655967" y="1237474"/>
                  <a:pt x="574352" y="1188118"/>
                  <a:pt x="481154" y="1163301"/>
                </a:cubicBezTo>
                <a:cubicBezTo>
                  <a:pt x="462679" y="1158337"/>
                  <a:pt x="442276" y="1151719"/>
                  <a:pt x="433728" y="1118909"/>
                </a:cubicBezTo>
                <a:cubicBezTo>
                  <a:pt x="686023" y="1167987"/>
                  <a:pt x="915984" y="1295929"/>
                  <a:pt x="1176276" y="1288484"/>
                </a:cubicBezTo>
                <a:cubicBezTo>
                  <a:pt x="1105137" y="1247950"/>
                  <a:pt x="1022694" y="1245745"/>
                  <a:pt x="946867" y="1217344"/>
                </a:cubicBezTo>
                <a:cubicBezTo>
                  <a:pt x="1000635" y="1196113"/>
                  <a:pt x="1051094" y="1218172"/>
                  <a:pt x="1102104" y="1230304"/>
                </a:cubicBezTo>
                <a:cubicBezTo>
                  <a:pt x="1144843" y="1240230"/>
                  <a:pt x="1183446" y="1241885"/>
                  <a:pt x="1188133" y="1182603"/>
                </a:cubicBezTo>
                <a:cubicBezTo>
                  <a:pt x="1186478" y="1178742"/>
                  <a:pt x="1186754" y="1173780"/>
                  <a:pt x="1187030" y="1169092"/>
                </a:cubicBezTo>
                <a:cubicBezTo>
                  <a:pt x="1172690" y="1144552"/>
                  <a:pt x="1150358" y="1131868"/>
                  <a:pt x="1123887" y="1124698"/>
                </a:cubicBezTo>
                <a:cubicBezTo>
                  <a:pt x="1107894" y="1120286"/>
                  <a:pt x="1086663" y="1113668"/>
                  <a:pt x="1086938" y="1096023"/>
                </a:cubicBezTo>
                <a:cubicBezTo>
                  <a:pt x="1087765" y="1030674"/>
                  <a:pt x="1036756" y="1011647"/>
                  <a:pt x="985744" y="992622"/>
                </a:cubicBezTo>
                <a:cubicBezTo>
                  <a:pt x="1014145" y="960086"/>
                  <a:pt x="1036479" y="984074"/>
                  <a:pt x="1057987" y="981594"/>
                </a:cubicBezTo>
                <a:cubicBezTo>
                  <a:pt x="1072049" y="979939"/>
                  <a:pt x="1084733" y="976906"/>
                  <a:pt x="1084733" y="960086"/>
                </a:cubicBezTo>
                <a:cubicBezTo>
                  <a:pt x="1085008" y="946023"/>
                  <a:pt x="1078390" y="930030"/>
                  <a:pt x="1064605" y="929756"/>
                </a:cubicBezTo>
                <a:cubicBezTo>
                  <a:pt x="978300" y="927273"/>
                  <a:pt x="930599" y="836833"/>
                  <a:pt x="840985" y="836558"/>
                </a:cubicBezTo>
                <a:cubicBezTo>
                  <a:pt x="787493" y="836558"/>
                  <a:pt x="868834" y="785547"/>
                  <a:pt x="823615" y="764315"/>
                </a:cubicBezTo>
                <a:cubicBezTo>
                  <a:pt x="813687" y="759628"/>
                  <a:pt x="849533" y="752460"/>
                  <a:pt x="865526" y="753562"/>
                </a:cubicBezTo>
                <a:cubicBezTo>
                  <a:pt x="881242" y="754665"/>
                  <a:pt x="895304" y="768175"/>
                  <a:pt x="914331" y="758525"/>
                </a:cubicBezTo>
                <a:cubicBezTo>
                  <a:pt x="924808" y="724059"/>
                  <a:pt x="897787" y="711375"/>
                  <a:pt x="875452" y="701724"/>
                </a:cubicBezTo>
                <a:cubicBezTo>
                  <a:pt x="823889" y="679390"/>
                  <a:pt x="773706" y="652369"/>
                  <a:pt x="717181" y="644371"/>
                </a:cubicBezTo>
                <a:cubicBezTo>
                  <a:pt x="697053" y="641614"/>
                  <a:pt x="746133" y="604666"/>
                  <a:pt x="755783" y="591707"/>
                </a:cubicBezTo>
                <a:cubicBezTo>
                  <a:pt x="528304" y="455496"/>
                  <a:pt x="254778" y="462388"/>
                  <a:pt x="0" y="352370"/>
                </a:cubicBezTo>
                <a:cubicBezTo>
                  <a:pt x="56250" y="330864"/>
                  <a:pt x="97610" y="346580"/>
                  <a:pt x="135937" y="349889"/>
                </a:cubicBezTo>
                <a:cubicBezTo>
                  <a:pt x="231615" y="358160"/>
                  <a:pt x="326193" y="375256"/>
                  <a:pt x="421595" y="385458"/>
                </a:cubicBezTo>
                <a:cubicBezTo>
                  <a:pt x="468469" y="390421"/>
                  <a:pt x="512035" y="409172"/>
                  <a:pt x="564424" y="379393"/>
                </a:cubicBezTo>
                <a:cubicBezTo>
                  <a:pt x="599443" y="359540"/>
                  <a:pt x="655418" y="381046"/>
                  <a:pt x="698432" y="398694"/>
                </a:cubicBezTo>
                <a:cubicBezTo>
                  <a:pt x="734000" y="413307"/>
                  <a:pt x="767916" y="417167"/>
                  <a:pt x="815067" y="398694"/>
                </a:cubicBezTo>
                <a:cubicBezTo>
                  <a:pt x="772328" y="387389"/>
                  <a:pt x="739515" y="377463"/>
                  <a:pt x="705876" y="370568"/>
                </a:cubicBezTo>
                <a:cubicBezTo>
                  <a:pt x="679130" y="365055"/>
                  <a:pt x="742825" y="342719"/>
                  <a:pt x="775360" y="345477"/>
                </a:cubicBezTo>
                <a:cubicBezTo>
                  <a:pt x="820857" y="349337"/>
                  <a:pt x="795214" y="335000"/>
                  <a:pt x="787493" y="315146"/>
                </a:cubicBezTo>
                <a:cubicBezTo>
                  <a:pt x="779221" y="293915"/>
                  <a:pt x="803761" y="287298"/>
                  <a:pt x="819202" y="291709"/>
                </a:cubicBezTo>
                <a:cubicBezTo>
                  <a:pt x="878484" y="309081"/>
                  <a:pt x="937491" y="278474"/>
                  <a:pt x="998705" y="303291"/>
                </a:cubicBezTo>
                <a:cubicBezTo>
                  <a:pt x="983263" y="242077"/>
                  <a:pt x="949899" y="215331"/>
                  <a:pt x="880139" y="206783"/>
                </a:cubicBezTo>
                <a:cubicBezTo>
                  <a:pt x="853944" y="203475"/>
                  <a:pt x="826647" y="208438"/>
                  <a:pt x="804037" y="190790"/>
                </a:cubicBezTo>
                <a:cubicBezTo>
                  <a:pt x="791076" y="180590"/>
                  <a:pt x="776463" y="168457"/>
                  <a:pt x="786666" y="149707"/>
                </a:cubicBezTo>
                <a:cubicBezTo>
                  <a:pt x="793834" y="136471"/>
                  <a:pt x="809276" y="136471"/>
                  <a:pt x="821960" y="140884"/>
                </a:cubicBezTo>
                <a:cubicBezTo>
                  <a:pt x="878761" y="160461"/>
                  <a:pt x="938043" y="167630"/>
                  <a:pt x="997325" y="174800"/>
                </a:cubicBezTo>
                <a:cubicBezTo>
                  <a:pt x="1006426" y="175902"/>
                  <a:pt x="1016626" y="179487"/>
                  <a:pt x="1026829" y="161287"/>
                </a:cubicBezTo>
                <a:cubicBezTo>
                  <a:pt x="915984" y="131783"/>
                  <a:pt x="810655" y="89872"/>
                  <a:pt x="696777" y="73604"/>
                </a:cubicBezTo>
                <a:cubicBezTo>
                  <a:pt x="698432" y="65884"/>
                  <a:pt x="700086" y="58164"/>
                  <a:pt x="701741" y="50444"/>
                </a:cubicBezTo>
                <a:cubicBezTo>
                  <a:pt x="790801" y="61471"/>
                  <a:pt x="879864" y="72501"/>
                  <a:pt x="992362" y="86289"/>
                </a:cubicBezTo>
                <a:cubicBezTo>
                  <a:pt x="923153" y="42446"/>
                  <a:pt x="857805" y="57060"/>
                  <a:pt x="806519" y="18183"/>
                </a:cubicBezTo>
                <a:cubicBezTo>
                  <a:pt x="816170" y="3431"/>
                  <a:pt x="827820" y="-292"/>
                  <a:pt x="839883" y="18"/>
                </a:cubicBezTo>
                <a:close/>
              </a:path>
            </a:pathLst>
          </a:custGeom>
        </p:spPr>
      </p:pic>
    </p:spTree>
    <p:extLst>
      <p:ext uri="{BB962C8B-B14F-4D97-AF65-F5344CB8AC3E}">
        <p14:creationId xmlns:p14="http://schemas.microsoft.com/office/powerpoint/2010/main" val="256598360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2" name="Grafik 11">
            <a:extLst>
              <a:ext uri="{FF2B5EF4-FFF2-40B4-BE49-F238E27FC236}">
                <a16:creationId xmlns:a16="http://schemas.microsoft.com/office/drawing/2014/main" id="{A980ED99-BA8D-D8EE-F7DB-65B8FE473CB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157266" y="5386201"/>
            <a:ext cx="1847491" cy="923746"/>
          </a:xfrm>
          <a:prstGeom prst="rect">
            <a:avLst/>
          </a:prstGeom>
        </p:spPr>
      </p:pic>
      <p:pic>
        <p:nvPicPr>
          <p:cNvPr id="3" name="Grafik 12">
            <a:extLst>
              <a:ext uri="{FF2B5EF4-FFF2-40B4-BE49-F238E27FC236}">
                <a16:creationId xmlns:a16="http://schemas.microsoft.com/office/drawing/2014/main" id="{8B11AD7E-3062-C223-81D6-B70CE030C45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26920" y="1309661"/>
            <a:ext cx="705330" cy="705330"/>
          </a:xfrm>
          <a:prstGeom prst="rect">
            <a:avLst/>
          </a:prstGeom>
        </p:spPr>
      </p:pic>
      <p:pic>
        <p:nvPicPr>
          <p:cNvPr id="4" name="Grafik 13">
            <a:extLst>
              <a:ext uri="{FF2B5EF4-FFF2-40B4-BE49-F238E27FC236}">
                <a16:creationId xmlns:a16="http://schemas.microsoft.com/office/drawing/2014/main" id="{35E74845-A3BB-87CA-F8B8-8466C5782604}"/>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83619" y="2270901"/>
            <a:ext cx="994784" cy="668625"/>
          </a:xfrm>
          <a:prstGeom prst="rect">
            <a:avLst/>
          </a:prstGeom>
        </p:spPr>
      </p:pic>
      <p:grpSp>
        <p:nvGrpSpPr>
          <p:cNvPr id="5" name="Gruppieren 14">
            <a:extLst>
              <a:ext uri="{FF2B5EF4-FFF2-40B4-BE49-F238E27FC236}">
                <a16:creationId xmlns:a16="http://schemas.microsoft.com/office/drawing/2014/main" id="{EB340F11-8590-C71C-83F9-A3557EA7798C}"/>
              </a:ext>
            </a:extLst>
          </p:cNvPr>
          <p:cNvGrpSpPr/>
          <p:nvPr/>
        </p:nvGrpSpPr>
        <p:grpSpPr>
          <a:xfrm>
            <a:off x="6507744" y="3195436"/>
            <a:ext cx="1156014" cy="839472"/>
            <a:chOff x="9223650" y="1996985"/>
            <a:chExt cx="1982987" cy="1440000"/>
          </a:xfrm>
        </p:grpSpPr>
        <p:grpSp>
          <p:nvGrpSpPr>
            <p:cNvPr id="6" name="Gruppieren 15">
              <a:extLst>
                <a:ext uri="{FF2B5EF4-FFF2-40B4-BE49-F238E27FC236}">
                  <a16:creationId xmlns:a16="http://schemas.microsoft.com/office/drawing/2014/main" id="{2AC0E1D3-DF16-2F40-2C4F-F6CCEDB93C1B}"/>
                </a:ext>
              </a:extLst>
            </p:cNvPr>
            <p:cNvGrpSpPr>
              <a:grpSpLocks noChangeAspect="1"/>
            </p:cNvGrpSpPr>
            <p:nvPr/>
          </p:nvGrpSpPr>
          <p:grpSpPr>
            <a:xfrm>
              <a:off x="9223650" y="1996985"/>
              <a:ext cx="1982987" cy="1440000"/>
              <a:chOff x="8463387" y="976681"/>
              <a:chExt cx="2475296" cy="1797504"/>
            </a:xfrm>
          </p:grpSpPr>
          <p:pic>
            <p:nvPicPr>
              <p:cNvPr id="9" name="Inhaltsplatzhalter 4">
                <a:extLst>
                  <a:ext uri="{FF2B5EF4-FFF2-40B4-BE49-F238E27FC236}">
                    <a16:creationId xmlns:a16="http://schemas.microsoft.com/office/drawing/2014/main" id="{2A51A616-2E29-AFD3-01BF-7D5FE42B5E1F}"/>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gray">
              <a:xfrm>
                <a:off x="8463387" y="976681"/>
                <a:ext cx="2475296" cy="1797504"/>
              </a:xfrm>
              <a:prstGeom prst="rect">
                <a:avLst/>
              </a:prstGeom>
              <a:noFill/>
              <a:ln w="9525">
                <a:noFill/>
                <a:miter lim="800000"/>
                <a:headEnd/>
                <a:tailEnd/>
              </a:ln>
            </p:spPr>
          </p:pic>
          <p:sp>
            <p:nvSpPr>
              <p:cNvPr id="10" name="Ellipse 19">
                <a:extLst>
                  <a:ext uri="{FF2B5EF4-FFF2-40B4-BE49-F238E27FC236}">
                    <a16:creationId xmlns:a16="http://schemas.microsoft.com/office/drawing/2014/main" id="{23E51E3E-B7A9-4592-E948-B145B1CC8FB9}"/>
                  </a:ext>
                </a:extLst>
              </p:cNvPr>
              <p:cNvSpPr/>
              <p:nvPr/>
            </p:nvSpPr>
            <p:spPr>
              <a:xfrm>
                <a:off x="9939768" y="1136641"/>
                <a:ext cx="324000" cy="324000"/>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grpSp>
        <p:sp>
          <p:nvSpPr>
            <p:cNvPr id="7" name="Ellipse 16">
              <a:extLst>
                <a:ext uri="{FF2B5EF4-FFF2-40B4-BE49-F238E27FC236}">
                  <a16:creationId xmlns:a16="http://schemas.microsoft.com/office/drawing/2014/main" id="{C0701E20-BE63-56E7-B676-7E785FBAEEEA}"/>
                </a:ext>
              </a:extLst>
            </p:cNvPr>
            <p:cNvSpPr/>
            <p:nvPr/>
          </p:nvSpPr>
          <p:spPr>
            <a:xfrm>
              <a:off x="10351351" y="2266017"/>
              <a:ext cx="352539" cy="335330"/>
            </a:xfrm>
            <a:prstGeom prst="ellipse">
              <a:avLst/>
            </a:prstGeom>
            <a:noFill/>
            <a:ln w="571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sp>
          <p:nvSpPr>
            <p:cNvPr id="8" name="Rechteck 17">
              <a:extLst>
                <a:ext uri="{FF2B5EF4-FFF2-40B4-BE49-F238E27FC236}">
                  <a16:creationId xmlns:a16="http://schemas.microsoft.com/office/drawing/2014/main" id="{39A1F376-E8A4-F369-BE4F-0C76D0BF889C}"/>
                </a:ext>
              </a:extLst>
            </p:cNvPr>
            <p:cNvSpPr/>
            <p:nvPr/>
          </p:nvSpPr>
          <p:spPr>
            <a:xfrm>
              <a:off x="10270228" y="2403637"/>
              <a:ext cx="488747" cy="27212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grpSp>
      <p:sp>
        <p:nvSpPr>
          <p:cNvPr id="11" name="Ellipse 71">
            <a:extLst>
              <a:ext uri="{FF2B5EF4-FFF2-40B4-BE49-F238E27FC236}">
                <a16:creationId xmlns:a16="http://schemas.microsoft.com/office/drawing/2014/main" id="{BE1BABFA-31DD-3EC1-626E-8C00D1C9F6A0}"/>
              </a:ext>
            </a:extLst>
          </p:cNvPr>
          <p:cNvSpPr/>
          <p:nvPr/>
        </p:nvSpPr>
        <p:spPr>
          <a:xfrm>
            <a:off x="6291873" y="3939848"/>
            <a:ext cx="1584000" cy="1584000"/>
          </a:xfrm>
          <a:prstGeom prst="ellipse">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grpSp>
        <p:nvGrpSpPr>
          <p:cNvPr id="12" name="Gruppieren 55">
            <a:extLst>
              <a:ext uri="{FF2B5EF4-FFF2-40B4-BE49-F238E27FC236}">
                <a16:creationId xmlns:a16="http://schemas.microsoft.com/office/drawing/2014/main" id="{B026F338-6166-67DC-7CF3-8F63AE44B231}"/>
              </a:ext>
            </a:extLst>
          </p:cNvPr>
          <p:cNvGrpSpPr/>
          <p:nvPr/>
        </p:nvGrpSpPr>
        <p:grpSpPr>
          <a:xfrm>
            <a:off x="9336011" y="3834682"/>
            <a:ext cx="864000" cy="864000"/>
            <a:chOff x="8365067" y="2698712"/>
            <a:chExt cx="1080000" cy="1080000"/>
          </a:xfrm>
        </p:grpSpPr>
        <p:sp>
          <p:nvSpPr>
            <p:cNvPr id="13" name="Ellipse 50">
              <a:extLst>
                <a:ext uri="{FF2B5EF4-FFF2-40B4-BE49-F238E27FC236}">
                  <a16:creationId xmlns:a16="http://schemas.microsoft.com/office/drawing/2014/main" id="{7E7D9342-116F-29A7-60BF-5730752B37F3}"/>
                </a:ext>
              </a:extLst>
            </p:cNvPr>
            <p:cNvSpPr/>
            <p:nvPr/>
          </p:nvSpPr>
          <p:spPr>
            <a:xfrm>
              <a:off x="8365067" y="2698712"/>
              <a:ext cx="1080000" cy="1080000"/>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cxnSp>
          <p:nvCxnSpPr>
            <p:cNvPr id="14" name="Gerader Verbinder 52">
              <a:extLst>
                <a:ext uri="{FF2B5EF4-FFF2-40B4-BE49-F238E27FC236}">
                  <a16:creationId xmlns:a16="http://schemas.microsoft.com/office/drawing/2014/main" id="{FF2775A4-72AB-EFF6-1989-E740115E4756}"/>
                </a:ext>
              </a:extLst>
            </p:cNvPr>
            <p:cNvCxnSpPr/>
            <p:nvPr/>
          </p:nvCxnSpPr>
          <p:spPr>
            <a:xfrm flipH="1">
              <a:off x="8641646" y="3227424"/>
              <a:ext cx="248400" cy="188708"/>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r Verbinder 53">
              <a:extLst>
                <a:ext uri="{FF2B5EF4-FFF2-40B4-BE49-F238E27FC236}">
                  <a16:creationId xmlns:a16="http://schemas.microsoft.com/office/drawing/2014/main" id="{E9B814B8-CC17-262C-1BC2-F768B2E28B98}"/>
                </a:ext>
              </a:extLst>
            </p:cNvPr>
            <p:cNvCxnSpPr/>
            <p:nvPr/>
          </p:nvCxnSpPr>
          <p:spPr>
            <a:xfrm rot="16200000">
              <a:off x="8689623" y="3032918"/>
              <a:ext cx="430889" cy="5185"/>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6" name="Gruppieren 56">
            <a:extLst>
              <a:ext uri="{FF2B5EF4-FFF2-40B4-BE49-F238E27FC236}">
                <a16:creationId xmlns:a16="http://schemas.microsoft.com/office/drawing/2014/main" id="{4D159F68-DBA6-8CA3-50AA-1484104BDEDE}"/>
              </a:ext>
            </a:extLst>
          </p:cNvPr>
          <p:cNvGrpSpPr/>
          <p:nvPr/>
        </p:nvGrpSpPr>
        <p:grpSpPr>
          <a:xfrm>
            <a:off x="9336811" y="2698210"/>
            <a:ext cx="862400" cy="862400"/>
            <a:chOff x="8365067" y="2698712"/>
            <a:chExt cx="1080000" cy="1080000"/>
          </a:xfrm>
        </p:grpSpPr>
        <p:sp>
          <p:nvSpPr>
            <p:cNvPr id="17" name="Ellipse 57">
              <a:extLst>
                <a:ext uri="{FF2B5EF4-FFF2-40B4-BE49-F238E27FC236}">
                  <a16:creationId xmlns:a16="http://schemas.microsoft.com/office/drawing/2014/main" id="{5AA3BBA9-EA6E-2A5D-EA86-DC255E300569}"/>
                </a:ext>
              </a:extLst>
            </p:cNvPr>
            <p:cNvSpPr/>
            <p:nvPr/>
          </p:nvSpPr>
          <p:spPr>
            <a:xfrm>
              <a:off x="8365067" y="2698712"/>
              <a:ext cx="1080000" cy="1080000"/>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cxnSp>
          <p:nvCxnSpPr>
            <p:cNvPr id="18" name="Gerader Verbinder 58">
              <a:extLst>
                <a:ext uri="{FF2B5EF4-FFF2-40B4-BE49-F238E27FC236}">
                  <a16:creationId xmlns:a16="http://schemas.microsoft.com/office/drawing/2014/main" id="{E2527647-CC82-668E-4A6C-25305360E74D}"/>
                </a:ext>
              </a:extLst>
            </p:cNvPr>
            <p:cNvCxnSpPr/>
            <p:nvPr/>
          </p:nvCxnSpPr>
          <p:spPr>
            <a:xfrm rot="5400000" flipV="1">
              <a:off x="9051824" y="3066639"/>
              <a:ext cx="0" cy="344147"/>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r Verbinder 59">
              <a:extLst>
                <a:ext uri="{FF2B5EF4-FFF2-40B4-BE49-F238E27FC236}">
                  <a16:creationId xmlns:a16="http://schemas.microsoft.com/office/drawing/2014/main" id="{63A1483C-2035-F829-14C8-9E0D32EF2F3C}"/>
                </a:ext>
              </a:extLst>
            </p:cNvPr>
            <p:cNvCxnSpPr/>
            <p:nvPr/>
          </p:nvCxnSpPr>
          <p:spPr>
            <a:xfrm rot="16200000">
              <a:off x="8689623" y="3032918"/>
              <a:ext cx="430889" cy="5185"/>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0" name="Gruppieren 60">
            <a:extLst>
              <a:ext uri="{FF2B5EF4-FFF2-40B4-BE49-F238E27FC236}">
                <a16:creationId xmlns:a16="http://schemas.microsoft.com/office/drawing/2014/main" id="{E508E3E3-346C-0131-7BC2-84C2E4E07841}"/>
              </a:ext>
            </a:extLst>
          </p:cNvPr>
          <p:cNvGrpSpPr/>
          <p:nvPr/>
        </p:nvGrpSpPr>
        <p:grpSpPr>
          <a:xfrm>
            <a:off x="10806465" y="2697410"/>
            <a:ext cx="864000" cy="864000"/>
            <a:chOff x="8365067" y="2698712"/>
            <a:chExt cx="1080000" cy="1080000"/>
          </a:xfrm>
        </p:grpSpPr>
        <p:sp>
          <p:nvSpPr>
            <p:cNvPr id="21" name="Ellipse 61">
              <a:extLst>
                <a:ext uri="{FF2B5EF4-FFF2-40B4-BE49-F238E27FC236}">
                  <a16:creationId xmlns:a16="http://schemas.microsoft.com/office/drawing/2014/main" id="{7FE03F37-9D5D-F260-C585-9F003353451C}"/>
                </a:ext>
              </a:extLst>
            </p:cNvPr>
            <p:cNvSpPr/>
            <p:nvPr/>
          </p:nvSpPr>
          <p:spPr>
            <a:xfrm>
              <a:off x="8365067" y="2698712"/>
              <a:ext cx="1080000" cy="1080000"/>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cxnSp>
          <p:nvCxnSpPr>
            <p:cNvPr id="22" name="Gerader Verbinder 62">
              <a:extLst>
                <a:ext uri="{FF2B5EF4-FFF2-40B4-BE49-F238E27FC236}">
                  <a16:creationId xmlns:a16="http://schemas.microsoft.com/office/drawing/2014/main" id="{CF0BD46B-B728-97E6-9338-7FE109020759}"/>
                </a:ext>
              </a:extLst>
            </p:cNvPr>
            <p:cNvCxnSpPr/>
            <p:nvPr/>
          </p:nvCxnSpPr>
          <p:spPr>
            <a:xfrm>
              <a:off x="8891039" y="3227424"/>
              <a:ext cx="344150" cy="210277"/>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r Verbinder 63">
              <a:extLst>
                <a:ext uri="{FF2B5EF4-FFF2-40B4-BE49-F238E27FC236}">
                  <a16:creationId xmlns:a16="http://schemas.microsoft.com/office/drawing/2014/main" id="{FAC81E52-FB70-F937-F28E-D3C32DBF3167}"/>
                </a:ext>
              </a:extLst>
            </p:cNvPr>
            <p:cNvCxnSpPr/>
            <p:nvPr/>
          </p:nvCxnSpPr>
          <p:spPr>
            <a:xfrm rot="16200000">
              <a:off x="8689623" y="3032918"/>
              <a:ext cx="430889" cy="5185"/>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4" name="Gruppieren 64">
            <a:extLst>
              <a:ext uri="{FF2B5EF4-FFF2-40B4-BE49-F238E27FC236}">
                <a16:creationId xmlns:a16="http://schemas.microsoft.com/office/drawing/2014/main" id="{4BF0C60C-E4E0-E311-7E45-B4F6FD2E7778}"/>
              </a:ext>
            </a:extLst>
          </p:cNvPr>
          <p:cNvGrpSpPr/>
          <p:nvPr/>
        </p:nvGrpSpPr>
        <p:grpSpPr>
          <a:xfrm>
            <a:off x="10780474" y="3846554"/>
            <a:ext cx="864000" cy="864000"/>
            <a:chOff x="8365067" y="2698712"/>
            <a:chExt cx="1080000" cy="1080000"/>
          </a:xfrm>
        </p:grpSpPr>
        <p:sp>
          <p:nvSpPr>
            <p:cNvPr id="25" name="Ellipse 65">
              <a:extLst>
                <a:ext uri="{FF2B5EF4-FFF2-40B4-BE49-F238E27FC236}">
                  <a16:creationId xmlns:a16="http://schemas.microsoft.com/office/drawing/2014/main" id="{8A2E53B4-5687-304E-C7FF-54374DCC2997}"/>
                </a:ext>
              </a:extLst>
            </p:cNvPr>
            <p:cNvSpPr/>
            <p:nvPr/>
          </p:nvSpPr>
          <p:spPr>
            <a:xfrm>
              <a:off x="8365067" y="2698712"/>
              <a:ext cx="1080000" cy="1080000"/>
            </a:xfrm>
            <a:prstGeom prst="ellipse">
              <a:avLst/>
            </a:prstGeom>
            <a:noFill/>
            <a:ln w="571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cxnSp>
          <p:nvCxnSpPr>
            <p:cNvPr id="26" name="Gerader Verbinder 66">
              <a:extLst>
                <a:ext uri="{FF2B5EF4-FFF2-40B4-BE49-F238E27FC236}">
                  <a16:creationId xmlns:a16="http://schemas.microsoft.com/office/drawing/2014/main" id="{FB1EDA70-0C94-B4CA-DB0E-2D8AE16EABD6}"/>
                </a:ext>
              </a:extLst>
            </p:cNvPr>
            <p:cNvCxnSpPr/>
            <p:nvPr/>
          </p:nvCxnSpPr>
          <p:spPr>
            <a:xfrm rot="5400000" flipV="1">
              <a:off x="8747021" y="3066639"/>
              <a:ext cx="0" cy="344147"/>
            </a:xfrm>
            <a:prstGeom prst="line">
              <a:avLst/>
            </a:prstGeom>
            <a:ln w="762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67">
              <a:extLst>
                <a:ext uri="{FF2B5EF4-FFF2-40B4-BE49-F238E27FC236}">
                  <a16:creationId xmlns:a16="http://schemas.microsoft.com/office/drawing/2014/main" id="{C29E6CCC-2967-45E7-03F0-6276CCA267A5}"/>
                </a:ext>
              </a:extLst>
            </p:cNvPr>
            <p:cNvCxnSpPr/>
            <p:nvPr/>
          </p:nvCxnSpPr>
          <p:spPr>
            <a:xfrm rot="16200000">
              <a:off x="8689623" y="3044207"/>
              <a:ext cx="430889" cy="5185"/>
            </a:xfrm>
            <a:prstGeom prst="line">
              <a:avLst/>
            </a:prstGeom>
            <a:ln w="571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8" name="Pfeil nach rechts 73">
            <a:extLst>
              <a:ext uri="{FF2B5EF4-FFF2-40B4-BE49-F238E27FC236}">
                <a16:creationId xmlns:a16="http://schemas.microsoft.com/office/drawing/2014/main" id="{F052AB7D-32D6-207C-EE89-47C4FA8C64C5}"/>
              </a:ext>
            </a:extLst>
          </p:cNvPr>
          <p:cNvSpPr/>
          <p:nvPr/>
        </p:nvSpPr>
        <p:spPr>
          <a:xfrm>
            <a:off x="2430124" y="2885326"/>
            <a:ext cx="1432706" cy="1440000"/>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Ins="0" anchor="ctr"/>
          <a:lstStyle/>
          <a:p>
            <a:pPr algn="ctr">
              <a:defRPr>
                <a:solidFill>
                  <a:schemeClr val="tx1"/>
                </a:solidFill>
              </a:defRPr>
            </a:pPr>
            <a:r>
              <a:rPr dirty="0" err="1"/>
              <a:t>Nereye</a:t>
            </a:r>
            <a:endParaRPr lang="de-DE" dirty="0">
              <a:solidFill>
                <a:schemeClr val="tx1"/>
              </a:solidFill>
            </a:endParaRPr>
          </a:p>
        </p:txBody>
      </p:sp>
      <p:pic>
        <p:nvPicPr>
          <p:cNvPr id="29" name="Grafik 21">
            <a:extLst>
              <a:ext uri="{FF2B5EF4-FFF2-40B4-BE49-F238E27FC236}">
                <a16:creationId xmlns:a16="http://schemas.microsoft.com/office/drawing/2014/main" id="{A5E475A6-2C24-AD28-DF88-856C6B5D7CA2}"/>
              </a:ext>
            </a:extLst>
          </p:cNvPr>
          <p:cNvPicPr>
            <a:picLocks noChangeAspect="1"/>
          </p:cNvPicPr>
          <p:nvPr/>
        </p:nvPicPr>
        <p:blipFill>
          <a:blip r:embed="rId8"/>
          <a:stretch>
            <a:fillRect/>
          </a:stretch>
        </p:blipFill>
        <p:spPr>
          <a:xfrm rot="2488419">
            <a:off x="280677" y="2430746"/>
            <a:ext cx="2181304" cy="2223005"/>
          </a:xfrm>
          <a:prstGeom prst="rect">
            <a:avLst/>
          </a:prstGeom>
        </p:spPr>
      </p:pic>
      <p:pic>
        <p:nvPicPr>
          <p:cNvPr id="30" name="Grafik 68">
            <a:extLst>
              <a:ext uri="{FF2B5EF4-FFF2-40B4-BE49-F238E27FC236}">
                <a16:creationId xmlns:a16="http://schemas.microsoft.com/office/drawing/2014/main" id="{154002F7-C4A2-EEA5-4019-F1832A233975}"/>
              </a:ext>
            </a:extLst>
          </p:cNvPr>
          <p:cNvPicPr>
            <a:picLocks noChangeAspect="1"/>
          </p:cNvPicPr>
          <p:nvPr/>
        </p:nvPicPr>
        <p:blipFill>
          <a:blip r:embed="rId8"/>
          <a:stretch>
            <a:fillRect/>
          </a:stretch>
        </p:blipFill>
        <p:spPr>
          <a:xfrm rot="2488419">
            <a:off x="3688151" y="3132399"/>
            <a:ext cx="1184169" cy="1206807"/>
          </a:xfrm>
          <a:prstGeom prst="rect">
            <a:avLst/>
          </a:prstGeom>
        </p:spPr>
      </p:pic>
      <p:pic>
        <p:nvPicPr>
          <p:cNvPr id="31" name="Grafik 69">
            <a:extLst>
              <a:ext uri="{FF2B5EF4-FFF2-40B4-BE49-F238E27FC236}">
                <a16:creationId xmlns:a16="http://schemas.microsoft.com/office/drawing/2014/main" id="{FC1610D2-3B0C-A635-8DAD-81E9191C60E9}"/>
              </a:ext>
            </a:extLst>
          </p:cNvPr>
          <p:cNvPicPr>
            <a:picLocks noChangeAspect="1"/>
          </p:cNvPicPr>
          <p:nvPr/>
        </p:nvPicPr>
        <p:blipFill>
          <a:blip r:embed="rId8"/>
          <a:stretch>
            <a:fillRect/>
          </a:stretch>
        </p:blipFill>
        <p:spPr>
          <a:xfrm rot="2488419">
            <a:off x="3688150" y="1492979"/>
            <a:ext cx="1184169" cy="1206807"/>
          </a:xfrm>
          <a:prstGeom prst="rect">
            <a:avLst/>
          </a:prstGeom>
        </p:spPr>
      </p:pic>
      <p:pic>
        <p:nvPicPr>
          <p:cNvPr id="32" name="Grafik 74">
            <a:extLst>
              <a:ext uri="{FF2B5EF4-FFF2-40B4-BE49-F238E27FC236}">
                <a16:creationId xmlns:a16="http://schemas.microsoft.com/office/drawing/2014/main" id="{E43897EA-1978-898A-4499-ADEA16E8C840}"/>
              </a:ext>
            </a:extLst>
          </p:cNvPr>
          <p:cNvPicPr>
            <a:picLocks noChangeAspect="1"/>
          </p:cNvPicPr>
          <p:nvPr/>
        </p:nvPicPr>
        <p:blipFill>
          <a:blip r:embed="rId8"/>
          <a:stretch>
            <a:fillRect/>
          </a:stretch>
        </p:blipFill>
        <p:spPr>
          <a:xfrm rot="2488419">
            <a:off x="3688149" y="4896048"/>
            <a:ext cx="1184169" cy="1206807"/>
          </a:xfrm>
          <a:prstGeom prst="rect">
            <a:avLst/>
          </a:prstGeom>
        </p:spPr>
      </p:pic>
      <p:sp>
        <p:nvSpPr>
          <p:cNvPr id="33" name="Textfeld 75">
            <a:extLst>
              <a:ext uri="{FF2B5EF4-FFF2-40B4-BE49-F238E27FC236}">
                <a16:creationId xmlns:a16="http://schemas.microsoft.com/office/drawing/2014/main" id="{B30D874D-1E6C-568C-D6BA-5F9649A7ADA3}"/>
              </a:ext>
            </a:extLst>
          </p:cNvPr>
          <p:cNvSpPr txBox="1"/>
          <p:nvPr/>
        </p:nvSpPr>
        <p:spPr>
          <a:xfrm>
            <a:off x="4235370" y="1800397"/>
            <a:ext cx="396306" cy="415498"/>
          </a:xfrm>
          <a:prstGeom prst="rect">
            <a:avLst/>
          </a:prstGeom>
          <a:noFill/>
        </p:spPr>
        <p:txBody>
          <a:bodyPr wrap="square">
            <a:spAutoFit/>
          </a:bodyPr>
          <a:lstStyle/>
          <a:p>
            <a:pPr>
              <a:defRPr sz="2100"/>
            </a:pPr>
            <a:r>
              <a:t>İ</a:t>
            </a:r>
          </a:p>
        </p:txBody>
      </p:sp>
      <p:sp>
        <p:nvSpPr>
          <p:cNvPr id="34" name="Textfeld 81">
            <a:extLst>
              <a:ext uri="{FF2B5EF4-FFF2-40B4-BE49-F238E27FC236}">
                <a16:creationId xmlns:a16="http://schemas.microsoft.com/office/drawing/2014/main" id="{7C748491-5725-1EAC-486A-DBAE9DD92311}"/>
              </a:ext>
            </a:extLst>
          </p:cNvPr>
          <p:cNvSpPr txBox="1"/>
          <p:nvPr/>
        </p:nvSpPr>
        <p:spPr>
          <a:xfrm>
            <a:off x="4178029" y="4015420"/>
            <a:ext cx="396306" cy="415498"/>
          </a:xfrm>
          <a:prstGeom prst="rect">
            <a:avLst/>
          </a:prstGeom>
          <a:noFill/>
        </p:spPr>
        <p:txBody>
          <a:bodyPr wrap="square">
            <a:spAutoFit/>
          </a:bodyPr>
          <a:lstStyle/>
          <a:p>
            <a:pPr>
              <a:defRPr sz="2100"/>
            </a:pPr>
            <a:r>
              <a:t>İ</a:t>
            </a:r>
          </a:p>
        </p:txBody>
      </p:sp>
      <p:sp>
        <p:nvSpPr>
          <p:cNvPr id="35" name="Ellipse 70">
            <a:extLst>
              <a:ext uri="{FF2B5EF4-FFF2-40B4-BE49-F238E27FC236}">
                <a16:creationId xmlns:a16="http://schemas.microsoft.com/office/drawing/2014/main" id="{E9F033E6-DDE1-01B7-5762-59C720B8E4DB}"/>
              </a:ext>
            </a:extLst>
          </p:cNvPr>
          <p:cNvSpPr/>
          <p:nvPr/>
        </p:nvSpPr>
        <p:spPr>
          <a:xfrm>
            <a:off x="3455859" y="4759681"/>
            <a:ext cx="1584000" cy="1584000"/>
          </a:xfrm>
          <a:prstGeom prst="ellipse">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grpSp>
        <p:nvGrpSpPr>
          <p:cNvPr id="36" name="Gruppieren 87">
            <a:extLst>
              <a:ext uri="{FF2B5EF4-FFF2-40B4-BE49-F238E27FC236}">
                <a16:creationId xmlns:a16="http://schemas.microsoft.com/office/drawing/2014/main" id="{36966BA7-689F-2C6D-BF20-F6EE365BB6F3}"/>
              </a:ext>
            </a:extLst>
          </p:cNvPr>
          <p:cNvGrpSpPr>
            <a:grpSpLocks noChangeAspect="1"/>
          </p:cNvGrpSpPr>
          <p:nvPr/>
        </p:nvGrpSpPr>
        <p:grpSpPr>
          <a:xfrm>
            <a:off x="6503004" y="4290818"/>
            <a:ext cx="1156016" cy="839473"/>
            <a:chOff x="8463387" y="3439885"/>
            <a:chExt cx="2475296" cy="1797504"/>
          </a:xfrm>
        </p:grpSpPr>
        <p:pic>
          <p:nvPicPr>
            <p:cNvPr id="37" name="Inhaltsplatzhalter 4">
              <a:extLst>
                <a:ext uri="{FF2B5EF4-FFF2-40B4-BE49-F238E27FC236}">
                  <a16:creationId xmlns:a16="http://schemas.microsoft.com/office/drawing/2014/main" id="{112A630D-6994-AB2E-86F6-FD005CF1D9B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bwMode="gray">
            <a:xfrm>
              <a:off x="8463387" y="3439885"/>
              <a:ext cx="2475296" cy="1797504"/>
            </a:xfrm>
            <a:prstGeom prst="rect">
              <a:avLst/>
            </a:prstGeom>
            <a:noFill/>
            <a:ln w="9525">
              <a:noFill/>
              <a:miter lim="800000"/>
              <a:headEnd/>
              <a:tailEnd/>
            </a:ln>
          </p:spPr>
        </p:pic>
        <p:sp>
          <p:nvSpPr>
            <p:cNvPr id="38" name="Ellipse 93">
              <a:extLst>
                <a:ext uri="{FF2B5EF4-FFF2-40B4-BE49-F238E27FC236}">
                  <a16:creationId xmlns:a16="http://schemas.microsoft.com/office/drawing/2014/main" id="{BD7DB69A-F8BA-39A6-295D-4B811EC13B22}"/>
                </a:ext>
              </a:extLst>
            </p:cNvPr>
            <p:cNvSpPr/>
            <p:nvPr/>
          </p:nvSpPr>
          <p:spPr>
            <a:xfrm>
              <a:off x="9067348" y="3587807"/>
              <a:ext cx="324000" cy="324000"/>
            </a:xfrm>
            <a:prstGeom prst="ellipse">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sp>
          <p:nvSpPr>
            <p:cNvPr id="39" name="Ellipse 94">
              <a:extLst>
                <a:ext uri="{FF2B5EF4-FFF2-40B4-BE49-F238E27FC236}">
                  <a16:creationId xmlns:a16="http://schemas.microsoft.com/office/drawing/2014/main" id="{A41123FD-9878-EFE9-5566-AB8351FAC459}"/>
                </a:ext>
              </a:extLst>
            </p:cNvPr>
            <p:cNvSpPr/>
            <p:nvPr/>
          </p:nvSpPr>
          <p:spPr>
            <a:xfrm>
              <a:off x="9992284" y="3576921"/>
              <a:ext cx="324000" cy="324000"/>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grpSp>
      <p:sp>
        <p:nvSpPr>
          <p:cNvPr id="40" name="Pfeil nach rechts 73">
            <a:extLst>
              <a:ext uri="{FF2B5EF4-FFF2-40B4-BE49-F238E27FC236}">
                <a16:creationId xmlns:a16="http://schemas.microsoft.com/office/drawing/2014/main" id="{6FF14C50-FB72-6B15-E646-396D66A87E77}"/>
              </a:ext>
            </a:extLst>
          </p:cNvPr>
          <p:cNvSpPr/>
          <p:nvPr/>
        </p:nvSpPr>
        <p:spPr>
          <a:xfrm>
            <a:off x="4831735" y="2885326"/>
            <a:ext cx="1544998" cy="1440000"/>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Ins="0" anchor="ctr"/>
          <a:lstStyle/>
          <a:p>
            <a:pPr algn="ctr">
              <a:defRPr>
                <a:solidFill>
                  <a:schemeClr val="tx1"/>
                </a:solidFill>
              </a:defRPr>
            </a:pPr>
            <a:r>
              <a:rPr lang="tr-TR" dirty="0"/>
              <a:t>Ne ile</a:t>
            </a:r>
            <a:endParaRPr lang="de-DE" dirty="0">
              <a:solidFill>
                <a:schemeClr val="tx1"/>
              </a:solidFill>
            </a:endParaRPr>
          </a:p>
        </p:txBody>
      </p:sp>
      <p:sp>
        <p:nvSpPr>
          <p:cNvPr id="41" name="Pfeil nach rechts 73">
            <a:extLst>
              <a:ext uri="{FF2B5EF4-FFF2-40B4-BE49-F238E27FC236}">
                <a16:creationId xmlns:a16="http://schemas.microsoft.com/office/drawing/2014/main" id="{3D474BC6-9A54-1C1E-F687-119C8637DD9D}"/>
              </a:ext>
            </a:extLst>
          </p:cNvPr>
          <p:cNvSpPr/>
          <p:nvPr/>
        </p:nvSpPr>
        <p:spPr>
          <a:xfrm>
            <a:off x="7830886" y="2895980"/>
            <a:ext cx="1432706" cy="1440000"/>
          </a:xfrm>
          <a:prstGeom prst="rightArrow">
            <a:avLst/>
          </a:prstGeom>
        </p:spPr>
        <p:style>
          <a:lnRef idx="2">
            <a:schemeClr val="accent6">
              <a:shade val="50000"/>
            </a:schemeClr>
          </a:lnRef>
          <a:fillRef idx="1">
            <a:schemeClr val="accent6"/>
          </a:fillRef>
          <a:effectRef idx="0">
            <a:schemeClr val="accent6"/>
          </a:effectRef>
          <a:fontRef idx="minor">
            <a:schemeClr val="lt1"/>
          </a:fontRef>
        </p:style>
        <p:txBody>
          <a:bodyPr rIns="0" anchor="ctr"/>
          <a:lstStyle/>
          <a:p>
            <a:pPr algn="ctr">
              <a:defRPr>
                <a:solidFill>
                  <a:schemeClr val="tx1"/>
                </a:solidFill>
              </a:defRPr>
            </a:pPr>
            <a:r>
              <a:t>Ne zaman</a:t>
            </a:r>
            <a:endParaRPr lang="de-DE" dirty="0">
              <a:solidFill>
                <a:schemeClr val="tx1"/>
              </a:solidFill>
            </a:endParaRPr>
          </a:p>
        </p:txBody>
      </p:sp>
      <p:sp>
        <p:nvSpPr>
          <p:cNvPr id="42" name="Ellipse 97">
            <a:extLst>
              <a:ext uri="{FF2B5EF4-FFF2-40B4-BE49-F238E27FC236}">
                <a16:creationId xmlns:a16="http://schemas.microsoft.com/office/drawing/2014/main" id="{2BF1C39C-DA15-09D0-BDD3-190D855D06A4}"/>
              </a:ext>
            </a:extLst>
          </p:cNvPr>
          <p:cNvSpPr/>
          <p:nvPr/>
        </p:nvSpPr>
        <p:spPr>
          <a:xfrm>
            <a:off x="446934" y="1994275"/>
            <a:ext cx="1584000" cy="1584000"/>
          </a:xfrm>
          <a:prstGeom prst="ellipse">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sp>
        <p:nvSpPr>
          <p:cNvPr id="43" name="Textfeld 4">
            <a:extLst>
              <a:ext uri="{FF2B5EF4-FFF2-40B4-BE49-F238E27FC236}">
                <a16:creationId xmlns:a16="http://schemas.microsoft.com/office/drawing/2014/main" id="{112D8175-3C2A-5A5D-232C-9C4C43E67406}"/>
              </a:ext>
            </a:extLst>
          </p:cNvPr>
          <p:cNvSpPr txBox="1"/>
          <p:nvPr/>
        </p:nvSpPr>
        <p:spPr>
          <a:xfrm>
            <a:off x="848101" y="2578526"/>
            <a:ext cx="385788" cy="415498"/>
          </a:xfrm>
          <a:prstGeom prst="rect">
            <a:avLst/>
          </a:prstGeom>
          <a:noFill/>
        </p:spPr>
        <p:txBody>
          <a:bodyPr wrap="square">
            <a:spAutoFit/>
          </a:bodyPr>
          <a:lstStyle/>
          <a:p>
            <a:pPr>
              <a:defRPr sz="2100"/>
            </a:pPr>
            <a:r>
              <a:t>E</a:t>
            </a:r>
          </a:p>
        </p:txBody>
      </p:sp>
      <p:sp>
        <p:nvSpPr>
          <p:cNvPr id="44" name="Textfeld 82">
            <a:extLst>
              <a:ext uri="{FF2B5EF4-FFF2-40B4-BE49-F238E27FC236}">
                <a16:creationId xmlns:a16="http://schemas.microsoft.com/office/drawing/2014/main" id="{49A1BAF9-16A3-7063-4016-9BD874B3644D}"/>
              </a:ext>
            </a:extLst>
          </p:cNvPr>
          <p:cNvSpPr txBox="1"/>
          <p:nvPr/>
        </p:nvSpPr>
        <p:spPr>
          <a:xfrm>
            <a:off x="3735908" y="5502461"/>
            <a:ext cx="396306" cy="415498"/>
          </a:xfrm>
          <a:prstGeom prst="rect">
            <a:avLst/>
          </a:prstGeom>
          <a:noFill/>
        </p:spPr>
        <p:txBody>
          <a:bodyPr wrap="square">
            <a:spAutoFit/>
          </a:bodyPr>
          <a:lstStyle/>
          <a:p>
            <a:pPr>
              <a:defRPr sz="2100"/>
            </a:pPr>
            <a:r>
              <a:t>İ</a:t>
            </a:r>
          </a:p>
        </p:txBody>
      </p:sp>
      <p:sp>
        <p:nvSpPr>
          <p:cNvPr id="45" name="Ellipse 72">
            <a:extLst>
              <a:ext uri="{FF2B5EF4-FFF2-40B4-BE49-F238E27FC236}">
                <a16:creationId xmlns:a16="http://schemas.microsoft.com/office/drawing/2014/main" id="{5840D88F-3D4F-B8A3-D689-B722C639EDDC}"/>
              </a:ext>
            </a:extLst>
          </p:cNvPr>
          <p:cNvSpPr/>
          <p:nvPr/>
        </p:nvSpPr>
        <p:spPr>
          <a:xfrm>
            <a:off x="10551716" y="3643879"/>
            <a:ext cx="1317368" cy="1362893"/>
          </a:xfrm>
          <a:prstGeom prst="ellipse">
            <a:avLst/>
          </a:prstGeom>
          <a:noFill/>
          <a:ln w="762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sp>
        <p:nvSpPr>
          <p:cNvPr id="47" name="TextBox 46">
            <a:extLst>
              <a:ext uri="{FF2B5EF4-FFF2-40B4-BE49-F238E27FC236}">
                <a16:creationId xmlns:a16="http://schemas.microsoft.com/office/drawing/2014/main" id="{D136ECC2-728E-4A53-53DC-55A8D934AC3D}"/>
              </a:ext>
            </a:extLst>
          </p:cNvPr>
          <p:cNvSpPr txBox="1"/>
          <p:nvPr/>
        </p:nvSpPr>
        <p:spPr>
          <a:xfrm>
            <a:off x="184163" y="852903"/>
            <a:ext cx="6192570" cy="584775"/>
          </a:xfrm>
          <a:prstGeom prst="rect">
            <a:avLst/>
          </a:prstGeom>
          <a:noFill/>
        </p:spPr>
        <p:txBody>
          <a:bodyPr wrap="square">
            <a:spAutoFit/>
          </a:bodyPr>
          <a:lstStyle/>
          <a:p>
            <a:pPr>
              <a:defRPr sz="3200" b="1"/>
            </a:pPr>
            <a:r>
              <a:t>Trafik nasıl başlar?</a:t>
            </a:r>
            <a:endParaRPr lang="en-US" sz="3200" b="1" dirty="0"/>
          </a:p>
        </p:txBody>
      </p:sp>
    </p:spTree>
    <p:extLst>
      <p:ext uri="{BB962C8B-B14F-4D97-AF65-F5344CB8AC3E}">
        <p14:creationId xmlns:p14="http://schemas.microsoft.com/office/powerpoint/2010/main" val="1722968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500"/>
                                        <p:tgtEl>
                                          <p:spTgt spid="4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childTnLst>
                          </p:cTn>
                        </p:par>
                        <p:par>
                          <p:cTn id="13" fill="hold">
                            <p:stCondLst>
                              <p:cond delay="500"/>
                            </p:stCondLst>
                            <p:childTnLst>
                              <p:par>
                                <p:cTn id="14" presetID="10" presetClass="entr" presetSubtype="0" fill="hold" nodeType="afterEffect">
                                  <p:stCondLst>
                                    <p:cond delay="0"/>
                                  </p:stCondLst>
                                  <p:childTnLst>
                                    <p:set>
                                      <p:cBhvr>
                                        <p:cTn id="15" dur="1" fill="hold">
                                          <p:stCondLst>
                                            <p:cond delay="0"/>
                                          </p:stCondLst>
                                        </p:cTn>
                                        <p:tgtEl>
                                          <p:spTgt spid="30"/>
                                        </p:tgtEl>
                                        <p:attrNameLst>
                                          <p:attrName>style.visibility</p:attrName>
                                        </p:attrNameLst>
                                      </p:cBhvr>
                                      <p:to>
                                        <p:strVal val="visible"/>
                                      </p:to>
                                    </p:set>
                                    <p:animEffect transition="in" filter="fade">
                                      <p:cBhvr>
                                        <p:cTn id="16" dur="500"/>
                                        <p:tgtEl>
                                          <p:spTgt spid="30"/>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4"/>
                                        </p:tgtEl>
                                        <p:attrNameLst>
                                          <p:attrName>style.visibility</p:attrName>
                                        </p:attrNameLst>
                                      </p:cBhvr>
                                      <p:to>
                                        <p:strVal val="visible"/>
                                      </p:to>
                                    </p:set>
                                    <p:animEffect transition="in" filter="fade">
                                      <p:cBhvr>
                                        <p:cTn id="19" dur="500"/>
                                        <p:tgtEl>
                                          <p:spTgt spid="34"/>
                                        </p:tgtEl>
                                      </p:cBhvr>
                                    </p:animEffect>
                                  </p:childTnLst>
                                </p:cTn>
                              </p:par>
                            </p:childTnLst>
                          </p:cTn>
                        </p:par>
                        <p:par>
                          <p:cTn id="20" fill="hold">
                            <p:stCondLst>
                              <p:cond delay="1000"/>
                            </p:stCondLst>
                            <p:childTnLst>
                              <p:par>
                                <p:cTn id="21" presetID="10" presetClass="entr" presetSubtype="0" fill="hold" nodeType="after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500"/>
                                        <p:tgtEl>
                                          <p:spTgt spid="31"/>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33"/>
                                        </p:tgtEl>
                                        <p:attrNameLst>
                                          <p:attrName>style.visibility</p:attrName>
                                        </p:attrNameLst>
                                      </p:cBhvr>
                                      <p:to>
                                        <p:strVal val="visible"/>
                                      </p:to>
                                    </p:set>
                                    <p:animEffect transition="in" filter="fade">
                                      <p:cBhvr>
                                        <p:cTn id="26" dur="500"/>
                                        <p:tgtEl>
                                          <p:spTgt spid="33"/>
                                        </p:tgtEl>
                                      </p:cBhvr>
                                    </p:animEffect>
                                  </p:childTnLst>
                                </p:cTn>
                              </p:par>
                              <p:par>
                                <p:cTn id="27" presetID="10" presetClass="entr" presetSubtype="0" fill="hold" nodeType="withEffect">
                                  <p:stCondLst>
                                    <p:cond delay="0"/>
                                  </p:stCondLst>
                                  <p:childTnLst>
                                    <p:set>
                                      <p:cBhvr>
                                        <p:cTn id="28" dur="1" fill="hold">
                                          <p:stCondLst>
                                            <p:cond delay="0"/>
                                          </p:stCondLst>
                                        </p:cTn>
                                        <p:tgtEl>
                                          <p:spTgt spid="32"/>
                                        </p:tgtEl>
                                        <p:attrNameLst>
                                          <p:attrName>style.visibility</p:attrName>
                                        </p:attrNameLst>
                                      </p:cBhvr>
                                      <p:to>
                                        <p:strVal val="visible"/>
                                      </p:to>
                                    </p:set>
                                    <p:animEffect transition="in" filter="fade">
                                      <p:cBhvr>
                                        <p:cTn id="29" dur="500"/>
                                        <p:tgtEl>
                                          <p:spTgt spid="32"/>
                                        </p:tgtEl>
                                      </p:cBhvr>
                                    </p:animEffect>
                                  </p:childTnLst>
                                </p:cTn>
                              </p:par>
                            </p:childTnLst>
                          </p:cTn>
                        </p:par>
                        <p:par>
                          <p:cTn id="30" fill="hold">
                            <p:stCondLst>
                              <p:cond delay="1500"/>
                            </p:stCondLst>
                            <p:childTnLst>
                              <p:par>
                                <p:cTn id="31" presetID="10" presetClass="entr" presetSubtype="0" fill="hold" grpId="0" nodeType="afterEffect">
                                  <p:stCondLst>
                                    <p:cond delay="0"/>
                                  </p:stCondLst>
                                  <p:childTnLst>
                                    <p:set>
                                      <p:cBhvr>
                                        <p:cTn id="32" dur="1" fill="hold">
                                          <p:stCondLst>
                                            <p:cond delay="0"/>
                                          </p:stCondLst>
                                        </p:cTn>
                                        <p:tgtEl>
                                          <p:spTgt spid="35"/>
                                        </p:tgtEl>
                                        <p:attrNameLst>
                                          <p:attrName>style.visibility</p:attrName>
                                        </p:attrNameLst>
                                      </p:cBhvr>
                                      <p:to>
                                        <p:strVal val="visible"/>
                                      </p:to>
                                    </p:set>
                                    <p:animEffect transition="in" filter="fade">
                                      <p:cBhvr>
                                        <p:cTn id="33" dur="500"/>
                                        <p:tgtEl>
                                          <p:spTgt spid="35"/>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40"/>
                                        </p:tgtEl>
                                        <p:attrNameLst>
                                          <p:attrName>style.visibility</p:attrName>
                                        </p:attrNameLst>
                                      </p:cBhvr>
                                      <p:to>
                                        <p:strVal val="visible"/>
                                      </p:to>
                                    </p:set>
                                    <p:animEffect transition="in" filter="fade">
                                      <p:cBhvr>
                                        <p:cTn id="38" dur="500"/>
                                        <p:tgtEl>
                                          <p:spTgt spid="40"/>
                                        </p:tgtEl>
                                      </p:cBhvr>
                                    </p:animEffect>
                                  </p:childTnLst>
                                </p:cTn>
                              </p:par>
                            </p:childTnLst>
                          </p:cTn>
                        </p:par>
                        <p:par>
                          <p:cTn id="39" fill="hold">
                            <p:stCondLst>
                              <p:cond delay="500"/>
                            </p:stCondLst>
                            <p:childTnLst>
                              <p:par>
                                <p:cTn id="40" presetID="10" presetClass="entr" presetSubtype="0" fill="hold" nodeType="after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500"/>
                                        <p:tgtEl>
                                          <p:spTgt spid="5"/>
                                        </p:tgtEl>
                                      </p:cBhvr>
                                    </p:animEffect>
                                  </p:childTnLst>
                                </p:cTn>
                              </p:par>
                            </p:childTnLst>
                          </p:cTn>
                        </p:par>
                        <p:par>
                          <p:cTn id="43" fill="hold">
                            <p:stCondLst>
                              <p:cond delay="1000"/>
                            </p:stCondLst>
                            <p:childTnLst>
                              <p:par>
                                <p:cTn id="44" presetID="10" presetClass="entr" presetSubtype="0" fill="hold" nodeType="afterEffect">
                                  <p:stCondLst>
                                    <p:cond delay="0"/>
                                  </p:stCondLst>
                                  <p:childTnLst>
                                    <p:set>
                                      <p:cBhvr>
                                        <p:cTn id="45" dur="1" fill="hold">
                                          <p:stCondLst>
                                            <p:cond delay="0"/>
                                          </p:stCondLst>
                                        </p:cTn>
                                        <p:tgtEl>
                                          <p:spTgt spid="36"/>
                                        </p:tgtEl>
                                        <p:attrNameLst>
                                          <p:attrName>style.visibility</p:attrName>
                                        </p:attrNameLst>
                                      </p:cBhvr>
                                      <p:to>
                                        <p:strVal val="visible"/>
                                      </p:to>
                                    </p:set>
                                    <p:animEffect transition="in" filter="fade">
                                      <p:cBhvr>
                                        <p:cTn id="46" dur="500"/>
                                        <p:tgtEl>
                                          <p:spTgt spid="36"/>
                                        </p:tgtEl>
                                      </p:cBhvr>
                                    </p:animEffect>
                                  </p:childTnLst>
                                </p:cTn>
                              </p:par>
                              <p:par>
                                <p:cTn id="47" presetID="10" presetClass="entr" presetSubtype="0" fill="hold" nodeType="withEffect">
                                  <p:stCondLst>
                                    <p:cond delay="0"/>
                                  </p:stCondLst>
                                  <p:childTnLst>
                                    <p:set>
                                      <p:cBhvr>
                                        <p:cTn id="48" dur="1" fill="hold">
                                          <p:stCondLst>
                                            <p:cond delay="0"/>
                                          </p:stCondLst>
                                        </p:cTn>
                                        <p:tgtEl>
                                          <p:spTgt spid="4"/>
                                        </p:tgtEl>
                                        <p:attrNameLst>
                                          <p:attrName>style.visibility</p:attrName>
                                        </p:attrNameLst>
                                      </p:cBhvr>
                                      <p:to>
                                        <p:strVal val="visible"/>
                                      </p:to>
                                    </p:set>
                                    <p:animEffect transition="in" filter="fade">
                                      <p:cBhvr>
                                        <p:cTn id="49" dur="500"/>
                                        <p:tgtEl>
                                          <p:spTgt spid="4"/>
                                        </p:tgtEl>
                                      </p:cBhvr>
                                    </p:animEffect>
                                  </p:childTnLst>
                                </p:cTn>
                              </p:par>
                            </p:childTnLst>
                          </p:cTn>
                        </p:par>
                        <p:par>
                          <p:cTn id="50" fill="hold">
                            <p:stCondLst>
                              <p:cond delay="1500"/>
                            </p:stCondLst>
                            <p:childTnLst>
                              <p:par>
                                <p:cTn id="51" presetID="10" presetClass="entr" presetSubtype="0" fill="hold" nodeType="afterEffect">
                                  <p:stCondLst>
                                    <p:cond delay="0"/>
                                  </p:stCondLst>
                                  <p:childTnLst>
                                    <p:set>
                                      <p:cBhvr>
                                        <p:cTn id="52" dur="1" fill="hold">
                                          <p:stCondLst>
                                            <p:cond delay="0"/>
                                          </p:stCondLst>
                                        </p:cTn>
                                        <p:tgtEl>
                                          <p:spTgt spid="2"/>
                                        </p:tgtEl>
                                        <p:attrNameLst>
                                          <p:attrName>style.visibility</p:attrName>
                                        </p:attrNameLst>
                                      </p:cBhvr>
                                      <p:to>
                                        <p:strVal val="visible"/>
                                      </p:to>
                                    </p:set>
                                    <p:animEffect transition="in" filter="fade">
                                      <p:cBhvr>
                                        <p:cTn id="53" dur="500"/>
                                        <p:tgtEl>
                                          <p:spTgt spid="2"/>
                                        </p:tgtEl>
                                      </p:cBhvr>
                                    </p:animEffect>
                                  </p:childTnLst>
                                </p:cTn>
                              </p:par>
                            </p:childTnLst>
                          </p:cTn>
                        </p:par>
                        <p:par>
                          <p:cTn id="54" fill="hold">
                            <p:stCondLst>
                              <p:cond delay="2000"/>
                            </p:stCondLst>
                            <p:childTnLst>
                              <p:par>
                                <p:cTn id="55" presetID="10" presetClass="entr" presetSubtype="0" fill="hold" nodeType="afterEffect">
                                  <p:stCondLst>
                                    <p:cond delay="0"/>
                                  </p:stCondLst>
                                  <p:childTnLst>
                                    <p:set>
                                      <p:cBhvr>
                                        <p:cTn id="56" dur="1" fill="hold">
                                          <p:stCondLst>
                                            <p:cond delay="0"/>
                                          </p:stCondLst>
                                        </p:cTn>
                                        <p:tgtEl>
                                          <p:spTgt spid="3"/>
                                        </p:tgtEl>
                                        <p:attrNameLst>
                                          <p:attrName>style.visibility</p:attrName>
                                        </p:attrNameLst>
                                      </p:cBhvr>
                                      <p:to>
                                        <p:strVal val="visible"/>
                                      </p:to>
                                    </p:set>
                                    <p:animEffect transition="in" filter="fade">
                                      <p:cBhvr>
                                        <p:cTn id="57" dur="500"/>
                                        <p:tgtEl>
                                          <p:spTgt spid="3"/>
                                        </p:tgtEl>
                                      </p:cBhvr>
                                    </p:animEffect>
                                  </p:childTnLst>
                                </p:cTn>
                              </p:par>
                            </p:childTnLst>
                          </p:cTn>
                        </p:par>
                        <p:par>
                          <p:cTn id="58" fill="hold">
                            <p:stCondLst>
                              <p:cond delay="2500"/>
                            </p:stCondLst>
                            <p:childTnLst>
                              <p:par>
                                <p:cTn id="59" presetID="10" presetClass="entr" presetSubtype="0" fill="hold" grpId="0" nodeType="afterEffect">
                                  <p:stCondLst>
                                    <p:cond delay="0"/>
                                  </p:stCondLst>
                                  <p:childTnLst>
                                    <p:set>
                                      <p:cBhvr>
                                        <p:cTn id="60" dur="1" fill="hold">
                                          <p:stCondLst>
                                            <p:cond delay="0"/>
                                          </p:stCondLst>
                                        </p:cTn>
                                        <p:tgtEl>
                                          <p:spTgt spid="11"/>
                                        </p:tgtEl>
                                        <p:attrNameLst>
                                          <p:attrName>style.visibility</p:attrName>
                                        </p:attrNameLst>
                                      </p:cBhvr>
                                      <p:to>
                                        <p:strVal val="visible"/>
                                      </p:to>
                                    </p:set>
                                    <p:animEffect transition="in" filter="fade">
                                      <p:cBhvr>
                                        <p:cTn id="61" dur="500"/>
                                        <p:tgtEl>
                                          <p:spTgt spid="11"/>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41"/>
                                        </p:tgtEl>
                                        <p:attrNameLst>
                                          <p:attrName>style.visibility</p:attrName>
                                        </p:attrNameLst>
                                      </p:cBhvr>
                                      <p:to>
                                        <p:strVal val="visible"/>
                                      </p:to>
                                    </p:set>
                                    <p:animEffect transition="in" filter="fade">
                                      <p:cBhvr>
                                        <p:cTn id="66" dur="500"/>
                                        <p:tgtEl>
                                          <p:spTgt spid="41"/>
                                        </p:tgtEl>
                                      </p:cBhvr>
                                    </p:animEffect>
                                  </p:childTnLst>
                                </p:cTn>
                              </p:par>
                            </p:childTnLst>
                          </p:cTn>
                        </p:par>
                        <p:par>
                          <p:cTn id="67" fill="hold">
                            <p:stCondLst>
                              <p:cond delay="500"/>
                            </p:stCondLst>
                            <p:childTnLst>
                              <p:par>
                                <p:cTn id="68" presetID="10" presetClass="entr" presetSubtype="0" fill="hold" nodeType="afterEffect">
                                  <p:stCondLst>
                                    <p:cond delay="0"/>
                                  </p:stCondLst>
                                  <p:childTnLst>
                                    <p:set>
                                      <p:cBhvr>
                                        <p:cTn id="69" dur="1" fill="hold">
                                          <p:stCondLst>
                                            <p:cond delay="0"/>
                                          </p:stCondLst>
                                        </p:cTn>
                                        <p:tgtEl>
                                          <p:spTgt spid="16"/>
                                        </p:tgtEl>
                                        <p:attrNameLst>
                                          <p:attrName>style.visibility</p:attrName>
                                        </p:attrNameLst>
                                      </p:cBhvr>
                                      <p:to>
                                        <p:strVal val="visible"/>
                                      </p:to>
                                    </p:set>
                                    <p:animEffect transition="in" filter="fade">
                                      <p:cBhvr>
                                        <p:cTn id="70" dur="500"/>
                                        <p:tgtEl>
                                          <p:spTgt spid="16"/>
                                        </p:tgtEl>
                                      </p:cBhvr>
                                    </p:animEffect>
                                  </p:childTnLst>
                                </p:cTn>
                              </p:par>
                            </p:childTnLst>
                          </p:cTn>
                        </p:par>
                        <p:par>
                          <p:cTn id="71" fill="hold">
                            <p:stCondLst>
                              <p:cond delay="1000"/>
                            </p:stCondLst>
                            <p:childTnLst>
                              <p:par>
                                <p:cTn id="72" presetID="10" presetClass="entr" presetSubtype="0" fill="hold" nodeType="afterEffect">
                                  <p:stCondLst>
                                    <p:cond delay="0"/>
                                  </p:stCondLst>
                                  <p:childTnLst>
                                    <p:set>
                                      <p:cBhvr>
                                        <p:cTn id="73" dur="1" fill="hold">
                                          <p:stCondLst>
                                            <p:cond delay="0"/>
                                          </p:stCondLst>
                                        </p:cTn>
                                        <p:tgtEl>
                                          <p:spTgt spid="20"/>
                                        </p:tgtEl>
                                        <p:attrNameLst>
                                          <p:attrName>style.visibility</p:attrName>
                                        </p:attrNameLst>
                                      </p:cBhvr>
                                      <p:to>
                                        <p:strVal val="visible"/>
                                      </p:to>
                                    </p:set>
                                    <p:animEffect transition="in" filter="fade">
                                      <p:cBhvr>
                                        <p:cTn id="74" dur="500"/>
                                        <p:tgtEl>
                                          <p:spTgt spid="20"/>
                                        </p:tgtEl>
                                      </p:cBhvr>
                                    </p:animEffect>
                                  </p:childTnLst>
                                </p:cTn>
                              </p:par>
                            </p:childTnLst>
                          </p:cTn>
                        </p:par>
                        <p:par>
                          <p:cTn id="75" fill="hold">
                            <p:stCondLst>
                              <p:cond delay="1500"/>
                            </p:stCondLst>
                            <p:childTnLst>
                              <p:par>
                                <p:cTn id="76" presetID="10" presetClass="entr" presetSubtype="0" fill="hold" nodeType="afterEffect">
                                  <p:stCondLst>
                                    <p:cond delay="0"/>
                                  </p:stCondLst>
                                  <p:childTnLst>
                                    <p:set>
                                      <p:cBhvr>
                                        <p:cTn id="77" dur="1" fill="hold">
                                          <p:stCondLst>
                                            <p:cond delay="0"/>
                                          </p:stCondLst>
                                        </p:cTn>
                                        <p:tgtEl>
                                          <p:spTgt spid="12"/>
                                        </p:tgtEl>
                                        <p:attrNameLst>
                                          <p:attrName>style.visibility</p:attrName>
                                        </p:attrNameLst>
                                      </p:cBhvr>
                                      <p:to>
                                        <p:strVal val="visible"/>
                                      </p:to>
                                    </p:set>
                                    <p:animEffect transition="in" filter="fade">
                                      <p:cBhvr>
                                        <p:cTn id="78" dur="500"/>
                                        <p:tgtEl>
                                          <p:spTgt spid="12"/>
                                        </p:tgtEl>
                                      </p:cBhvr>
                                    </p:animEffect>
                                  </p:childTnLst>
                                </p:cTn>
                              </p:par>
                            </p:childTnLst>
                          </p:cTn>
                        </p:par>
                        <p:par>
                          <p:cTn id="79" fill="hold">
                            <p:stCondLst>
                              <p:cond delay="2000"/>
                            </p:stCondLst>
                            <p:childTnLst>
                              <p:par>
                                <p:cTn id="80" presetID="10" presetClass="entr" presetSubtype="0" fill="hold" nodeType="afterEffect">
                                  <p:stCondLst>
                                    <p:cond delay="0"/>
                                  </p:stCondLst>
                                  <p:childTnLst>
                                    <p:set>
                                      <p:cBhvr>
                                        <p:cTn id="81" dur="1" fill="hold">
                                          <p:stCondLst>
                                            <p:cond delay="0"/>
                                          </p:stCondLst>
                                        </p:cTn>
                                        <p:tgtEl>
                                          <p:spTgt spid="24"/>
                                        </p:tgtEl>
                                        <p:attrNameLst>
                                          <p:attrName>style.visibility</p:attrName>
                                        </p:attrNameLst>
                                      </p:cBhvr>
                                      <p:to>
                                        <p:strVal val="visible"/>
                                      </p:to>
                                    </p:set>
                                    <p:animEffect transition="in" filter="fade">
                                      <p:cBhvr>
                                        <p:cTn id="82" dur="500"/>
                                        <p:tgtEl>
                                          <p:spTgt spid="24"/>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44"/>
                                        </p:tgtEl>
                                        <p:attrNameLst>
                                          <p:attrName>style.visibility</p:attrName>
                                        </p:attrNameLst>
                                      </p:cBhvr>
                                      <p:to>
                                        <p:strVal val="visible"/>
                                      </p:to>
                                    </p:set>
                                    <p:animEffect transition="in" filter="fade">
                                      <p:cBhvr>
                                        <p:cTn id="85" dur="500"/>
                                        <p:tgtEl>
                                          <p:spTgt spid="44"/>
                                        </p:tgtEl>
                                      </p:cBhvr>
                                    </p:animEffect>
                                  </p:childTnLst>
                                </p:cTn>
                              </p:par>
                            </p:childTnLst>
                          </p:cTn>
                        </p:par>
                        <p:par>
                          <p:cTn id="86" fill="hold">
                            <p:stCondLst>
                              <p:cond delay="2500"/>
                            </p:stCondLst>
                            <p:childTnLst>
                              <p:par>
                                <p:cTn id="87" presetID="10" presetClass="entr" presetSubtype="0" fill="hold" grpId="0" nodeType="afterEffect">
                                  <p:stCondLst>
                                    <p:cond delay="0"/>
                                  </p:stCondLst>
                                  <p:childTnLst>
                                    <p:set>
                                      <p:cBhvr>
                                        <p:cTn id="88" dur="1" fill="hold">
                                          <p:stCondLst>
                                            <p:cond delay="0"/>
                                          </p:stCondLst>
                                        </p:cTn>
                                        <p:tgtEl>
                                          <p:spTgt spid="45"/>
                                        </p:tgtEl>
                                        <p:attrNameLst>
                                          <p:attrName>style.visibility</p:attrName>
                                        </p:attrNameLst>
                                      </p:cBhvr>
                                      <p:to>
                                        <p:strVal val="visible"/>
                                      </p:to>
                                    </p:set>
                                    <p:animEffect transition="in" filter="fade">
                                      <p:cBhvr>
                                        <p:cTn id="89" dur="500"/>
                                        <p:tgtEl>
                                          <p:spTgt spid="4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28" grpId="0" animBg="1"/>
      <p:bldP spid="33" grpId="0"/>
      <p:bldP spid="34" grpId="0"/>
      <p:bldP spid="35" grpId="0" animBg="1"/>
      <p:bldP spid="40" grpId="0" animBg="1"/>
      <p:bldP spid="41" grpId="0" animBg="1"/>
      <p:bldP spid="42" grpId="0" animBg="1"/>
      <p:bldP spid="44" grpId="0"/>
      <p:bldP spid="45"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2" name="Titel 1">
            <a:extLst>
              <a:ext uri="{FF2B5EF4-FFF2-40B4-BE49-F238E27FC236}">
                <a16:creationId xmlns:a16="http://schemas.microsoft.com/office/drawing/2014/main" id="{C2A53B76-5EC0-3C51-8C3B-AB05EFE79A30}"/>
              </a:ext>
            </a:extLst>
          </p:cNvPr>
          <p:cNvSpPr txBox="1">
            <a:spLocks/>
          </p:cNvSpPr>
          <p:nvPr/>
        </p:nvSpPr>
        <p:spPr>
          <a:xfrm>
            <a:off x="-97183" y="1269977"/>
            <a:ext cx="6125753" cy="508050"/>
          </a:xfrm>
          <a:prstGeom prst="rect">
            <a:avLst/>
          </a:prstGeom>
        </p:spPr>
        <p:txBody>
          <a:bodyPr vert="horz" lIns="91440" tIns="45720" rIns="91440" bIns="4572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defRPr sz="3200" b="1"/>
            </a:pPr>
            <a:r>
              <a:t>Talep modellemenin 4 adımı</a:t>
            </a:r>
            <a:endParaRPr lang="de-DE" sz="3200" b="1" dirty="0"/>
          </a:p>
        </p:txBody>
      </p:sp>
      <p:grpSp>
        <p:nvGrpSpPr>
          <p:cNvPr id="45" name="Group 44">
            <a:extLst>
              <a:ext uri="{FF2B5EF4-FFF2-40B4-BE49-F238E27FC236}">
                <a16:creationId xmlns:a16="http://schemas.microsoft.com/office/drawing/2014/main" id="{DF861EAE-1ABE-3B61-66E9-21B2F224B03E}"/>
              </a:ext>
            </a:extLst>
          </p:cNvPr>
          <p:cNvGrpSpPr/>
          <p:nvPr/>
        </p:nvGrpSpPr>
        <p:grpSpPr>
          <a:xfrm>
            <a:off x="1955548" y="757581"/>
            <a:ext cx="8426109" cy="5342837"/>
            <a:chOff x="1018147" y="42460"/>
            <a:chExt cx="10359392" cy="6400884"/>
          </a:xfrm>
        </p:grpSpPr>
        <p:sp>
          <p:nvSpPr>
            <p:cNvPr id="2" name="Rectangle 2">
              <a:extLst>
                <a:ext uri="{FF2B5EF4-FFF2-40B4-BE49-F238E27FC236}">
                  <a16:creationId xmlns:a16="http://schemas.microsoft.com/office/drawing/2014/main" id="{D271C0B9-64FA-A7C1-0BD7-1A3906D1CE06}"/>
                </a:ext>
              </a:extLst>
            </p:cNvPr>
            <p:cNvSpPr>
              <a:spLocks noChangeArrowheads="1"/>
            </p:cNvSpPr>
            <p:nvPr/>
          </p:nvSpPr>
          <p:spPr bwMode="auto">
            <a:xfrm>
              <a:off x="1018147" y="5446123"/>
              <a:ext cx="2462702" cy="383355"/>
            </a:xfrm>
            <a:prstGeom prst="rect">
              <a:avLst/>
            </a:prstGeom>
            <a:noFill/>
            <a:ln w="25400">
              <a:noFill/>
              <a:miter lim="800000"/>
              <a:headEnd/>
              <a:tailEnd/>
            </a:ln>
          </p:spPr>
          <p:txBody>
            <a:bodyPr wrap="none" lIns="101750" tIns="49981" rIns="101750" bIns="49981"/>
            <a:lstStyle/>
            <a:p>
              <a:pPr algn="ctr" defTabSz="1028597" eaLnBrk="0" hangingPunct="0"/>
              <a:r>
                <a:rPr dirty="0" err="1"/>
                <a:t>Seyahat</a:t>
              </a:r>
              <a:r>
                <a:rPr dirty="0"/>
                <a:t> </a:t>
              </a:r>
              <a:r>
                <a:rPr dirty="0" err="1"/>
                <a:t>Üretimi</a:t>
              </a:r>
              <a:endParaRPr dirty="0"/>
            </a:p>
          </p:txBody>
        </p:sp>
        <p:sp>
          <p:nvSpPr>
            <p:cNvPr id="3" name="Rectangle 6">
              <a:extLst>
                <a:ext uri="{FF2B5EF4-FFF2-40B4-BE49-F238E27FC236}">
                  <a16:creationId xmlns:a16="http://schemas.microsoft.com/office/drawing/2014/main" id="{91B252B6-AD50-D98D-4654-1D10A258584F}"/>
                </a:ext>
              </a:extLst>
            </p:cNvPr>
            <p:cNvSpPr>
              <a:spLocks noChangeArrowheads="1"/>
            </p:cNvSpPr>
            <p:nvPr/>
          </p:nvSpPr>
          <p:spPr bwMode="auto">
            <a:xfrm>
              <a:off x="8446897" y="2301151"/>
              <a:ext cx="2469837" cy="503161"/>
            </a:xfrm>
            <a:prstGeom prst="rect">
              <a:avLst/>
            </a:prstGeom>
            <a:noFill/>
            <a:ln w="25400">
              <a:noFill/>
              <a:miter lim="800000"/>
              <a:headEnd/>
              <a:tailEnd/>
            </a:ln>
          </p:spPr>
          <p:txBody>
            <a:bodyPr wrap="none" lIns="101750" tIns="49981" rIns="101750" bIns="49981"/>
            <a:lstStyle/>
            <a:p>
              <a:pPr algn="ctr" defTabSz="1028597" eaLnBrk="0" hangingPunct="0"/>
              <a:r>
                <a:t>Atama</a:t>
              </a:r>
            </a:p>
          </p:txBody>
        </p:sp>
        <p:sp>
          <p:nvSpPr>
            <p:cNvPr id="4" name="Rectangle 15">
              <a:extLst>
                <a:ext uri="{FF2B5EF4-FFF2-40B4-BE49-F238E27FC236}">
                  <a16:creationId xmlns:a16="http://schemas.microsoft.com/office/drawing/2014/main" id="{EE4E02B6-9E4D-9E73-C137-810174DAC9FE}"/>
                </a:ext>
              </a:extLst>
            </p:cNvPr>
            <p:cNvSpPr>
              <a:spLocks noChangeArrowheads="1"/>
            </p:cNvSpPr>
            <p:nvPr/>
          </p:nvSpPr>
          <p:spPr bwMode="auto">
            <a:xfrm>
              <a:off x="3786954" y="4422694"/>
              <a:ext cx="2503323" cy="474338"/>
            </a:xfrm>
            <a:prstGeom prst="rect">
              <a:avLst/>
            </a:prstGeom>
            <a:noFill/>
            <a:ln w="25400">
              <a:noFill/>
              <a:miter lim="800000"/>
              <a:headEnd/>
              <a:tailEnd/>
            </a:ln>
          </p:spPr>
          <p:txBody>
            <a:bodyPr wrap="none" lIns="101750" tIns="49981" rIns="101750" bIns="49981"/>
            <a:lstStyle/>
            <a:p>
              <a:pPr algn="ctr" defTabSz="1028597" eaLnBrk="0" hangingPunct="0"/>
              <a:r>
                <a:rPr dirty="0" err="1"/>
                <a:t>Varış</a:t>
              </a:r>
              <a:r>
                <a:rPr dirty="0"/>
                <a:t> </a:t>
              </a:r>
              <a:r>
                <a:rPr dirty="0" err="1"/>
                <a:t>noktası</a:t>
              </a:r>
              <a:r>
                <a:rPr dirty="0"/>
                <a:t> </a:t>
              </a:r>
              <a:r>
                <a:rPr dirty="0" err="1"/>
                <a:t>seçimi</a:t>
              </a:r>
              <a:endParaRPr dirty="0"/>
            </a:p>
          </p:txBody>
        </p:sp>
        <p:sp>
          <p:nvSpPr>
            <p:cNvPr id="5" name="Rectangle 22">
              <a:extLst>
                <a:ext uri="{FF2B5EF4-FFF2-40B4-BE49-F238E27FC236}">
                  <a16:creationId xmlns:a16="http://schemas.microsoft.com/office/drawing/2014/main" id="{224C8D39-C234-10F6-0DF5-B34DC7DE2EB1}"/>
                </a:ext>
              </a:extLst>
            </p:cNvPr>
            <p:cNvSpPr>
              <a:spLocks noChangeArrowheads="1"/>
            </p:cNvSpPr>
            <p:nvPr/>
          </p:nvSpPr>
          <p:spPr bwMode="auto">
            <a:xfrm>
              <a:off x="6365706" y="3318580"/>
              <a:ext cx="2488374" cy="671067"/>
            </a:xfrm>
            <a:prstGeom prst="rect">
              <a:avLst/>
            </a:prstGeom>
            <a:noFill/>
            <a:ln w="25400">
              <a:noFill/>
              <a:miter lim="800000"/>
              <a:headEnd/>
              <a:tailEnd/>
            </a:ln>
          </p:spPr>
          <p:txBody>
            <a:bodyPr wrap="none" lIns="101750" tIns="49981" rIns="101750" bIns="49981"/>
            <a:lstStyle/>
            <a:p>
              <a:pPr defTabSz="1028597" eaLnBrk="0" hangingPunct="0"/>
              <a:r>
                <a:t>Mod seçimi</a:t>
              </a:r>
            </a:p>
          </p:txBody>
        </p:sp>
        <p:grpSp>
          <p:nvGrpSpPr>
            <p:cNvPr id="6" name="Gruppieren 1">
              <a:extLst>
                <a:ext uri="{FF2B5EF4-FFF2-40B4-BE49-F238E27FC236}">
                  <a16:creationId xmlns:a16="http://schemas.microsoft.com/office/drawing/2014/main" id="{A7717BB3-38A6-41FF-3D44-EC3B80041EDF}"/>
                </a:ext>
              </a:extLst>
            </p:cNvPr>
            <p:cNvGrpSpPr/>
            <p:nvPr/>
          </p:nvGrpSpPr>
          <p:grpSpPr>
            <a:xfrm>
              <a:off x="1083460" y="4941115"/>
              <a:ext cx="2430000" cy="1502229"/>
              <a:chOff x="1083460" y="4941115"/>
              <a:chExt cx="2430000" cy="1502229"/>
            </a:xfrm>
          </p:grpSpPr>
          <p:sp>
            <p:nvSpPr>
              <p:cNvPr id="7" name="Rechteck 18">
                <a:extLst>
                  <a:ext uri="{FF2B5EF4-FFF2-40B4-BE49-F238E27FC236}">
                    <a16:creationId xmlns:a16="http://schemas.microsoft.com/office/drawing/2014/main" id="{122224FD-A9F9-F63D-0EAA-29CDE1C6B54C}"/>
                  </a:ext>
                </a:extLst>
              </p:cNvPr>
              <p:cNvSpPr/>
              <p:nvPr/>
            </p:nvSpPr>
            <p:spPr>
              <a:xfrm>
                <a:off x="1083460" y="4941115"/>
                <a:ext cx="261257" cy="1502229"/>
              </a:xfrm>
              <a:prstGeom prst="rect">
                <a:avLst/>
              </a:prstGeom>
              <a:scene3d>
                <a:camera prst="obliqueBottomRight"/>
                <a:lightRig rig="threePt" dir="t"/>
              </a:scene3d>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endParaRPr lang="de-DE"/>
              </a:p>
            </p:txBody>
          </p:sp>
          <p:sp>
            <p:nvSpPr>
              <p:cNvPr id="8" name="Rechteck 22">
                <a:extLst>
                  <a:ext uri="{FF2B5EF4-FFF2-40B4-BE49-F238E27FC236}">
                    <a16:creationId xmlns:a16="http://schemas.microsoft.com/office/drawing/2014/main" id="{9DCE59E0-4D34-3072-16F9-8A9ADBC13214}"/>
                  </a:ext>
                </a:extLst>
              </p:cNvPr>
              <p:cNvSpPr/>
              <p:nvPr/>
            </p:nvSpPr>
            <p:spPr>
              <a:xfrm>
                <a:off x="1083460" y="4941115"/>
                <a:ext cx="2430000" cy="284028"/>
              </a:xfrm>
              <a:prstGeom prst="rect">
                <a:avLst/>
              </a:prstGeom>
              <a:scene3d>
                <a:camera prst="obliqueBottomRight"/>
                <a:lightRig rig="threePt" dir="t"/>
              </a:scene3d>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endParaRPr lang="de-DE"/>
              </a:p>
            </p:txBody>
          </p:sp>
        </p:grpSp>
        <p:grpSp>
          <p:nvGrpSpPr>
            <p:cNvPr id="9" name="Gruppieren 4">
              <a:extLst>
                <a:ext uri="{FF2B5EF4-FFF2-40B4-BE49-F238E27FC236}">
                  <a16:creationId xmlns:a16="http://schemas.microsoft.com/office/drawing/2014/main" id="{7E97768D-CF50-5650-DA12-4BF72F3BA68B}"/>
                </a:ext>
              </a:extLst>
            </p:cNvPr>
            <p:cNvGrpSpPr/>
            <p:nvPr/>
          </p:nvGrpSpPr>
          <p:grpSpPr>
            <a:xfrm>
              <a:off x="8592823" y="1796173"/>
              <a:ext cx="2431824" cy="1507672"/>
              <a:chOff x="8592823" y="1796173"/>
              <a:chExt cx="2431824" cy="1507672"/>
            </a:xfrm>
          </p:grpSpPr>
          <p:sp>
            <p:nvSpPr>
              <p:cNvPr id="10" name="Rechteck 21">
                <a:extLst>
                  <a:ext uri="{FF2B5EF4-FFF2-40B4-BE49-F238E27FC236}">
                    <a16:creationId xmlns:a16="http://schemas.microsoft.com/office/drawing/2014/main" id="{1E15F7B0-AD73-037E-23F7-1DB217A4AEA3}"/>
                  </a:ext>
                </a:extLst>
              </p:cNvPr>
              <p:cNvSpPr/>
              <p:nvPr/>
            </p:nvSpPr>
            <p:spPr>
              <a:xfrm>
                <a:off x="8592823" y="1801616"/>
                <a:ext cx="261257" cy="1502229"/>
              </a:xfrm>
              <a:prstGeom prst="rect">
                <a:avLst/>
              </a:prstGeom>
              <a:scene3d>
                <a:camera prst="obliqueBottomRight"/>
                <a:lightRig rig="threePt" dir="t"/>
              </a:scene3d>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endParaRPr lang="de-DE"/>
              </a:p>
            </p:txBody>
          </p:sp>
          <p:sp>
            <p:nvSpPr>
              <p:cNvPr id="11" name="Rechteck 23">
                <a:extLst>
                  <a:ext uri="{FF2B5EF4-FFF2-40B4-BE49-F238E27FC236}">
                    <a16:creationId xmlns:a16="http://schemas.microsoft.com/office/drawing/2014/main" id="{A7FB54E4-EC19-C9F0-3DE3-4A801F38ABA4}"/>
                  </a:ext>
                </a:extLst>
              </p:cNvPr>
              <p:cNvSpPr/>
              <p:nvPr/>
            </p:nvSpPr>
            <p:spPr>
              <a:xfrm>
                <a:off x="8594647" y="1796173"/>
                <a:ext cx="2430000" cy="284028"/>
              </a:xfrm>
              <a:prstGeom prst="rect">
                <a:avLst/>
              </a:prstGeom>
              <a:scene3d>
                <a:camera prst="obliqueBottomRight"/>
                <a:lightRig rig="threePt" dir="t"/>
              </a:scene3d>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endParaRPr lang="de-DE"/>
              </a:p>
            </p:txBody>
          </p:sp>
        </p:grpSp>
        <p:grpSp>
          <p:nvGrpSpPr>
            <p:cNvPr id="12" name="Gruppieren 3">
              <a:extLst>
                <a:ext uri="{FF2B5EF4-FFF2-40B4-BE49-F238E27FC236}">
                  <a16:creationId xmlns:a16="http://schemas.microsoft.com/office/drawing/2014/main" id="{D664DEE3-A418-7FB9-DA63-34CE12205998}"/>
                </a:ext>
              </a:extLst>
            </p:cNvPr>
            <p:cNvGrpSpPr/>
            <p:nvPr/>
          </p:nvGrpSpPr>
          <p:grpSpPr>
            <a:xfrm>
              <a:off x="6074180" y="2847090"/>
              <a:ext cx="2430000" cy="1508216"/>
              <a:chOff x="6074180" y="2847090"/>
              <a:chExt cx="2430000" cy="1508216"/>
            </a:xfrm>
          </p:grpSpPr>
          <p:sp>
            <p:nvSpPr>
              <p:cNvPr id="13" name="Rechteck 19">
                <a:extLst>
                  <a:ext uri="{FF2B5EF4-FFF2-40B4-BE49-F238E27FC236}">
                    <a16:creationId xmlns:a16="http://schemas.microsoft.com/office/drawing/2014/main" id="{62CE6A27-E26F-BE1A-DCD3-0A04746781CC}"/>
                  </a:ext>
                </a:extLst>
              </p:cNvPr>
              <p:cNvSpPr/>
              <p:nvPr/>
            </p:nvSpPr>
            <p:spPr>
              <a:xfrm>
                <a:off x="6074180" y="2853077"/>
                <a:ext cx="261257" cy="1502229"/>
              </a:xfrm>
              <a:prstGeom prst="rect">
                <a:avLst/>
              </a:prstGeom>
              <a:scene3d>
                <a:camera prst="obliqueBottomRight"/>
                <a:lightRig rig="threePt" dir="t"/>
              </a:scene3d>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endParaRPr lang="de-DE"/>
              </a:p>
            </p:txBody>
          </p:sp>
          <p:sp>
            <p:nvSpPr>
              <p:cNvPr id="14" name="Rechteck 24">
                <a:extLst>
                  <a:ext uri="{FF2B5EF4-FFF2-40B4-BE49-F238E27FC236}">
                    <a16:creationId xmlns:a16="http://schemas.microsoft.com/office/drawing/2014/main" id="{37905DBD-0094-531E-8A05-012E5B1C7755}"/>
                  </a:ext>
                </a:extLst>
              </p:cNvPr>
              <p:cNvSpPr/>
              <p:nvPr/>
            </p:nvSpPr>
            <p:spPr>
              <a:xfrm>
                <a:off x="6074180" y="2847090"/>
                <a:ext cx="2430000" cy="284028"/>
              </a:xfrm>
              <a:prstGeom prst="rect">
                <a:avLst/>
              </a:prstGeom>
              <a:scene3d>
                <a:camera prst="obliqueBottomRight"/>
                <a:lightRig rig="threePt" dir="t"/>
              </a:scene3d>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endParaRPr lang="de-DE"/>
              </a:p>
            </p:txBody>
          </p:sp>
        </p:grpSp>
        <p:grpSp>
          <p:nvGrpSpPr>
            <p:cNvPr id="15" name="Gruppieren 2">
              <a:extLst>
                <a:ext uri="{FF2B5EF4-FFF2-40B4-BE49-F238E27FC236}">
                  <a16:creationId xmlns:a16="http://schemas.microsoft.com/office/drawing/2014/main" id="{6CE296B6-07B9-DECB-8743-C2AB4DA37D23}"/>
                </a:ext>
              </a:extLst>
            </p:cNvPr>
            <p:cNvGrpSpPr/>
            <p:nvPr/>
          </p:nvGrpSpPr>
          <p:grpSpPr>
            <a:xfrm>
              <a:off x="3578820" y="3881230"/>
              <a:ext cx="2430000" cy="1504067"/>
              <a:chOff x="3578820" y="3881230"/>
              <a:chExt cx="2430000" cy="1504067"/>
            </a:xfrm>
          </p:grpSpPr>
          <p:sp>
            <p:nvSpPr>
              <p:cNvPr id="16" name="Rechteck 20">
                <a:extLst>
                  <a:ext uri="{FF2B5EF4-FFF2-40B4-BE49-F238E27FC236}">
                    <a16:creationId xmlns:a16="http://schemas.microsoft.com/office/drawing/2014/main" id="{FC3FBD53-2F49-5F29-52B2-53AAB0F1ACD4}"/>
                  </a:ext>
                </a:extLst>
              </p:cNvPr>
              <p:cNvSpPr/>
              <p:nvPr/>
            </p:nvSpPr>
            <p:spPr>
              <a:xfrm>
                <a:off x="3578820" y="3883068"/>
                <a:ext cx="261257" cy="1502229"/>
              </a:xfrm>
              <a:prstGeom prst="rect">
                <a:avLst/>
              </a:prstGeom>
              <a:scene3d>
                <a:camera prst="obliqueBottomRight"/>
                <a:lightRig rig="threePt" dir="t"/>
              </a:scene3d>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endParaRPr lang="de-DE"/>
              </a:p>
            </p:txBody>
          </p:sp>
          <p:sp>
            <p:nvSpPr>
              <p:cNvPr id="17" name="Rechteck 25">
                <a:extLst>
                  <a:ext uri="{FF2B5EF4-FFF2-40B4-BE49-F238E27FC236}">
                    <a16:creationId xmlns:a16="http://schemas.microsoft.com/office/drawing/2014/main" id="{52CCC6F6-55B3-14F6-64BD-5AAA8B5B914E}"/>
                  </a:ext>
                </a:extLst>
              </p:cNvPr>
              <p:cNvSpPr/>
              <p:nvPr/>
            </p:nvSpPr>
            <p:spPr>
              <a:xfrm>
                <a:off x="3578820" y="3881230"/>
                <a:ext cx="2430000" cy="284028"/>
              </a:xfrm>
              <a:prstGeom prst="rect">
                <a:avLst/>
              </a:prstGeom>
              <a:scene3d>
                <a:camera prst="obliqueBottomRight"/>
                <a:lightRig rig="threePt" dir="t"/>
              </a:scene3d>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endParaRPr lang="de-DE"/>
              </a:p>
            </p:txBody>
          </p:sp>
        </p:grpSp>
        <p:sp>
          <p:nvSpPr>
            <p:cNvPr id="18" name="Textfeld 8">
              <a:extLst>
                <a:ext uri="{FF2B5EF4-FFF2-40B4-BE49-F238E27FC236}">
                  <a16:creationId xmlns:a16="http://schemas.microsoft.com/office/drawing/2014/main" id="{A764CE6E-862C-E02C-F8C8-57AE2E6DC891}"/>
                </a:ext>
              </a:extLst>
            </p:cNvPr>
            <p:cNvSpPr txBox="1"/>
            <p:nvPr/>
          </p:nvSpPr>
          <p:spPr>
            <a:xfrm>
              <a:off x="1344717" y="4469816"/>
              <a:ext cx="2523459" cy="692497"/>
            </a:xfrm>
            <a:prstGeom prst="rect">
              <a:avLst/>
            </a:prstGeom>
            <a:noFill/>
          </p:spPr>
          <p:txBody>
            <a:bodyPr wrap="square">
              <a:spAutoFit/>
            </a:bodyPr>
            <a:lstStyle/>
            <a:p>
              <a:pPr>
                <a:defRPr sz="2100"/>
              </a:pPr>
              <a:r>
                <a:t>Hareket ihtiyacı</a:t>
              </a:r>
              <a:endParaRPr lang="de-DE" sz="2100" dirty="0"/>
            </a:p>
            <a:p>
              <a:endParaRPr lang="de-DE" dirty="0"/>
            </a:p>
          </p:txBody>
        </p:sp>
        <p:sp>
          <p:nvSpPr>
            <p:cNvPr id="19" name="Textfeld 27">
              <a:extLst>
                <a:ext uri="{FF2B5EF4-FFF2-40B4-BE49-F238E27FC236}">
                  <a16:creationId xmlns:a16="http://schemas.microsoft.com/office/drawing/2014/main" id="{BA19111F-9FAB-1A93-BADF-68898F0F0779}"/>
                </a:ext>
              </a:extLst>
            </p:cNvPr>
            <p:cNvSpPr txBox="1"/>
            <p:nvPr/>
          </p:nvSpPr>
          <p:spPr>
            <a:xfrm>
              <a:off x="3807162" y="3091205"/>
              <a:ext cx="2523459" cy="1015663"/>
            </a:xfrm>
            <a:prstGeom prst="rect">
              <a:avLst/>
            </a:prstGeom>
            <a:noFill/>
          </p:spPr>
          <p:txBody>
            <a:bodyPr wrap="square">
              <a:spAutoFit/>
            </a:bodyPr>
            <a:lstStyle/>
            <a:p>
              <a:pPr lvl="0">
                <a:defRPr sz="2100"/>
              </a:pPr>
              <a:r>
                <a:t>Hangi</a:t>
              </a:r>
              <a:endParaRPr lang="de-DE" sz="2100" dirty="0"/>
            </a:p>
            <a:p>
              <a:pPr lvl="0">
                <a:defRPr sz="2100"/>
              </a:pPr>
              <a:r>
                <a:t>varış hedefi?</a:t>
              </a:r>
            </a:p>
            <a:p>
              <a:endParaRPr lang="de-DE" dirty="0"/>
            </a:p>
          </p:txBody>
        </p:sp>
        <p:sp>
          <p:nvSpPr>
            <p:cNvPr id="20" name="Textfeld 28">
              <a:extLst>
                <a:ext uri="{FF2B5EF4-FFF2-40B4-BE49-F238E27FC236}">
                  <a16:creationId xmlns:a16="http://schemas.microsoft.com/office/drawing/2014/main" id="{EC6ABA84-8608-7B4B-1777-B20E7D8CF97A}"/>
                </a:ext>
              </a:extLst>
            </p:cNvPr>
            <p:cNvSpPr txBox="1"/>
            <p:nvPr/>
          </p:nvSpPr>
          <p:spPr>
            <a:xfrm>
              <a:off x="6330621" y="2064346"/>
              <a:ext cx="2523459" cy="1015663"/>
            </a:xfrm>
            <a:prstGeom prst="rect">
              <a:avLst/>
            </a:prstGeom>
            <a:noFill/>
          </p:spPr>
          <p:txBody>
            <a:bodyPr wrap="square">
              <a:spAutoFit/>
            </a:bodyPr>
            <a:lstStyle/>
            <a:p>
              <a:pPr lvl="0">
                <a:defRPr sz="2100"/>
              </a:pPr>
              <a:r>
                <a:t>Hangi mod</a:t>
              </a:r>
              <a:endParaRPr lang="de-DE" sz="2100" dirty="0"/>
            </a:p>
            <a:p>
              <a:pPr lvl="0">
                <a:defRPr sz="2100"/>
              </a:pPr>
              <a:r>
                <a:t>kullanılacak?</a:t>
              </a:r>
            </a:p>
            <a:p>
              <a:endParaRPr lang="de-DE" dirty="0"/>
            </a:p>
          </p:txBody>
        </p:sp>
        <p:sp>
          <p:nvSpPr>
            <p:cNvPr id="21" name="Textfeld 29">
              <a:extLst>
                <a:ext uri="{FF2B5EF4-FFF2-40B4-BE49-F238E27FC236}">
                  <a16:creationId xmlns:a16="http://schemas.microsoft.com/office/drawing/2014/main" id="{94344B37-055E-A9FA-E28F-A5DE253E7B11}"/>
                </a:ext>
              </a:extLst>
            </p:cNvPr>
            <p:cNvSpPr txBox="1"/>
            <p:nvPr/>
          </p:nvSpPr>
          <p:spPr>
            <a:xfrm>
              <a:off x="8854080" y="1011412"/>
              <a:ext cx="2523459" cy="1015663"/>
            </a:xfrm>
            <a:prstGeom prst="rect">
              <a:avLst/>
            </a:prstGeom>
            <a:noFill/>
          </p:spPr>
          <p:txBody>
            <a:bodyPr wrap="square">
              <a:spAutoFit/>
            </a:bodyPr>
            <a:lstStyle/>
            <a:p>
              <a:pPr lvl="0">
                <a:defRPr sz="2100"/>
              </a:pPr>
              <a:r>
                <a:t>Hangi rota</a:t>
              </a:r>
            </a:p>
            <a:p>
              <a:pPr lvl="0">
                <a:defRPr sz="2100"/>
              </a:pPr>
              <a:r>
                <a:t>seçilecek?</a:t>
              </a:r>
            </a:p>
            <a:p>
              <a:endParaRPr lang="de-DE" dirty="0"/>
            </a:p>
          </p:txBody>
        </p:sp>
        <p:grpSp>
          <p:nvGrpSpPr>
            <p:cNvPr id="23" name="Gruppieren 15">
              <a:extLst>
                <a:ext uri="{FF2B5EF4-FFF2-40B4-BE49-F238E27FC236}">
                  <a16:creationId xmlns:a16="http://schemas.microsoft.com/office/drawing/2014/main" id="{B5E64CC8-D7B7-F930-1C7C-23EF25925A09}"/>
                </a:ext>
              </a:extLst>
            </p:cNvPr>
            <p:cNvGrpSpPr/>
            <p:nvPr/>
          </p:nvGrpSpPr>
          <p:grpSpPr>
            <a:xfrm>
              <a:off x="1018147" y="3127002"/>
              <a:ext cx="2235360" cy="1309269"/>
              <a:chOff x="548105" y="3171175"/>
              <a:chExt cx="2235360" cy="1309269"/>
            </a:xfrm>
          </p:grpSpPr>
          <p:sp>
            <p:nvSpPr>
              <p:cNvPr id="24" name="Pfeil: nach rechts 10">
                <a:extLst>
                  <a:ext uri="{FF2B5EF4-FFF2-40B4-BE49-F238E27FC236}">
                    <a16:creationId xmlns:a16="http://schemas.microsoft.com/office/drawing/2014/main" id="{F39F38F6-E6E7-4CD0-4FA9-B78EA7ADCEDE}"/>
                  </a:ext>
                </a:extLst>
              </p:cNvPr>
              <p:cNvSpPr/>
              <p:nvPr/>
            </p:nvSpPr>
            <p:spPr>
              <a:xfrm>
                <a:off x="1869065" y="3825809"/>
                <a:ext cx="914400" cy="256914"/>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pic>
            <p:nvPicPr>
              <p:cNvPr id="25" name="Grafik 14" descr="Druckerabdeckung offen mit einfarbiger Füllung">
                <a:extLst>
                  <a:ext uri="{FF2B5EF4-FFF2-40B4-BE49-F238E27FC236}">
                    <a16:creationId xmlns:a16="http://schemas.microsoft.com/office/drawing/2014/main" id="{E24CEFE1-D3AA-97A2-72E7-0066D5179C2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8105" y="3171175"/>
                <a:ext cx="1309269" cy="1309269"/>
              </a:xfrm>
              <a:prstGeom prst="rect">
                <a:avLst/>
              </a:prstGeom>
            </p:spPr>
          </p:pic>
          <p:pic>
            <p:nvPicPr>
              <p:cNvPr id="26" name="Grafik 9" descr="Gehen mit einfarbiger Füllung">
                <a:extLst>
                  <a:ext uri="{FF2B5EF4-FFF2-40B4-BE49-F238E27FC236}">
                    <a16:creationId xmlns:a16="http://schemas.microsoft.com/office/drawing/2014/main" id="{7FE5CC34-F7B6-C837-4A5C-2B8BB210500F}"/>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3711" y="3503759"/>
                <a:ext cx="914400" cy="914400"/>
              </a:xfrm>
              <a:prstGeom prst="rect">
                <a:avLst/>
              </a:prstGeom>
            </p:spPr>
          </p:pic>
        </p:grpSp>
        <p:pic>
          <p:nvPicPr>
            <p:cNvPr id="27" name="Grafik 32">
              <a:extLst>
                <a:ext uri="{FF2B5EF4-FFF2-40B4-BE49-F238E27FC236}">
                  <a16:creationId xmlns:a16="http://schemas.microsoft.com/office/drawing/2014/main" id="{C591F6B6-AF80-DFB4-6FA3-1F22D23D299F}"/>
                </a:ext>
              </a:extLst>
            </p:cNvPr>
            <p:cNvPicPr>
              <a:picLocks noChangeAspect="1"/>
            </p:cNvPicPr>
            <p:nvPr/>
          </p:nvPicPr>
          <p:blipFill>
            <a:blip r:embed="rId8"/>
            <a:stretch>
              <a:fillRect/>
            </a:stretch>
          </p:blipFill>
          <p:spPr>
            <a:xfrm>
              <a:off x="3786954" y="1379816"/>
              <a:ext cx="1876425" cy="1876425"/>
            </a:xfrm>
            <a:prstGeom prst="rect">
              <a:avLst/>
            </a:prstGeom>
          </p:spPr>
        </p:pic>
        <p:grpSp>
          <p:nvGrpSpPr>
            <p:cNvPr id="28" name="Gruppieren 62">
              <a:extLst>
                <a:ext uri="{FF2B5EF4-FFF2-40B4-BE49-F238E27FC236}">
                  <a16:creationId xmlns:a16="http://schemas.microsoft.com/office/drawing/2014/main" id="{7C8666BB-B834-5861-8D54-AE677C931CCE}"/>
                </a:ext>
              </a:extLst>
            </p:cNvPr>
            <p:cNvGrpSpPr/>
            <p:nvPr/>
          </p:nvGrpSpPr>
          <p:grpSpPr>
            <a:xfrm>
              <a:off x="6383133" y="1211686"/>
              <a:ext cx="1426633" cy="852450"/>
              <a:chOff x="6383133" y="1211686"/>
              <a:chExt cx="1426633" cy="852450"/>
            </a:xfrm>
          </p:grpSpPr>
          <p:grpSp>
            <p:nvGrpSpPr>
              <p:cNvPr id="29" name="Gruppieren 57">
                <a:extLst>
                  <a:ext uri="{FF2B5EF4-FFF2-40B4-BE49-F238E27FC236}">
                    <a16:creationId xmlns:a16="http://schemas.microsoft.com/office/drawing/2014/main" id="{3D30A6B9-D8F1-9E3A-2312-68534C5ADEB8}"/>
                  </a:ext>
                </a:extLst>
              </p:cNvPr>
              <p:cNvGrpSpPr/>
              <p:nvPr/>
            </p:nvGrpSpPr>
            <p:grpSpPr>
              <a:xfrm>
                <a:off x="6837111" y="1327229"/>
                <a:ext cx="375426" cy="272626"/>
                <a:chOff x="6708524" y="1327229"/>
                <a:chExt cx="375426" cy="272626"/>
              </a:xfrm>
            </p:grpSpPr>
            <p:grpSp>
              <p:nvGrpSpPr>
                <p:cNvPr id="40" name="Gruppieren 37">
                  <a:extLst>
                    <a:ext uri="{FF2B5EF4-FFF2-40B4-BE49-F238E27FC236}">
                      <a16:creationId xmlns:a16="http://schemas.microsoft.com/office/drawing/2014/main" id="{058A2F1F-0647-3CA9-E588-2DD8913D5CCD}"/>
                    </a:ext>
                  </a:extLst>
                </p:cNvPr>
                <p:cNvGrpSpPr>
                  <a:grpSpLocks noChangeAspect="1"/>
                </p:cNvGrpSpPr>
                <p:nvPr/>
              </p:nvGrpSpPr>
              <p:grpSpPr>
                <a:xfrm>
                  <a:off x="6708524" y="1327229"/>
                  <a:ext cx="375426" cy="272626"/>
                  <a:chOff x="8463387" y="976681"/>
                  <a:chExt cx="2475296" cy="1797504"/>
                </a:xfrm>
              </p:grpSpPr>
              <p:pic>
                <p:nvPicPr>
                  <p:cNvPr id="42" name="Inhaltsplatzhalter 4">
                    <a:extLst>
                      <a:ext uri="{FF2B5EF4-FFF2-40B4-BE49-F238E27FC236}">
                        <a16:creationId xmlns:a16="http://schemas.microsoft.com/office/drawing/2014/main" id="{467F38C3-3A1B-BB4D-FFE4-8BEFA2300B9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bwMode="gray">
                  <a:xfrm>
                    <a:off x="8463387" y="976681"/>
                    <a:ext cx="2475296" cy="1797504"/>
                  </a:xfrm>
                  <a:prstGeom prst="rect">
                    <a:avLst/>
                  </a:prstGeom>
                  <a:noFill/>
                  <a:ln w="9525">
                    <a:noFill/>
                    <a:miter lim="800000"/>
                    <a:headEnd/>
                    <a:tailEnd/>
                  </a:ln>
                </p:spPr>
              </p:pic>
              <p:sp>
                <p:nvSpPr>
                  <p:cNvPr id="43" name="Ellipse 41">
                    <a:extLst>
                      <a:ext uri="{FF2B5EF4-FFF2-40B4-BE49-F238E27FC236}">
                        <a16:creationId xmlns:a16="http://schemas.microsoft.com/office/drawing/2014/main" id="{9694CB09-4248-54F4-CAB0-E7F3123E0D98}"/>
                      </a:ext>
                    </a:extLst>
                  </p:cNvPr>
                  <p:cNvSpPr/>
                  <p:nvPr/>
                </p:nvSpPr>
                <p:spPr>
                  <a:xfrm>
                    <a:off x="9939768" y="1136641"/>
                    <a:ext cx="324000" cy="324000"/>
                  </a:xfrm>
                  <a:prstGeom prst="ellipse">
                    <a:avLst/>
                  </a:prstGeom>
                  <a:solidFill>
                    <a:srgbClr val="E021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grpSp>
            <p:sp>
              <p:nvSpPr>
                <p:cNvPr id="41" name="Ellipse 38">
                  <a:extLst>
                    <a:ext uri="{FF2B5EF4-FFF2-40B4-BE49-F238E27FC236}">
                      <a16:creationId xmlns:a16="http://schemas.microsoft.com/office/drawing/2014/main" id="{FCE8332F-751B-5992-79BB-6C25E9D2ABAD}"/>
                    </a:ext>
                  </a:extLst>
                </p:cNvPr>
                <p:cNvSpPr/>
                <p:nvPr/>
              </p:nvSpPr>
              <p:spPr>
                <a:xfrm>
                  <a:off x="6922024" y="1378163"/>
                  <a:ext cx="66744" cy="63486"/>
                </a:xfrm>
                <a:prstGeom prst="ellipse">
                  <a:avLst/>
                </a:prstGeom>
                <a:noFill/>
                <a:ln w="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grpSp>
          <p:pic>
            <p:nvPicPr>
              <p:cNvPr id="30" name="Grafik 47" descr="Gehen mit einfarbiger Füllung">
                <a:extLst>
                  <a:ext uri="{FF2B5EF4-FFF2-40B4-BE49-F238E27FC236}">
                    <a16:creationId xmlns:a16="http://schemas.microsoft.com/office/drawing/2014/main" id="{D55F86C8-F2E9-B321-B167-43FA1FA0E85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87986" y="1211686"/>
                <a:ext cx="411216" cy="411216"/>
              </a:xfrm>
              <a:prstGeom prst="rect">
                <a:avLst/>
              </a:prstGeom>
            </p:spPr>
          </p:pic>
          <p:grpSp>
            <p:nvGrpSpPr>
              <p:cNvPr id="31" name="Gruppieren 56">
                <a:extLst>
                  <a:ext uri="{FF2B5EF4-FFF2-40B4-BE49-F238E27FC236}">
                    <a16:creationId xmlns:a16="http://schemas.microsoft.com/office/drawing/2014/main" id="{A4C1DDE2-34F9-EF5E-5B58-011CB624CF9F}"/>
                  </a:ext>
                </a:extLst>
              </p:cNvPr>
              <p:cNvGrpSpPr/>
              <p:nvPr/>
            </p:nvGrpSpPr>
            <p:grpSpPr>
              <a:xfrm>
                <a:off x="7434339" y="1331996"/>
                <a:ext cx="375427" cy="272627"/>
                <a:chOff x="7305752" y="1331996"/>
                <a:chExt cx="375427" cy="272627"/>
              </a:xfrm>
            </p:grpSpPr>
            <p:pic>
              <p:nvPicPr>
                <p:cNvPr id="36" name="Inhaltsplatzhalter 4">
                  <a:extLst>
                    <a:ext uri="{FF2B5EF4-FFF2-40B4-BE49-F238E27FC236}">
                      <a16:creationId xmlns:a16="http://schemas.microsoft.com/office/drawing/2014/main" id="{44609DEF-1113-60D4-3819-BF7DA10A939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bwMode="gray">
                <a:xfrm>
                  <a:off x="7305752" y="1331996"/>
                  <a:ext cx="375427" cy="272627"/>
                </a:xfrm>
                <a:prstGeom prst="rect">
                  <a:avLst/>
                </a:prstGeom>
                <a:noFill/>
                <a:ln w="9525">
                  <a:noFill/>
                  <a:miter lim="800000"/>
                  <a:headEnd/>
                  <a:tailEnd/>
                </a:ln>
              </p:spPr>
            </p:pic>
            <p:sp>
              <p:nvSpPr>
                <p:cNvPr id="37" name="Ellipse 44">
                  <a:extLst>
                    <a:ext uri="{FF2B5EF4-FFF2-40B4-BE49-F238E27FC236}">
                      <a16:creationId xmlns:a16="http://schemas.microsoft.com/office/drawing/2014/main" id="{D9E77113-D250-B818-ECB9-33480F21CC37}"/>
                    </a:ext>
                  </a:extLst>
                </p:cNvPr>
                <p:cNvSpPr/>
                <p:nvPr/>
              </p:nvSpPr>
              <p:spPr>
                <a:xfrm>
                  <a:off x="7397354" y="1354431"/>
                  <a:ext cx="49141" cy="49141"/>
                </a:xfrm>
                <a:prstGeom prst="ellipse">
                  <a:avLst/>
                </a:prstGeom>
                <a:solidFill>
                  <a:srgbClr val="E021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sp>
              <p:nvSpPr>
                <p:cNvPr id="38" name="Ellipse 45">
                  <a:extLst>
                    <a:ext uri="{FF2B5EF4-FFF2-40B4-BE49-F238E27FC236}">
                      <a16:creationId xmlns:a16="http://schemas.microsoft.com/office/drawing/2014/main" id="{ED686FB0-3BFB-D498-6F39-BEF020D53A82}"/>
                    </a:ext>
                  </a:extLst>
                </p:cNvPr>
                <p:cNvSpPr/>
                <p:nvPr/>
              </p:nvSpPr>
              <p:spPr>
                <a:xfrm>
                  <a:off x="7537639" y="1352780"/>
                  <a:ext cx="49141" cy="49141"/>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sp>
              <p:nvSpPr>
                <p:cNvPr id="39" name="Ellipse 49">
                  <a:extLst>
                    <a:ext uri="{FF2B5EF4-FFF2-40B4-BE49-F238E27FC236}">
                      <a16:creationId xmlns:a16="http://schemas.microsoft.com/office/drawing/2014/main" id="{134B954C-932A-7B74-BA27-B80829327E48}"/>
                    </a:ext>
                  </a:extLst>
                </p:cNvPr>
                <p:cNvSpPr/>
                <p:nvPr/>
              </p:nvSpPr>
              <p:spPr>
                <a:xfrm>
                  <a:off x="7528837" y="1379628"/>
                  <a:ext cx="66744" cy="63486"/>
                </a:xfrm>
                <a:prstGeom prst="ellipse">
                  <a:avLst/>
                </a:prstGeom>
                <a:noFill/>
                <a:ln w="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grpSp>
          <p:pic>
            <p:nvPicPr>
              <p:cNvPr id="32" name="Grafik 53">
                <a:extLst>
                  <a:ext uri="{FF2B5EF4-FFF2-40B4-BE49-F238E27FC236}">
                    <a16:creationId xmlns:a16="http://schemas.microsoft.com/office/drawing/2014/main" id="{9424167C-530D-97E2-0188-596433822067}"/>
                  </a:ext>
                </a:extLst>
              </p:cNvPr>
              <p:cNvPicPr>
                <a:picLocks noChangeAspect="1"/>
              </p:cNvPicPr>
              <p:nvPr/>
            </p:nvPicPr>
            <p:blipFill>
              <a:blip r:embed="rId10"/>
              <a:stretch>
                <a:fillRect/>
              </a:stretch>
            </p:blipFill>
            <p:spPr>
              <a:xfrm>
                <a:off x="6383133" y="1637081"/>
                <a:ext cx="416069" cy="416069"/>
              </a:xfrm>
              <a:prstGeom prst="rect">
                <a:avLst/>
              </a:prstGeom>
            </p:spPr>
          </p:pic>
          <p:grpSp>
            <p:nvGrpSpPr>
              <p:cNvPr id="33" name="Gruppieren 55">
                <a:extLst>
                  <a:ext uri="{FF2B5EF4-FFF2-40B4-BE49-F238E27FC236}">
                    <a16:creationId xmlns:a16="http://schemas.microsoft.com/office/drawing/2014/main" id="{0D842BF0-40AC-94CA-4252-63C73E9C4A12}"/>
                  </a:ext>
                </a:extLst>
              </p:cNvPr>
              <p:cNvGrpSpPr/>
              <p:nvPr/>
            </p:nvGrpSpPr>
            <p:grpSpPr>
              <a:xfrm>
                <a:off x="6994637" y="1656571"/>
                <a:ext cx="815129" cy="407565"/>
                <a:chOff x="7085902" y="1698419"/>
                <a:chExt cx="815129" cy="407565"/>
              </a:xfrm>
            </p:grpSpPr>
            <p:pic>
              <p:nvPicPr>
                <p:cNvPr id="34" name="Grafik 33">
                  <a:extLst>
                    <a:ext uri="{FF2B5EF4-FFF2-40B4-BE49-F238E27FC236}">
                      <a16:creationId xmlns:a16="http://schemas.microsoft.com/office/drawing/2014/main" id="{45DF07CE-C334-D17A-8FB2-B1EE130A8ED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085902" y="1698419"/>
                  <a:ext cx="815129" cy="407565"/>
                </a:xfrm>
                <a:prstGeom prst="rect">
                  <a:avLst/>
                </a:prstGeom>
              </p:spPr>
            </p:pic>
            <p:sp>
              <p:nvSpPr>
                <p:cNvPr id="35" name="Ellipse 54">
                  <a:extLst>
                    <a:ext uri="{FF2B5EF4-FFF2-40B4-BE49-F238E27FC236}">
                      <a16:creationId xmlns:a16="http://schemas.microsoft.com/office/drawing/2014/main" id="{185E259A-DCEB-AE00-EF52-6C64F7B557E6}"/>
                    </a:ext>
                  </a:extLst>
                </p:cNvPr>
                <p:cNvSpPr/>
                <p:nvPr/>
              </p:nvSpPr>
              <p:spPr>
                <a:xfrm>
                  <a:off x="7576298" y="1794053"/>
                  <a:ext cx="49141" cy="49141"/>
                </a:xfrm>
                <a:prstGeom prst="ellipse">
                  <a:avLst/>
                </a:prstGeom>
                <a:solidFill>
                  <a:srgbClr val="E021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grpSp>
        </p:grpSp>
        <p:pic>
          <p:nvPicPr>
            <p:cNvPr id="44" name="Grafik 61">
              <a:extLst>
                <a:ext uri="{FF2B5EF4-FFF2-40B4-BE49-F238E27FC236}">
                  <a16:creationId xmlns:a16="http://schemas.microsoft.com/office/drawing/2014/main" id="{6C1961D6-DC26-84FB-46E6-2ECDAC62D135}"/>
                </a:ext>
              </a:extLst>
            </p:cNvPr>
            <p:cNvPicPr>
              <a:picLocks noChangeAspect="1"/>
            </p:cNvPicPr>
            <p:nvPr/>
          </p:nvPicPr>
          <p:blipFill>
            <a:blip r:embed="rId12"/>
            <a:stretch>
              <a:fillRect/>
            </a:stretch>
          </p:blipFill>
          <p:spPr>
            <a:xfrm>
              <a:off x="9318274" y="42460"/>
              <a:ext cx="1093548" cy="1093548"/>
            </a:xfrm>
            <a:prstGeom prst="rect">
              <a:avLst/>
            </a:prstGeom>
          </p:spPr>
        </p:pic>
      </p:grpSp>
    </p:spTree>
    <p:extLst>
      <p:ext uri="{BB962C8B-B14F-4D97-AF65-F5344CB8AC3E}">
        <p14:creationId xmlns:p14="http://schemas.microsoft.com/office/powerpoint/2010/main" val="8940078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955E5A2C-5489-08D3-D0CE-519041C5DADF}"/>
              </a:ext>
            </a:extLst>
          </p:cNvPr>
          <p:cNvSpPr txBox="1"/>
          <p:nvPr/>
        </p:nvSpPr>
        <p:spPr>
          <a:xfrm>
            <a:off x="109636" y="1032979"/>
            <a:ext cx="6097554" cy="584775"/>
          </a:xfrm>
          <a:prstGeom prst="rect">
            <a:avLst/>
          </a:prstGeom>
          <a:noFill/>
        </p:spPr>
        <p:txBody>
          <a:bodyPr wrap="square">
            <a:spAutoFit/>
          </a:bodyPr>
          <a:lstStyle/>
          <a:p>
            <a:pPr>
              <a:defRPr sz="3200" b="1"/>
            </a:pPr>
            <a:r>
              <a:t>Tanım: talep modellemesi</a:t>
            </a:r>
          </a:p>
        </p:txBody>
      </p:sp>
      <p:grpSp>
        <p:nvGrpSpPr>
          <p:cNvPr id="50" name="Group 49">
            <a:extLst>
              <a:ext uri="{FF2B5EF4-FFF2-40B4-BE49-F238E27FC236}">
                <a16:creationId xmlns:a16="http://schemas.microsoft.com/office/drawing/2014/main" id="{8203D0AA-7D56-AC06-5B9D-5E29FE6C7B2A}"/>
              </a:ext>
            </a:extLst>
          </p:cNvPr>
          <p:cNvGrpSpPr/>
          <p:nvPr/>
        </p:nvGrpSpPr>
        <p:grpSpPr>
          <a:xfrm>
            <a:off x="1654843" y="1751587"/>
            <a:ext cx="9104694" cy="4175202"/>
            <a:chOff x="720000" y="1231332"/>
            <a:chExt cx="10764000" cy="5090648"/>
          </a:xfrm>
        </p:grpSpPr>
        <p:sp>
          <p:nvSpPr>
            <p:cNvPr id="4" name="Text Box 1028">
              <a:extLst>
                <a:ext uri="{FF2B5EF4-FFF2-40B4-BE49-F238E27FC236}">
                  <a16:creationId xmlns:a16="http://schemas.microsoft.com/office/drawing/2014/main" id="{25397BD5-01B8-D902-7D87-10587CFEAAE9}"/>
                </a:ext>
              </a:extLst>
            </p:cNvPr>
            <p:cNvSpPr txBox="1">
              <a:spLocks noChangeArrowheads="1"/>
            </p:cNvSpPr>
            <p:nvPr/>
          </p:nvSpPr>
          <p:spPr bwMode="auto">
            <a:xfrm>
              <a:off x="720000" y="1231332"/>
              <a:ext cx="10764000" cy="860509"/>
            </a:xfrm>
            <a:prstGeom prst="rect">
              <a:avLst/>
            </a:prstGeom>
            <a:noFill/>
            <a:ln w="38100">
              <a:solidFill>
                <a:schemeClr val="bg1">
                  <a:lumMod val="50000"/>
                </a:schemeClr>
              </a:solidFill>
              <a:miter lim="800000"/>
              <a:headEnd/>
              <a:tailEnd/>
            </a:ln>
          </p:spPr>
          <p:txBody>
            <a:bodyPr lIns="161921" tIns="80960" rIns="40481" bIns="80960" anchor="ctr"/>
            <a:lstStyle/>
            <a:p>
              <a:pPr defTabSz="1028597">
                <a:defRPr i="1"/>
              </a:pPr>
              <a:r>
                <a:t>Girdi</a:t>
              </a:r>
            </a:p>
          </p:txBody>
        </p:sp>
        <p:sp>
          <p:nvSpPr>
            <p:cNvPr id="5" name="Text Box 1032">
              <a:extLst>
                <a:ext uri="{FF2B5EF4-FFF2-40B4-BE49-F238E27FC236}">
                  <a16:creationId xmlns:a16="http://schemas.microsoft.com/office/drawing/2014/main" id="{3CDA40C8-5DAE-B208-EA5F-00ACCC5783AF}"/>
                </a:ext>
              </a:extLst>
            </p:cNvPr>
            <p:cNvSpPr txBox="1">
              <a:spLocks noChangeArrowheads="1"/>
            </p:cNvSpPr>
            <p:nvPr/>
          </p:nvSpPr>
          <p:spPr bwMode="auto">
            <a:xfrm>
              <a:off x="2712650" y="1430722"/>
              <a:ext cx="2016000" cy="432000"/>
            </a:xfrm>
            <a:prstGeom prst="rect">
              <a:avLst/>
            </a:prstGeom>
            <a:solidFill>
              <a:schemeClr val="bg1"/>
            </a:solidFill>
            <a:ln w="12700">
              <a:solidFill>
                <a:schemeClr val="tx1"/>
              </a:solidFill>
              <a:miter lim="800000"/>
              <a:headEnd/>
              <a:tailEnd/>
            </a:ln>
            <a:effectLst>
              <a:outerShdw dist="107763" dir="2700000" algn="ctr" rotWithShape="0">
                <a:schemeClr val="bg2"/>
              </a:outerShdw>
            </a:effectLst>
          </p:spPr>
          <p:txBody>
            <a:bodyPr lIns="35995" tIns="80960" rIns="35995" bIns="80960"/>
            <a:lstStyle/>
            <a:p>
              <a:pPr algn="ctr" defTabSz="1028597">
                <a:defRPr/>
              </a:pPr>
              <a:r>
                <a:t>Seyahat davranışı</a:t>
              </a:r>
              <a:endParaRPr lang="de-DE"/>
            </a:p>
          </p:txBody>
        </p:sp>
        <p:sp>
          <p:nvSpPr>
            <p:cNvPr id="6" name="Text Box 1029">
              <a:extLst>
                <a:ext uri="{FF2B5EF4-FFF2-40B4-BE49-F238E27FC236}">
                  <a16:creationId xmlns:a16="http://schemas.microsoft.com/office/drawing/2014/main" id="{420F9C2C-E6E9-8BD1-2CE9-B84CF5DFCAA3}"/>
                </a:ext>
              </a:extLst>
            </p:cNvPr>
            <p:cNvSpPr txBox="1">
              <a:spLocks noChangeArrowheads="1"/>
            </p:cNvSpPr>
            <p:nvPr/>
          </p:nvSpPr>
          <p:spPr bwMode="auto">
            <a:xfrm>
              <a:off x="720000" y="2185649"/>
              <a:ext cx="10753113" cy="2851040"/>
            </a:xfrm>
            <a:prstGeom prst="rect">
              <a:avLst/>
            </a:prstGeom>
            <a:noFill/>
            <a:ln w="38100">
              <a:solidFill>
                <a:schemeClr val="bg1">
                  <a:lumMod val="50000"/>
                </a:schemeClr>
              </a:solidFill>
              <a:miter lim="800000"/>
              <a:headEnd/>
              <a:tailEnd/>
            </a:ln>
          </p:spPr>
          <p:txBody>
            <a:bodyPr lIns="161921" tIns="80960" rIns="40481" bIns="80960" anchor="ctr"/>
            <a:lstStyle/>
            <a:p>
              <a:pPr defTabSz="1028597">
                <a:defRPr i="1"/>
              </a:pPr>
              <a:r>
                <a:t>Etki modeli</a:t>
              </a:r>
              <a:endParaRPr lang="de-DE" i="1" dirty="0"/>
            </a:p>
          </p:txBody>
        </p:sp>
        <p:sp>
          <p:nvSpPr>
            <p:cNvPr id="7" name="Text Box 1031">
              <a:extLst>
                <a:ext uri="{FF2B5EF4-FFF2-40B4-BE49-F238E27FC236}">
                  <a16:creationId xmlns:a16="http://schemas.microsoft.com/office/drawing/2014/main" id="{EA51B59C-41CE-3B6C-8E97-D6CC5468FED2}"/>
                </a:ext>
              </a:extLst>
            </p:cNvPr>
            <p:cNvSpPr txBox="1">
              <a:spLocks noChangeArrowheads="1"/>
            </p:cNvSpPr>
            <p:nvPr/>
          </p:nvSpPr>
          <p:spPr bwMode="auto">
            <a:xfrm>
              <a:off x="2797785" y="2346492"/>
              <a:ext cx="8534400" cy="2461070"/>
            </a:xfrm>
            <a:prstGeom prst="rect">
              <a:avLst/>
            </a:prstGeom>
            <a:solidFill>
              <a:schemeClr val="bg1"/>
            </a:solidFill>
            <a:ln w="12700">
              <a:solidFill>
                <a:schemeClr val="tx1"/>
              </a:solidFill>
              <a:miter lim="800000"/>
              <a:headEnd/>
              <a:tailEnd/>
            </a:ln>
            <a:effectLst>
              <a:outerShdw dist="107763" dir="2700000" algn="ctr" rotWithShape="0">
                <a:schemeClr val="bg2"/>
              </a:outerShdw>
            </a:effectLst>
          </p:spPr>
          <p:txBody>
            <a:bodyPr lIns="107986" tIns="107986" rIns="107986" bIns="80960"/>
            <a:lstStyle/>
            <a:p>
              <a:pPr defTabSz="1028597">
                <a:defRPr sz="1400"/>
              </a:pPr>
              <a:r>
                <a:t>Birbiriyle bağlantılı karar süreçlerinin modellenmesi, </a:t>
              </a:r>
            </a:p>
            <a:p>
              <a:pPr defTabSz="1028597">
                <a:lnSpc>
                  <a:spcPct val="150000"/>
                </a:lnSpc>
                <a:defRPr sz="1400"/>
              </a:pPr>
              <a:r>
                <a:t>.</a:t>
              </a:r>
            </a:p>
            <a:p>
              <a:pPr marL="361914" indent="-361914" defTabSz="1028597">
                <a:lnSpc>
                  <a:spcPct val="150000"/>
                </a:lnSpc>
                <a:buFont typeface="Arial" pitchFamily="34" charset="0"/>
                <a:buChar char="•"/>
                <a:defRPr sz="1400"/>
              </a:pPr>
              <a:r>
                <a:t>Faaliyet tercihi</a:t>
              </a:r>
            </a:p>
            <a:p>
              <a:pPr marL="361914" indent="-361914" defTabSz="1028597">
                <a:buFont typeface="Arial" pitchFamily="34" charset="0"/>
                <a:buChar char="•"/>
                <a:defRPr sz="1400"/>
              </a:pPr>
              <a:r>
                <a:t>Varış noktası tercihi</a:t>
              </a:r>
            </a:p>
            <a:p>
              <a:pPr marL="361914" indent="-361914" defTabSz="1028597">
                <a:buFont typeface="Arial" pitchFamily="34" charset="0"/>
                <a:buChar char="•"/>
                <a:defRPr sz="1400"/>
              </a:pPr>
              <a:r>
                <a:t>Mod seçimi</a:t>
              </a:r>
            </a:p>
            <a:p>
              <a:pPr marL="361914" indent="-361914" defTabSz="1028597">
                <a:buFont typeface="Arial" pitchFamily="34" charset="0"/>
                <a:buChar char="•"/>
                <a:defRPr sz="1400"/>
              </a:pPr>
              <a:r>
                <a:t>Gün içerisinde belirli bir saatin seçimi</a:t>
              </a:r>
            </a:p>
            <a:p>
              <a:pPr marL="361914" indent="-361914" defTabSz="1028597">
                <a:buFont typeface="Arial" pitchFamily="34" charset="0"/>
                <a:buChar char="•"/>
                <a:defRPr sz="1400"/>
              </a:pPr>
              <a:r>
                <a:t>Güzergah seçimi</a:t>
              </a:r>
            </a:p>
            <a:p>
              <a:pPr marL="361914" indent="-361914" defTabSz="1028597">
                <a:buFont typeface="Arial" pitchFamily="34" charset="0"/>
                <a:buChar char="•"/>
                <a:defRPr/>
              </a:pPr>
              <a:endParaRPr lang="de-DE" dirty="0"/>
            </a:p>
            <a:p>
              <a:pPr algn="ctr" defTabSz="1028597">
                <a:defRPr/>
              </a:pPr>
              <a:endParaRPr lang="de-DE" dirty="0"/>
            </a:p>
          </p:txBody>
        </p:sp>
        <p:sp>
          <p:nvSpPr>
            <p:cNvPr id="8" name="AutoShape 1034">
              <a:extLst>
                <a:ext uri="{FF2B5EF4-FFF2-40B4-BE49-F238E27FC236}">
                  <a16:creationId xmlns:a16="http://schemas.microsoft.com/office/drawing/2014/main" id="{E57ECB09-7A0B-CAAD-4DF1-F4AFD181C205}"/>
                </a:ext>
              </a:extLst>
            </p:cNvPr>
            <p:cNvSpPr>
              <a:spLocks noChangeArrowheads="1"/>
            </p:cNvSpPr>
            <p:nvPr/>
          </p:nvSpPr>
          <p:spPr bwMode="auto">
            <a:xfrm>
              <a:off x="888861" y="1865657"/>
              <a:ext cx="1823789" cy="598972"/>
            </a:xfrm>
            <a:prstGeom prst="downArrow">
              <a:avLst>
                <a:gd name="adj1" fmla="val 53843"/>
                <a:gd name="adj2" fmla="val 47301"/>
              </a:avLst>
            </a:prstGeom>
            <a:solidFill>
              <a:schemeClr val="folHlink"/>
            </a:solidFill>
            <a:ln w="12700">
              <a:solidFill>
                <a:schemeClr val="tx1"/>
              </a:solidFill>
              <a:miter lim="800000"/>
              <a:headEnd/>
              <a:tailEnd/>
            </a:ln>
          </p:spPr>
          <p:txBody>
            <a:bodyPr wrap="none" anchor="ctr"/>
            <a:lstStyle/>
            <a:p>
              <a:endParaRPr lang="de-DE"/>
            </a:p>
          </p:txBody>
        </p:sp>
        <p:sp>
          <p:nvSpPr>
            <p:cNvPr id="9" name="Text Box 1035">
              <a:extLst>
                <a:ext uri="{FF2B5EF4-FFF2-40B4-BE49-F238E27FC236}">
                  <a16:creationId xmlns:a16="http://schemas.microsoft.com/office/drawing/2014/main" id="{35DB3CB0-841A-325C-B066-59426C3A6CBF}"/>
                </a:ext>
              </a:extLst>
            </p:cNvPr>
            <p:cNvSpPr txBox="1">
              <a:spLocks noChangeArrowheads="1"/>
            </p:cNvSpPr>
            <p:nvPr/>
          </p:nvSpPr>
          <p:spPr bwMode="auto">
            <a:xfrm>
              <a:off x="9239829" y="1430722"/>
              <a:ext cx="2016000" cy="432000"/>
            </a:xfrm>
            <a:prstGeom prst="rect">
              <a:avLst/>
            </a:prstGeom>
            <a:solidFill>
              <a:schemeClr val="bg1"/>
            </a:solidFill>
            <a:ln w="12700">
              <a:solidFill>
                <a:schemeClr val="tx1"/>
              </a:solidFill>
              <a:miter lim="800000"/>
              <a:headEnd/>
              <a:tailEnd/>
            </a:ln>
            <a:effectLst>
              <a:outerShdw dist="107763" dir="2700000" algn="ctr" rotWithShape="0">
                <a:schemeClr val="bg2"/>
              </a:outerShdw>
            </a:effectLst>
          </p:spPr>
          <p:txBody>
            <a:bodyPr lIns="35995" tIns="80960" rIns="35995" bIns="80960"/>
            <a:lstStyle/>
            <a:p>
              <a:pPr algn="ctr" defTabSz="1028597">
                <a:defRPr/>
              </a:pPr>
              <a:r>
                <a:t>Ulaşım tedariği</a:t>
              </a:r>
              <a:endParaRPr lang="de-DE" dirty="0"/>
            </a:p>
          </p:txBody>
        </p:sp>
        <p:sp>
          <p:nvSpPr>
            <p:cNvPr id="10" name="Text Box 1032">
              <a:extLst>
                <a:ext uri="{FF2B5EF4-FFF2-40B4-BE49-F238E27FC236}">
                  <a16:creationId xmlns:a16="http://schemas.microsoft.com/office/drawing/2014/main" id="{EAE01719-57AE-37BF-9155-BF633EB0281C}"/>
                </a:ext>
              </a:extLst>
            </p:cNvPr>
            <p:cNvSpPr txBox="1">
              <a:spLocks noChangeArrowheads="1"/>
            </p:cNvSpPr>
            <p:nvPr/>
          </p:nvSpPr>
          <p:spPr bwMode="auto">
            <a:xfrm>
              <a:off x="6018807" y="1414456"/>
              <a:ext cx="2016000" cy="432000"/>
            </a:xfrm>
            <a:prstGeom prst="rect">
              <a:avLst/>
            </a:prstGeom>
            <a:solidFill>
              <a:schemeClr val="bg1"/>
            </a:solidFill>
            <a:ln w="12700">
              <a:solidFill>
                <a:schemeClr val="tx1"/>
              </a:solidFill>
              <a:miter lim="800000"/>
              <a:headEnd/>
              <a:tailEnd/>
            </a:ln>
            <a:effectLst>
              <a:outerShdw dist="107763" dir="2700000" algn="ctr" rotWithShape="0">
                <a:schemeClr val="bg2"/>
              </a:outerShdw>
            </a:effectLst>
          </p:spPr>
          <p:txBody>
            <a:bodyPr lIns="35995" tIns="80960" rIns="35995" bIns="80960"/>
            <a:lstStyle/>
            <a:p>
              <a:pPr algn="ctr" defTabSz="1028597">
                <a:defRPr/>
              </a:pPr>
              <a:r>
                <a:t>arazi kullanım verisi</a:t>
              </a:r>
              <a:endParaRPr lang="de-DE"/>
            </a:p>
          </p:txBody>
        </p:sp>
        <p:sp>
          <p:nvSpPr>
            <p:cNvPr id="11" name="Text Box 1030">
              <a:extLst>
                <a:ext uri="{FF2B5EF4-FFF2-40B4-BE49-F238E27FC236}">
                  <a16:creationId xmlns:a16="http://schemas.microsoft.com/office/drawing/2014/main" id="{71ACB5F0-40AB-5579-36C4-A233A0DEA6CA}"/>
                </a:ext>
              </a:extLst>
            </p:cNvPr>
            <p:cNvSpPr txBox="1">
              <a:spLocks noChangeArrowheads="1"/>
            </p:cNvSpPr>
            <p:nvPr/>
          </p:nvSpPr>
          <p:spPr bwMode="auto">
            <a:xfrm>
              <a:off x="720000" y="5126107"/>
              <a:ext cx="10764000" cy="1195873"/>
            </a:xfrm>
            <a:prstGeom prst="rect">
              <a:avLst/>
            </a:prstGeom>
            <a:noFill/>
            <a:ln w="38100">
              <a:solidFill>
                <a:schemeClr val="bg1">
                  <a:lumMod val="50000"/>
                </a:schemeClr>
              </a:solidFill>
              <a:miter lim="800000"/>
              <a:headEnd/>
              <a:tailEnd/>
            </a:ln>
          </p:spPr>
          <p:txBody>
            <a:bodyPr lIns="161921" tIns="80960" rIns="40481" bIns="80960" anchor="ctr"/>
            <a:lstStyle/>
            <a:p>
              <a:pPr marL="284135" indent="-284135" defTabSz="1028597">
                <a:defRPr i="1"/>
              </a:pPr>
              <a:r>
                <a:t>Çıktı</a:t>
              </a:r>
            </a:p>
          </p:txBody>
        </p:sp>
        <p:sp>
          <p:nvSpPr>
            <p:cNvPr id="12" name="Text Box 1033">
              <a:extLst>
                <a:ext uri="{FF2B5EF4-FFF2-40B4-BE49-F238E27FC236}">
                  <a16:creationId xmlns:a16="http://schemas.microsoft.com/office/drawing/2014/main" id="{685BCA49-07F1-FCB8-A173-95D56C3AAF11}"/>
                </a:ext>
              </a:extLst>
            </p:cNvPr>
            <p:cNvSpPr txBox="1">
              <a:spLocks noChangeArrowheads="1"/>
            </p:cNvSpPr>
            <p:nvPr/>
          </p:nvSpPr>
          <p:spPr bwMode="auto">
            <a:xfrm>
              <a:off x="2797785" y="5288121"/>
              <a:ext cx="8458044" cy="832992"/>
            </a:xfrm>
            <a:prstGeom prst="rect">
              <a:avLst/>
            </a:prstGeom>
            <a:solidFill>
              <a:schemeClr val="bg1"/>
            </a:solidFill>
            <a:ln w="12700">
              <a:solidFill>
                <a:schemeClr val="tx1"/>
              </a:solidFill>
              <a:miter lim="800000"/>
              <a:headEnd/>
              <a:tailEnd/>
            </a:ln>
            <a:effectLst>
              <a:outerShdw dist="107763" dir="2700000" algn="ctr" rotWithShape="0">
                <a:schemeClr val="bg2"/>
              </a:outerShdw>
            </a:effectLst>
          </p:spPr>
          <p:txBody>
            <a:bodyPr lIns="161921" tIns="80960" rIns="40481" bIns="80960"/>
            <a:lstStyle/>
            <a:p>
              <a:pPr marL="284135" indent="-284135" defTabSz="1028597">
                <a:buFontTx/>
                <a:buChar char="•"/>
                <a:defRPr/>
              </a:pPr>
              <a:r>
                <a:t>Seyahat süreleri</a:t>
              </a:r>
              <a:endParaRPr lang="de-DE"/>
            </a:p>
            <a:p>
              <a:pPr marL="284135" indent="-284135" defTabSz="1028597">
                <a:buFontTx/>
                <a:buChar char="•"/>
                <a:defRPr/>
              </a:pPr>
              <a:r>
                <a:t>Trafik hacimleri</a:t>
              </a:r>
              <a:endParaRPr lang="de-DE"/>
            </a:p>
          </p:txBody>
        </p:sp>
        <p:sp>
          <p:nvSpPr>
            <p:cNvPr id="13" name="Text Box 1033">
              <a:extLst>
                <a:ext uri="{FF2B5EF4-FFF2-40B4-BE49-F238E27FC236}">
                  <a16:creationId xmlns:a16="http://schemas.microsoft.com/office/drawing/2014/main" id="{5EABD27B-B2D0-D860-7A92-745407B8FDBF}"/>
                </a:ext>
              </a:extLst>
            </p:cNvPr>
            <p:cNvSpPr txBox="1">
              <a:spLocks noChangeArrowheads="1"/>
            </p:cNvSpPr>
            <p:nvPr/>
          </p:nvSpPr>
          <p:spPr bwMode="auto">
            <a:xfrm>
              <a:off x="7550978" y="5325305"/>
              <a:ext cx="2258905" cy="758623"/>
            </a:xfrm>
            <a:prstGeom prst="rect">
              <a:avLst/>
            </a:prstGeom>
            <a:solidFill>
              <a:schemeClr val="bg1"/>
            </a:solidFill>
            <a:ln w="12700">
              <a:noFill/>
              <a:miter lim="800000"/>
              <a:headEnd/>
              <a:tailEnd/>
            </a:ln>
          </p:spPr>
          <p:txBody>
            <a:bodyPr lIns="161921" tIns="80960" rIns="40481" bIns="80960"/>
            <a:lstStyle/>
            <a:p>
              <a:pPr marL="284135" indent="-284135" defTabSz="1028597">
                <a:buFontTx/>
                <a:buChar char="•"/>
              </a:pPr>
              <a:r>
                <a:t>Trafik akışları</a:t>
              </a:r>
              <a:endParaRPr lang="de-DE"/>
            </a:p>
            <a:p>
              <a:pPr marL="284135" indent="-284135" defTabSz="1028597">
                <a:buFontTx/>
                <a:buChar char="•"/>
              </a:pPr>
              <a:r>
                <a:t>....</a:t>
              </a:r>
            </a:p>
          </p:txBody>
        </p:sp>
        <p:sp>
          <p:nvSpPr>
            <p:cNvPr id="14" name="AutoShape 1034">
              <a:extLst>
                <a:ext uri="{FF2B5EF4-FFF2-40B4-BE49-F238E27FC236}">
                  <a16:creationId xmlns:a16="http://schemas.microsoft.com/office/drawing/2014/main" id="{CDA1108F-C052-D95E-1785-4BB66A260DA4}"/>
                </a:ext>
              </a:extLst>
            </p:cNvPr>
            <p:cNvSpPr>
              <a:spLocks noChangeArrowheads="1"/>
            </p:cNvSpPr>
            <p:nvPr/>
          </p:nvSpPr>
          <p:spPr bwMode="auto">
            <a:xfrm>
              <a:off x="888862" y="4807562"/>
              <a:ext cx="1823789" cy="598972"/>
            </a:xfrm>
            <a:prstGeom prst="downArrow">
              <a:avLst>
                <a:gd name="adj1" fmla="val 53843"/>
                <a:gd name="adj2" fmla="val 47301"/>
              </a:avLst>
            </a:prstGeom>
            <a:solidFill>
              <a:schemeClr val="folHlink"/>
            </a:solidFill>
            <a:ln w="12700">
              <a:solidFill>
                <a:schemeClr val="tx1"/>
              </a:solidFill>
              <a:miter lim="800000"/>
              <a:headEnd/>
              <a:tailEnd/>
            </a:ln>
          </p:spPr>
          <p:txBody>
            <a:bodyPr wrap="none" anchor="ctr"/>
            <a:lstStyle/>
            <a:p>
              <a:endParaRPr lang="de-DE"/>
            </a:p>
          </p:txBody>
        </p:sp>
        <p:grpSp>
          <p:nvGrpSpPr>
            <p:cNvPr id="15" name="Gruppieren 14">
              <a:extLst>
                <a:ext uri="{FF2B5EF4-FFF2-40B4-BE49-F238E27FC236}">
                  <a16:creationId xmlns:a16="http://schemas.microsoft.com/office/drawing/2014/main" id="{2C0EE1B5-CD74-D2F8-2E34-ACAD3EBFCF4D}"/>
                </a:ext>
              </a:extLst>
            </p:cNvPr>
            <p:cNvGrpSpPr/>
            <p:nvPr/>
          </p:nvGrpSpPr>
          <p:grpSpPr>
            <a:xfrm>
              <a:off x="7473156" y="3041791"/>
              <a:ext cx="2619662" cy="1625995"/>
              <a:chOff x="1083460" y="272959"/>
              <a:chExt cx="9941187" cy="6170385"/>
            </a:xfrm>
          </p:grpSpPr>
          <p:grpSp>
            <p:nvGrpSpPr>
              <p:cNvPr id="16" name="Gruppieren 15">
                <a:extLst>
                  <a:ext uri="{FF2B5EF4-FFF2-40B4-BE49-F238E27FC236}">
                    <a16:creationId xmlns:a16="http://schemas.microsoft.com/office/drawing/2014/main" id="{440A454A-5508-ABA6-DE89-3C18DC7C34AB}"/>
                  </a:ext>
                </a:extLst>
              </p:cNvPr>
              <p:cNvGrpSpPr/>
              <p:nvPr/>
            </p:nvGrpSpPr>
            <p:grpSpPr>
              <a:xfrm>
                <a:off x="1083460" y="4941115"/>
                <a:ext cx="2430000" cy="1502229"/>
                <a:chOff x="1083460" y="4941115"/>
                <a:chExt cx="2430000" cy="1502229"/>
              </a:xfrm>
            </p:grpSpPr>
            <p:sp>
              <p:nvSpPr>
                <p:cNvPr id="48" name="Rechteck 48">
                  <a:extLst>
                    <a:ext uri="{FF2B5EF4-FFF2-40B4-BE49-F238E27FC236}">
                      <a16:creationId xmlns:a16="http://schemas.microsoft.com/office/drawing/2014/main" id="{90B979DF-6EF9-52D8-B6F4-FD18EB24DF2F}"/>
                    </a:ext>
                  </a:extLst>
                </p:cNvPr>
                <p:cNvSpPr/>
                <p:nvPr/>
              </p:nvSpPr>
              <p:spPr>
                <a:xfrm>
                  <a:off x="1083460" y="4941115"/>
                  <a:ext cx="261257" cy="1502229"/>
                </a:xfrm>
                <a:prstGeom prst="rect">
                  <a:avLst/>
                </a:prstGeom>
                <a:scene3d>
                  <a:camera prst="obliqueBottomRight"/>
                  <a:lightRig rig="threePt" dir="t"/>
                </a:scene3d>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endParaRPr lang="de-DE"/>
                </a:p>
              </p:txBody>
            </p:sp>
            <p:sp>
              <p:nvSpPr>
                <p:cNvPr id="49" name="Rechteck 49">
                  <a:extLst>
                    <a:ext uri="{FF2B5EF4-FFF2-40B4-BE49-F238E27FC236}">
                      <a16:creationId xmlns:a16="http://schemas.microsoft.com/office/drawing/2014/main" id="{C37070E9-BB7B-52EF-864F-02F5F8D0F3A4}"/>
                    </a:ext>
                  </a:extLst>
                </p:cNvPr>
                <p:cNvSpPr/>
                <p:nvPr/>
              </p:nvSpPr>
              <p:spPr>
                <a:xfrm>
                  <a:off x="1083460" y="4941115"/>
                  <a:ext cx="2430000" cy="284028"/>
                </a:xfrm>
                <a:prstGeom prst="rect">
                  <a:avLst/>
                </a:prstGeom>
                <a:scene3d>
                  <a:camera prst="obliqueBottomRight"/>
                  <a:lightRig rig="threePt" dir="t"/>
                </a:scene3d>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endParaRPr lang="de-DE"/>
                </a:p>
              </p:txBody>
            </p:sp>
          </p:grpSp>
          <p:grpSp>
            <p:nvGrpSpPr>
              <p:cNvPr id="17" name="Gruppieren 16">
                <a:extLst>
                  <a:ext uri="{FF2B5EF4-FFF2-40B4-BE49-F238E27FC236}">
                    <a16:creationId xmlns:a16="http://schemas.microsoft.com/office/drawing/2014/main" id="{05838113-65DA-597B-34E0-063515FCE292}"/>
                  </a:ext>
                </a:extLst>
              </p:cNvPr>
              <p:cNvGrpSpPr/>
              <p:nvPr/>
            </p:nvGrpSpPr>
            <p:grpSpPr>
              <a:xfrm>
                <a:off x="8592823" y="1796173"/>
                <a:ext cx="2431824" cy="1507672"/>
                <a:chOff x="8592823" y="1796173"/>
                <a:chExt cx="2431824" cy="1507672"/>
              </a:xfrm>
            </p:grpSpPr>
            <p:sp>
              <p:nvSpPr>
                <p:cNvPr id="46" name="Rechteck 46">
                  <a:extLst>
                    <a:ext uri="{FF2B5EF4-FFF2-40B4-BE49-F238E27FC236}">
                      <a16:creationId xmlns:a16="http://schemas.microsoft.com/office/drawing/2014/main" id="{C370D3B3-E0C2-7E2C-ADFB-52BD45438E2E}"/>
                    </a:ext>
                  </a:extLst>
                </p:cNvPr>
                <p:cNvSpPr/>
                <p:nvPr/>
              </p:nvSpPr>
              <p:spPr>
                <a:xfrm>
                  <a:off x="8592823" y="1801616"/>
                  <a:ext cx="261257" cy="1502229"/>
                </a:xfrm>
                <a:prstGeom prst="rect">
                  <a:avLst/>
                </a:prstGeom>
                <a:scene3d>
                  <a:camera prst="obliqueBottomRight"/>
                  <a:lightRig rig="threePt" dir="t"/>
                </a:scene3d>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endParaRPr lang="de-DE"/>
                </a:p>
              </p:txBody>
            </p:sp>
            <p:sp>
              <p:nvSpPr>
                <p:cNvPr id="47" name="Rechteck 47">
                  <a:extLst>
                    <a:ext uri="{FF2B5EF4-FFF2-40B4-BE49-F238E27FC236}">
                      <a16:creationId xmlns:a16="http://schemas.microsoft.com/office/drawing/2014/main" id="{9225D8EA-BDC3-B0DE-930A-31BA2BF4EF9D}"/>
                    </a:ext>
                  </a:extLst>
                </p:cNvPr>
                <p:cNvSpPr/>
                <p:nvPr/>
              </p:nvSpPr>
              <p:spPr>
                <a:xfrm>
                  <a:off x="8594647" y="1796173"/>
                  <a:ext cx="2430000" cy="284028"/>
                </a:xfrm>
                <a:prstGeom prst="rect">
                  <a:avLst/>
                </a:prstGeom>
                <a:scene3d>
                  <a:camera prst="obliqueBottomRight"/>
                  <a:lightRig rig="threePt" dir="t"/>
                </a:scene3d>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endParaRPr lang="de-DE"/>
                </a:p>
              </p:txBody>
            </p:sp>
          </p:grpSp>
          <p:grpSp>
            <p:nvGrpSpPr>
              <p:cNvPr id="18" name="Gruppieren 17">
                <a:extLst>
                  <a:ext uri="{FF2B5EF4-FFF2-40B4-BE49-F238E27FC236}">
                    <a16:creationId xmlns:a16="http://schemas.microsoft.com/office/drawing/2014/main" id="{58572670-D14A-90E4-3D1C-E80685B948E3}"/>
                  </a:ext>
                </a:extLst>
              </p:cNvPr>
              <p:cNvGrpSpPr/>
              <p:nvPr/>
            </p:nvGrpSpPr>
            <p:grpSpPr>
              <a:xfrm>
                <a:off x="6074180" y="2847090"/>
                <a:ext cx="2430000" cy="1508216"/>
                <a:chOff x="6074180" y="2847090"/>
                <a:chExt cx="2430000" cy="1508216"/>
              </a:xfrm>
            </p:grpSpPr>
            <p:sp>
              <p:nvSpPr>
                <p:cNvPr id="44" name="Rechteck 44">
                  <a:extLst>
                    <a:ext uri="{FF2B5EF4-FFF2-40B4-BE49-F238E27FC236}">
                      <a16:creationId xmlns:a16="http://schemas.microsoft.com/office/drawing/2014/main" id="{D2E231A0-1313-1F7C-2F73-113B31AA832C}"/>
                    </a:ext>
                  </a:extLst>
                </p:cNvPr>
                <p:cNvSpPr/>
                <p:nvPr/>
              </p:nvSpPr>
              <p:spPr>
                <a:xfrm>
                  <a:off x="6074180" y="2853077"/>
                  <a:ext cx="261257" cy="1502229"/>
                </a:xfrm>
                <a:prstGeom prst="rect">
                  <a:avLst/>
                </a:prstGeom>
                <a:scene3d>
                  <a:camera prst="obliqueBottomRight"/>
                  <a:lightRig rig="threePt" dir="t"/>
                </a:scene3d>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endParaRPr lang="de-DE"/>
                </a:p>
              </p:txBody>
            </p:sp>
            <p:sp>
              <p:nvSpPr>
                <p:cNvPr id="45" name="Rechteck 45">
                  <a:extLst>
                    <a:ext uri="{FF2B5EF4-FFF2-40B4-BE49-F238E27FC236}">
                      <a16:creationId xmlns:a16="http://schemas.microsoft.com/office/drawing/2014/main" id="{EB6F1690-EB1D-E2A6-C973-83B465D20F0F}"/>
                    </a:ext>
                  </a:extLst>
                </p:cNvPr>
                <p:cNvSpPr/>
                <p:nvPr/>
              </p:nvSpPr>
              <p:spPr>
                <a:xfrm>
                  <a:off x="6074180" y="2847090"/>
                  <a:ext cx="2430000" cy="284028"/>
                </a:xfrm>
                <a:prstGeom prst="rect">
                  <a:avLst/>
                </a:prstGeom>
                <a:scene3d>
                  <a:camera prst="obliqueBottomRight"/>
                  <a:lightRig rig="threePt" dir="t"/>
                </a:scene3d>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endParaRPr lang="de-DE"/>
                </a:p>
              </p:txBody>
            </p:sp>
          </p:grpSp>
          <p:grpSp>
            <p:nvGrpSpPr>
              <p:cNvPr id="19" name="Gruppieren 18">
                <a:extLst>
                  <a:ext uri="{FF2B5EF4-FFF2-40B4-BE49-F238E27FC236}">
                    <a16:creationId xmlns:a16="http://schemas.microsoft.com/office/drawing/2014/main" id="{A339CCC4-4F87-1570-0C08-2F077644D3D5}"/>
                  </a:ext>
                </a:extLst>
              </p:cNvPr>
              <p:cNvGrpSpPr/>
              <p:nvPr/>
            </p:nvGrpSpPr>
            <p:grpSpPr>
              <a:xfrm>
                <a:off x="3578820" y="3881230"/>
                <a:ext cx="2430000" cy="1504067"/>
                <a:chOff x="3578820" y="3881230"/>
                <a:chExt cx="2430000" cy="1504067"/>
              </a:xfrm>
            </p:grpSpPr>
            <p:sp>
              <p:nvSpPr>
                <p:cNvPr id="42" name="Rechteck 42">
                  <a:extLst>
                    <a:ext uri="{FF2B5EF4-FFF2-40B4-BE49-F238E27FC236}">
                      <a16:creationId xmlns:a16="http://schemas.microsoft.com/office/drawing/2014/main" id="{10DB1653-335B-4BFB-40D0-AE7D7BF4852C}"/>
                    </a:ext>
                  </a:extLst>
                </p:cNvPr>
                <p:cNvSpPr/>
                <p:nvPr/>
              </p:nvSpPr>
              <p:spPr>
                <a:xfrm>
                  <a:off x="3578820" y="3883068"/>
                  <a:ext cx="261257" cy="1502229"/>
                </a:xfrm>
                <a:prstGeom prst="rect">
                  <a:avLst/>
                </a:prstGeom>
                <a:scene3d>
                  <a:camera prst="obliqueBottomRight"/>
                  <a:lightRig rig="threePt" dir="t"/>
                </a:scene3d>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endParaRPr lang="de-DE"/>
                </a:p>
              </p:txBody>
            </p:sp>
            <p:sp>
              <p:nvSpPr>
                <p:cNvPr id="43" name="Rechteck 43">
                  <a:extLst>
                    <a:ext uri="{FF2B5EF4-FFF2-40B4-BE49-F238E27FC236}">
                      <a16:creationId xmlns:a16="http://schemas.microsoft.com/office/drawing/2014/main" id="{D7BD8E2C-D697-B3A5-FA37-C6B3F303C31C}"/>
                    </a:ext>
                  </a:extLst>
                </p:cNvPr>
                <p:cNvSpPr/>
                <p:nvPr/>
              </p:nvSpPr>
              <p:spPr>
                <a:xfrm>
                  <a:off x="3578820" y="3881230"/>
                  <a:ext cx="2430000" cy="284028"/>
                </a:xfrm>
                <a:prstGeom prst="rect">
                  <a:avLst/>
                </a:prstGeom>
                <a:scene3d>
                  <a:camera prst="obliqueBottomRight"/>
                  <a:lightRig rig="threePt" dir="t"/>
                </a:scene3d>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endParaRPr lang="de-DE"/>
                </a:p>
              </p:txBody>
            </p:sp>
          </p:grpSp>
          <p:grpSp>
            <p:nvGrpSpPr>
              <p:cNvPr id="20" name="Gruppieren 19">
                <a:extLst>
                  <a:ext uri="{FF2B5EF4-FFF2-40B4-BE49-F238E27FC236}">
                    <a16:creationId xmlns:a16="http://schemas.microsoft.com/office/drawing/2014/main" id="{CCF3312B-91BC-3F22-E087-2E0B2C0B2C32}"/>
                  </a:ext>
                </a:extLst>
              </p:cNvPr>
              <p:cNvGrpSpPr/>
              <p:nvPr/>
            </p:nvGrpSpPr>
            <p:grpSpPr>
              <a:xfrm>
                <a:off x="1083460" y="3670133"/>
                <a:ext cx="2235360" cy="1309269"/>
                <a:chOff x="548105" y="3171175"/>
                <a:chExt cx="2235360" cy="1309269"/>
              </a:xfrm>
            </p:grpSpPr>
            <p:sp>
              <p:nvSpPr>
                <p:cNvPr id="39" name="Pfeil: nach rechts 39">
                  <a:extLst>
                    <a:ext uri="{FF2B5EF4-FFF2-40B4-BE49-F238E27FC236}">
                      <a16:creationId xmlns:a16="http://schemas.microsoft.com/office/drawing/2014/main" id="{F5A6917F-0B25-0FBF-B502-3E4BB0702987}"/>
                    </a:ext>
                  </a:extLst>
                </p:cNvPr>
                <p:cNvSpPr/>
                <p:nvPr/>
              </p:nvSpPr>
              <p:spPr>
                <a:xfrm>
                  <a:off x="1869065" y="3825809"/>
                  <a:ext cx="914400" cy="256914"/>
                </a:xfrm>
                <a:prstGeom prst="rightArrow">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pic>
              <p:nvPicPr>
                <p:cNvPr id="40" name="Grafik 40" descr="Druckerabdeckung offen mit einfarbiger Füllung">
                  <a:extLst>
                    <a:ext uri="{FF2B5EF4-FFF2-40B4-BE49-F238E27FC236}">
                      <a16:creationId xmlns:a16="http://schemas.microsoft.com/office/drawing/2014/main" id="{5F9EC9FC-15A0-1C89-F734-98E5E45A7CAF}"/>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48105" y="3171175"/>
                  <a:ext cx="1309269" cy="1309269"/>
                </a:xfrm>
                <a:prstGeom prst="rect">
                  <a:avLst/>
                </a:prstGeom>
              </p:spPr>
            </p:pic>
            <p:pic>
              <p:nvPicPr>
                <p:cNvPr id="41" name="Grafik 41" descr="Gehen mit einfarbiger Füllung">
                  <a:extLst>
                    <a:ext uri="{FF2B5EF4-FFF2-40B4-BE49-F238E27FC236}">
                      <a16:creationId xmlns:a16="http://schemas.microsoft.com/office/drawing/2014/main" id="{8090A3C8-8F6A-DF60-552D-72C228A83CAC}"/>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73711" y="3503759"/>
                  <a:ext cx="914400" cy="914400"/>
                </a:xfrm>
                <a:prstGeom prst="rect">
                  <a:avLst/>
                </a:prstGeom>
              </p:spPr>
            </p:pic>
          </p:grpSp>
          <p:pic>
            <p:nvPicPr>
              <p:cNvPr id="21" name="Grafik 20">
                <a:extLst>
                  <a:ext uri="{FF2B5EF4-FFF2-40B4-BE49-F238E27FC236}">
                    <a16:creationId xmlns:a16="http://schemas.microsoft.com/office/drawing/2014/main" id="{AF5BF53E-3415-E4EC-C61A-BCB05230501D}"/>
                  </a:ext>
                </a:extLst>
              </p:cNvPr>
              <p:cNvPicPr>
                <a:picLocks noChangeAspect="1"/>
              </p:cNvPicPr>
              <p:nvPr/>
            </p:nvPicPr>
            <p:blipFill>
              <a:blip r:embed="rId8"/>
              <a:stretch>
                <a:fillRect/>
              </a:stretch>
            </p:blipFill>
            <p:spPr>
              <a:xfrm>
                <a:off x="3890002" y="2146819"/>
                <a:ext cx="1876425" cy="1876425"/>
              </a:xfrm>
              <a:prstGeom prst="rect">
                <a:avLst/>
              </a:prstGeom>
            </p:spPr>
          </p:pic>
          <p:grpSp>
            <p:nvGrpSpPr>
              <p:cNvPr id="22" name="Gruppieren 21">
                <a:extLst>
                  <a:ext uri="{FF2B5EF4-FFF2-40B4-BE49-F238E27FC236}">
                    <a16:creationId xmlns:a16="http://schemas.microsoft.com/office/drawing/2014/main" id="{1E290028-E4C0-D66C-C043-6CB65D1703EE}"/>
                  </a:ext>
                </a:extLst>
              </p:cNvPr>
              <p:cNvGrpSpPr/>
              <p:nvPr/>
            </p:nvGrpSpPr>
            <p:grpSpPr>
              <a:xfrm>
                <a:off x="6204808" y="1565525"/>
                <a:ext cx="2120283" cy="1266924"/>
                <a:chOff x="6383133" y="1211686"/>
                <a:chExt cx="1426633" cy="852450"/>
              </a:xfrm>
            </p:grpSpPr>
            <p:grpSp>
              <p:nvGrpSpPr>
                <p:cNvPr id="24" name="Gruppieren 23">
                  <a:extLst>
                    <a:ext uri="{FF2B5EF4-FFF2-40B4-BE49-F238E27FC236}">
                      <a16:creationId xmlns:a16="http://schemas.microsoft.com/office/drawing/2014/main" id="{58FFD61C-458C-A294-1EA9-62C5A8B94AE3}"/>
                    </a:ext>
                  </a:extLst>
                </p:cNvPr>
                <p:cNvGrpSpPr/>
                <p:nvPr/>
              </p:nvGrpSpPr>
              <p:grpSpPr>
                <a:xfrm>
                  <a:off x="6837111" y="1327229"/>
                  <a:ext cx="375426" cy="272626"/>
                  <a:chOff x="6708524" y="1327229"/>
                  <a:chExt cx="375426" cy="272626"/>
                </a:xfrm>
              </p:grpSpPr>
              <p:grpSp>
                <p:nvGrpSpPr>
                  <p:cNvPr id="35" name="Gruppieren 35">
                    <a:extLst>
                      <a:ext uri="{FF2B5EF4-FFF2-40B4-BE49-F238E27FC236}">
                        <a16:creationId xmlns:a16="http://schemas.microsoft.com/office/drawing/2014/main" id="{B2BA5204-E89E-B965-DB3B-BE43C848EB45}"/>
                      </a:ext>
                    </a:extLst>
                  </p:cNvPr>
                  <p:cNvGrpSpPr>
                    <a:grpSpLocks noChangeAspect="1"/>
                  </p:cNvGrpSpPr>
                  <p:nvPr/>
                </p:nvGrpSpPr>
                <p:grpSpPr>
                  <a:xfrm>
                    <a:off x="6708524" y="1327229"/>
                    <a:ext cx="375426" cy="272626"/>
                    <a:chOff x="8463387" y="976681"/>
                    <a:chExt cx="2475296" cy="1797504"/>
                  </a:xfrm>
                </p:grpSpPr>
                <p:pic>
                  <p:nvPicPr>
                    <p:cNvPr id="37" name="Inhaltsplatzhalter 4">
                      <a:extLst>
                        <a:ext uri="{FF2B5EF4-FFF2-40B4-BE49-F238E27FC236}">
                          <a16:creationId xmlns:a16="http://schemas.microsoft.com/office/drawing/2014/main" id="{D9189835-C50B-F717-8C0C-B17D85A1DD7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bwMode="gray">
                    <a:xfrm>
                      <a:off x="8463387" y="976681"/>
                      <a:ext cx="2475296" cy="1797504"/>
                    </a:xfrm>
                    <a:prstGeom prst="rect">
                      <a:avLst/>
                    </a:prstGeom>
                    <a:noFill/>
                    <a:ln w="9525">
                      <a:noFill/>
                      <a:miter lim="800000"/>
                      <a:headEnd/>
                      <a:tailEnd/>
                    </a:ln>
                  </p:spPr>
                </p:pic>
                <p:sp>
                  <p:nvSpPr>
                    <p:cNvPr id="38" name="Ellipse 38">
                      <a:extLst>
                        <a:ext uri="{FF2B5EF4-FFF2-40B4-BE49-F238E27FC236}">
                          <a16:creationId xmlns:a16="http://schemas.microsoft.com/office/drawing/2014/main" id="{606D8ABD-9DDF-1A93-4B48-C76AB5444668}"/>
                        </a:ext>
                      </a:extLst>
                    </p:cNvPr>
                    <p:cNvSpPr/>
                    <p:nvPr/>
                  </p:nvSpPr>
                  <p:spPr>
                    <a:xfrm>
                      <a:off x="9939768" y="1136641"/>
                      <a:ext cx="324000" cy="324000"/>
                    </a:xfrm>
                    <a:prstGeom prst="ellipse">
                      <a:avLst/>
                    </a:prstGeom>
                    <a:solidFill>
                      <a:srgbClr val="E021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grpSp>
              <p:sp>
                <p:nvSpPr>
                  <p:cNvPr id="36" name="Ellipse 36">
                    <a:extLst>
                      <a:ext uri="{FF2B5EF4-FFF2-40B4-BE49-F238E27FC236}">
                        <a16:creationId xmlns:a16="http://schemas.microsoft.com/office/drawing/2014/main" id="{88FCAB79-BC9D-27F0-9F4A-76D09B98FC3C}"/>
                      </a:ext>
                    </a:extLst>
                  </p:cNvPr>
                  <p:cNvSpPr/>
                  <p:nvPr/>
                </p:nvSpPr>
                <p:spPr>
                  <a:xfrm>
                    <a:off x="6922024" y="1378163"/>
                    <a:ext cx="66744" cy="63486"/>
                  </a:xfrm>
                  <a:prstGeom prst="ellipse">
                    <a:avLst/>
                  </a:prstGeom>
                  <a:noFill/>
                  <a:ln w="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grpSp>
            <p:pic>
              <p:nvPicPr>
                <p:cNvPr id="25" name="Grafik 24" descr="Gehen mit einfarbiger Füllung">
                  <a:extLst>
                    <a:ext uri="{FF2B5EF4-FFF2-40B4-BE49-F238E27FC236}">
                      <a16:creationId xmlns:a16="http://schemas.microsoft.com/office/drawing/2014/main" id="{0D5A0A7F-8275-09E1-0053-B7584148F8FE}"/>
                    </a:ext>
                  </a:extLst>
                </p:cNvPr>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87986" y="1211686"/>
                  <a:ext cx="411216" cy="411216"/>
                </a:xfrm>
                <a:prstGeom prst="rect">
                  <a:avLst/>
                </a:prstGeom>
              </p:spPr>
            </p:pic>
            <p:grpSp>
              <p:nvGrpSpPr>
                <p:cNvPr id="26" name="Gruppieren 25">
                  <a:extLst>
                    <a:ext uri="{FF2B5EF4-FFF2-40B4-BE49-F238E27FC236}">
                      <a16:creationId xmlns:a16="http://schemas.microsoft.com/office/drawing/2014/main" id="{C025A36B-0B78-65E3-A83B-1B89F8491B7F}"/>
                    </a:ext>
                  </a:extLst>
                </p:cNvPr>
                <p:cNvGrpSpPr/>
                <p:nvPr/>
              </p:nvGrpSpPr>
              <p:grpSpPr>
                <a:xfrm>
                  <a:off x="7434339" y="1331996"/>
                  <a:ext cx="375427" cy="272627"/>
                  <a:chOff x="7305752" y="1331996"/>
                  <a:chExt cx="375427" cy="272627"/>
                </a:xfrm>
              </p:grpSpPr>
              <p:pic>
                <p:nvPicPr>
                  <p:cNvPr id="31" name="Inhaltsplatzhalter 4">
                    <a:extLst>
                      <a:ext uri="{FF2B5EF4-FFF2-40B4-BE49-F238E27FC236}">
                        <a16:creationId xmlns:a16="http://schemas.microsoft.com/office/drawing/2014/main" id="{5F73727F-B92B-FB77-D55D-2F2E519AF48B}"/>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bwMode="gray">
                  <a:xfrm>
                    <a:off x="7305752" y="1331996"/>
                    <a:ext cx="375427" cy="272627"/>
                  </a:xfrm>
                  <a:prstGeom prst="rect">
                    <a:avLst/>
                  </a:prstGeom>
                  <a:noFill/>
                  <a:ln w="9525">
                    <a:noFill/>
                    <a:miter lim="800000"/>
                    <a:headEnd/>
                    <a:tailEnd/>
                  </a:ln>
                </p:spPr>
              </p:pic>
              <p:sp>
                <p:nvSpPr>
                  <p:cNvPr id="32" name="Ellipse 31">
                    <a:extLst>
                      <a:ext uri="{FF2B5EF4-FFF2-40B4-BE49-F238E27FC236}">
                        <a16:creationId xmlns:a16="http://schemas.microsoft.com/office/drawing/2014/main" id="{D273AD6B-7650-6129-F088-A7B35E613DB1}"/>
                      </a:ext>
                    </a:extLst>
                  </p:cNvPr>
                  <p:cNvSpPr/>
                  <p:nvPr/>
                </p:nvSpPr>
                <p:spPr>
                  <a:xfrm>
                    <a:off x="7397354" y="1354431"/>
                    <a:ext cx="49141" cy="49141"/>
                  </a:xfrm>
                  <a:prstGeom prst="ellipse">
                    <a:avLst/>
                  </a:prstGeom>
                  <a:solidFill>
                    <a:srgbClr val="E021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sp>
                <p:nvSpPr>
                  <p:cNvPr id="33" name="Ellipse 33">
                    <a:extLst>
                      <a:ext uri="{FF2B5EF4-FFF2-40B4-BE49-F238E27FC236}">
                        <a16:creationId xmlns:a16="http://schemas.microsoft.com/office/drawing/2014/main" id="{11473C16-F127-E2B8-645B-3A4909421D5A}"/>
                      </a:ext>
                    </a:extLst>
                  </p:cNvPr>
                  <p:cNvSpPr/>
                  <p:nvPr/>
                </p:nvSpPr>
                <p:spPr>
                  <a:xfrm>
                    <a:off x="7537639" y="1352780"/>
                    <a:ext cx="49141" cy="49141"/>
                  </a:xfrm>
                  <a:prstGeom prst="ellips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sp>
                <p:nvSpPr>
                  <p:cNvPr id="34" name="Ellipse 34">
                    <a:extLst>
                      <a:ext uri="{FF2B5EF4-FFF2-40B4-BE49-F238E27FC236}">
                        <a16:creationId xmlns:a16="http://schemas.microsoft.com/office/drawing/2014/main" id="{EFDB9CAF-B7F5-BD83-6095-0015177C4F5B}"/>
                      </a:ext>
                    </a:extLst>
                  </p:cNvPr>
                  <p:cNvSpPr/>
                  <p:nvPr/>
                </p:nvSpPr>
                <p:spPr>
                  <a:xfrm>
                    <a:off x="7528837" y="1379628"/>
                    <a:ext cx="66744" cy="63486"/>
                  </a:xfrm>
                  <a:prstGeom prst="ellipse">
                    <a:avLst/>
                  </a:prstGeom>
                  <a:noFill/>
                  <a:ln w="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grpSp>
            <p:pic>
              <p:nvPicPr>
                <p:cNvPr id="27" name="Grafik 26">
                  <a:extLst>
                    <a:ext uri="{FF2B5EF4-FFF2-40B4-BE49-F238E27FC236}">
                      <a16:creationId xmlns:a16="http://schemas.microsoft.com/office/drawing/2014/main" id="{83AC1343-5423-501E-797C-75558CAFDEB9}"/>
                    </a:ext>
                  </a:extLst>
                </p:cNvPr>
                <p:cNvPicPr>
                  <a:picLocks noChangeAspect="1"/>
                </p:cNvPicPr>
                <p:nvPr/>
              </p:nvPicPr>
              <p:blipFill>
                <a:blip r:embed="rId10"/>
                <a:stretch>
                  <a:fillRect/>
                </a:stretch>
              </p:blipFill>
              <p:spPr>
                <a:xfrm>
                  <a:off x="6383133" y="1637081"/>
                  <a:ext cx="416069" cy="416069"/>
                </a:xfrm>
                <a:prstGeom prst="rect">
                  <a:avLst/>
                </a:prstGeom>
              </p:spPr>
            </p:pic>
            <p:grpSp>
              <p:nvGrpSpPr>
                <p:cNvPr id="28" name="Gruppieren 27">
                  <a:extLst>
                    <a:ext uri="{FF2B5EF4-FFF2-40B4-BE49-F238E27FC236}">
                      <a16:creationId xmlns:a16="http://schemas.microsoft.com/office/drawing/2014/main" id="{4E9047E3-F4F7-C579-C2CE-9A337DC6AB89}"/>
                    </a:ext>
                  </a:extLst>
                </p:cNvPr>
                <p:cNvGrpSpPr/>
                <p:nvPr/>
              </p:nvGrpSpPr>
              <p:grpSpPr>
                <a:xfrm>
                  <a:off x="6994637" y="1656571"/>
                  <a:ext cx="815129" cy="407565"/>
                  <a:chOff x="7085902" y="1698419"/>
                  <a:chExt cx="815129" cy="407565"/>
                </a:xfrm>
              </p:grpSpPr>
              <p:pic>
                <p:nvPicPr>
                  <p:cNvPr id="29" name="Grafik 28">
                    <a:extLst>
                      <a:ext uri="{FF2B5EF4-FFF2-40B4-BE49-F238E27FC236}">
                        <a16:creationId xmlns:a16="http://schemas.microsoft.com/office/drawing/2014/main" id="{25AA4051-7976-815D-47FC-7B66AEC1D503}"/>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7085902" y="1698419"/>
                    <a:ext cx="815129" cy="407565"/>
                  </a:xfrm>
                  <a:prstGeom prst="rect">
                    <a:avLst/>
                  </a:prstGeom>
                </p:spPr>
              </p:pic>
              <p:sp>
                <p:nvSpPr>
                  <p:cNvPr id="30" name="Ellipse 29">
                    <a:extLst>
                      <a:ext uri="{FF2B5EF4-FFF2-40B4-BE49-F238E27FC236}">
                        <a16:creationId xmlns:a16="http://schemas.microsoft.com/office/drawing/2014/main" id="{F77BB82C-56F0-1249-5E81-76B5027CA251}"/>
                      </a:ext>
                    </a:extLst>
                  </p:cNvPr>
                  <p:cNvSpPr/>
                  <p:nvPr/>
                </p:nvSpPr>
                <p:spPr>
                  <a:xfrm>
                    <a:off x="7576298" y="1794053"/>
                    <a:ext cx="49141" cy="49141"/>
                  </a:xfrm>
                  <a:prstGeom prst="ellipse">
                    <a:avLst/>
                  </a:prstGeom>
                  <a:solidFill>
                    <a:srgbClr val="E0212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de-DE"/>
                  </a:p>
                </p:txBody>
              </p:sp>
            </p:grpSp>
          </p:grpSp>
          <p:pic>
            <p:nvPicPr>
              <p:cNvPr id="23" name="Grafik 22">
                <a:extLst>
                  <a:ext uri="{FF2B5EF4-FFF2-40B4-BE49-F238E27FC236}">
                    <a16:creationId xmlns:a16="http://schemas.microsoft.com/office/drawing/2014/main" id="{F6BBAA27-CA5F-CFD3-DEE1-EF7FD192DDE4}"/>
                  </a:ext>
                </a:extLst>
              </p:cNvPr>
              <p:cNvPicPr>
                <a:picLocks noChangeAspect="1"/>
              </p:cNvPicPr>
              <p:nvPr/>
            </p:nvPicPr>
            <p:blipFill>
              <a:blip r:embed="rId12"/>
              <a:stretch>
                <a:fillRect/>
              </a:stretch>
            </p:blipFill>
            <p:spPr>
              <a:xfrm>
                <a:off x="9144026" y="272959"/>
                <a:ext cx="1665228" cy="1665228"/>
              </a:xfrm>
              <a:prstGeom prst="rect">
                <a:avLst/>
              </a:prstGeom>
            </p:spPr>
          </p:pic>
        </p:grpSp>
      </p:grpSp>
    </p:spTree>
    <p:extLst>
      <p:ext uri="{BB962C8B-B14F-4D97-AF65-F5344CB8AC3E}">
        <p14:creationId xmlns:p14="http://schemas.microsoft.com/office/powerpoint/2010/main" val="1485499172"/>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pSp>
        <p:nvGrpSpPr>
          <p:cNvPr id="131" name="Group 130">
            <a:extLst>
              <a:ext uri="{FF2B5EF4-FFF2-40B4-BE49-F238E27FC236}">
                <a16:creationId xmlns:a16="http://schemas.microsoft.com/office/drawing/2014/main" id="{19D42508-7522-733D-E975-0C12093BA304}"/>
              </a:ext>
            </a:extLst>
          </p:cNvPr>
          <p:cNvGrpSpPr/>
          <p:nvPr/>
        </p:nvGrpSpPr>
        <p:grpSpPr>
          <a:xfrm>
            <a:off x="1945870" y="1453261"/>
            <a:ext cx="7816256" cy="4752976"/>
            <a:chOff x="1671639" y="891201"/>
            <a:chExt cx="8815389" cy="5383213"/>
          </a:xfrm>
        </p:grpSpPr>
        <p:grpSp>
          <p:nvGrpSpPr>
            <p:cNvPr id="2" name="Group 2">
              <a:extLst>
                <a:ext uri="{FF2B5EF4-FFF2-40B4-BE49-F238E27FC236}">
                  <a16:creationId xmlns:a16="http://schemas.microsoft.com/office/drawing/2014/main" id="{C2C7BEA1-91A0-3542-C03E-F39EA69AB3FA}"/>
                </a:ext>
              </a:extLst>
            </p:cNvPr>
            <p:cNvGrpSpPr>
              <a:grpSpLocks/>
            </p:cNvGrpSpPr>
            <p:nvPr/>
          </p:nvGrpSpPr>
          <p:grpSpPr bwMode="auto">
            <a:xfrm>
              <a:off x="6261101" y="891201"/>
              <a:ext cx="4225925" cy="1600200"/>
              <a:chOff x="2984" y="793"/>
              <a:chExt cx="2662" cy="1008"/>
            </a:xfrm>
          </p:grpSpPr>
          <p:sp>
            <p:nvSpPr>
              <p:cNvPr id="51" name="Rectangle 3">
                <a:extLst>
                  <a:ext uri="{FF2B5EF4-FFF2-40B4-BE49-F238E27FC236}">
                    <a16:creationId xmlns:a16="http://schemas.microsoft.com/office/drawing/2014/main" id="{065D76B5-C5DF-F14A-05F8-359A13CB247B}"/>
                  </a:ext>
                </a:extLst>
              </p:cNvPr>
              <p:cNvSpPr>
                <a:spLocks noChangeArrowheads="1"/>
              </p:cNvSpPr>
              <p:nvPr/>
            </p:nvSpPr>
            <p:spPr bwMode="auto">
              <a:xfrm>
                <a:off x="2984" y="793"/>
                <a:ext cx="2662" cy="1008"/>
              </a:xfrm>
              <a:prstGeom prst="rect">
                <a:avLst/>
              </a:prstGeom>
              <a:solidFill>
                <a:schemeClr val="bg1"/>
              </a:solidFill>
              <a:ln w="15875">
                <a:solidFill>
                  <a:schemeClr val="tx1"/>
                </a:solidFill>
                <a:miter lim="800000"/>
                <a:headEnd/>
                <a:tailEnd/>
              </a:ln>
              <a:effectLst>
                <a:outerShdw dist="107763" dir="2700000" algn="ctr" rotWithShape="0">
                  <a:schemeClr val="bg2"/>
                </a:outerShdw>
              </a:effectLst>
            </p:spPr>
            <p:txBody>
              <a:bodyPr wrap="none" anchor="ctr"/>
              <a:lstStyle/>
              <a:p>
                <a:pPr algn="ctr" defTabSz="762000"/>
                <a:endParaRPr lang="de-AT"/>
              </a:p>
            </p:txBody>
          </p:sp>
          <p:grpSp>
            <p:nvGrpSpPr>
              <p:cNvPr id="52" name="Group 4">
                <a:extLst>
                  <a:ext uri="{FF2B5EF4-FFF2-40B4-BE49-F238E27FC236}">
                    <a16:creationId xmlns:a16="http://schemas.microsoft.com/office/drawing/2014/main" id="{7A269F20-46F1-F353-86EE-81A8D241D669}"/>
                  </a:ext>
                </a:extLst>
              </p:cNvPr>
              <p:cNvGrpSpPr>
                <a:grpSpLocks/>
              </p:cNvGrpSpPr>
              <p:nvPr/>
            </p:nvGrpSpPr>
            <p:grpSpPr bwMode="auto">
              <a:xfrm>
                <a:off x="3257" y="974"/>
                <a:ext cx="2111" cy="623"/>
                <a:chOff x="3257" y="997"/>
                <a:chExt cx="2111" cy="623"/>
              </a:xfrm>
            </p:grpSpPr>
            <p:sp>
              <p:nvSpPr>
                <p:cNvPr id="61" name="Line 5">
                  <a:extLst>
                    <a:ext uri="{FF2B5EF4-FFF2-40B4-BE49-F238E27FC236}">
                      <a16:creationId xmlns:a16="http://schemas.microsoft.com/office/drawing/2014/main" id="{E65FD5B4-BF43-2761-3E30-BE1149EB3C2F}"/>
                    </a:ext>
                  </a:extLst>
                </p:cNvPr>
                <p:cNvSpPr>
                  <a:spLocks noChangeShapeType="1"/>
                </p:cNvSpPr>
                <p:nvPr/>
              </p:nvSpPr>
              <p:spPr bwMode="auto">
                <a:xfrm>
                  <a:off x="3287" y="1586"/>
                  <a:ext cx="2040"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de-DE"/>
                </a:p>
              </p:txBody>
            </p:sp>
            <p:sp>
              <p:nvSpPr>
                <p:cNvPr id="62" name="Line 6">
                  <a:extLst>
                    <a:ext uri="{FF2B5EF4-FFF2-40B4-BE49-F238E27FC236}">
                      <a16:creationId xmlns:a16="http://schemas.microsoft.com/office/drawing/2014/main" id="{8C433B07-D69A-7F19-37FC-6A159788511A}"/>
                    </a:ext>
                  </a:extLst>
                </p:cNvPr>
                <p:cNvSpPr>
                  <a:spLocks noChangeShapeType="1"/>
                </p:cNvSpPr>
                <p:nvPr/>
              </p:nvSpPr>
              <p:spPr bwMode="auto">
                <a:xfrm>
                  <a:off x="3287" y="1020"/>
                  <a:ext cx="2040"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de-DE"/>
                </a:p>
              </p:txBody>
            </p:sp>
            <p:sp>
              <p:nvSpPr>
                <p:cNvPr id="63" name="Line 7">
                  <a:extLst>
                    <a:ext uri="{FF2B5EF4-FFF2-40B4-BE49-F238E27FC236}">
                      <a16:creationId xmlns:a16="http://schemas.microsoft.com/office/drawing/2014/main" id="{76FA700E-104A-C589-D537-3ECA5FC16B62}"/>
                    </a:ext>
                  </a:extLst>
                </p:cNvPr>
                <p:cNvSpPr>
                  <a:spLocks noChangeShapeType="1"/>
                </p:cNvSpPr>
                <p:nvPr/>
              </p:nvSpPr>
              <p:spPr bwMode="auto">
                <a:xfrm>
                  <a:off x="3287" y="1020"/>
                  <a:ext cx="0" cy="567"/>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de-DE"/>
                </a:p>
              </p:txBody>
            </p:sp>
            <p:sp>
              <p:nvSpPr>
                <p:cNvPr id="64" name="Line 8">
                  <a:extLst>
                    <a:ext uri="{FF2B5EF4-FFF2-40B4-BE49-F238E27FC236}">
                      <a16:creationId xmlns:a16="http://schemas.microsoft.com/office/drawing/2014/main" id="{5298D1F9-9BA8-8BBC-80EF-35784B338725}"/>
                    </a:ext>
                  </a:extLst>
                </p:cNvPr>
                <p:cNvSpPr>
                  <a:spLocks noChangeShapeType="1"/>
                </p:cNvSpPr>
                <p:nvPr/>
              </p:nvSpPr>
              <p:spPr bwMode="auto">
                <a:xfrm>
                  <a:off x="4507" y="1020"/>
                  <a:ext cx="0" cy="567"/>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de-DE"/>
                </a:p>
              </p:txBody>
            </p:sp>
            <p:sp>
              <p:nvSpPr>
                <p:cNvPr id="65" name="Line 9">
                  <a:extLst>
                    <a:ext uri="{FF2B5EF4-FFF2-40B4-BE49-F238E27FC236}">
                      <a16:creationId xmlns:a16="http://schemas.microsoft.com/office/drawing/2014/main" id="{D19E167B-BE98-4B24-D7AF-E132F5524161}"/>
                    </a:ext>
                  </a:extLst>
                </p:cNvPr>
                <p:cNvSpPr>
                  <a:spLocks noChangeShapeType="1"/>
                </p:cNvSpPr>
                <p:nvPr/>
              </p:nvSpPr>
              <p:spPr bwMode="auto">
                <a:xfrm>
                  <a:off x="5327" y="1020"/>
                  <a:ext cx="0" cy="567"/>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de-DE"/>
                </a:p>
              </p:txBody>
            </p:sp>
            <p:sp>
              <p:nvSpPr>
                <p:cNvPr id="66" name="Oval 10">
                  <a:extLst>
                    <a:ext uri="{FF2B5EF4-FFF2-40B4-BE49-F238E27FC236}">
                      <a16:creationId xmlns:a16="http://schemas.microsoft.com/office/drawing/2014/main" id="{907FC71F-CF8D-0126-B5F7-21F3361827EF}"/>
                    </a:ext>
                  </a:extLst>
                </p:cNvPr>
                <p:cNvSpPr>
                  <a:spLocks noChangeArrowheads="1"/>
                </p:cNvSpPr>
                <p:nvPr/>
              </p:nvSpPr>
              <p:spPr bwMode="auto">
                <a:xfrm>
                  <a:off x="3257" y="997"/>
                  <a:ext cx="68" cy="68"/>
                </a:xfrm>
                <a:prstGeom prst="ellipse">
                  <a:avLst/>
                </a:prstGeom>
                <a:solidFill>
                  <a:schemeClr val="bg2"/>
                </a:solidFill>
                <a:ln w="12700">
                  <a:solidFill>
                    <a:schemeClr val="tx1"/>
                  </a:solidFill>
                  <a:round/>
                  <a:headEnd/>
                  <a:tailEnd/>
                </a:ln>
              </p:spPr>
              <p:txBody>
                <a:bodyPr wrap="none" anchor="ctr"/>
                <a:lstStyle/>
                <a:p>
                  <a:endParaRPr lang="de-DE"/>
                </a:p>
              </p:txBody>
            </p:sp>
            <p:sp>
              <p:nvSpPr>
                <p:cNvPr id="67" name="Oval 11">
                  <a:extLst>
                    <a:ext uri="{FF2B5EF4-FFF2-40B4-BE49-F238E27FC236}">
                      <a16:creationId xmlns:a16="http://schemas.microsoft.com/office/drawing/2014/main" id="{407113D2-0304-E1FF-C9EE-BD2FAD0D81DD}"/>
                    </a:ext>
                  </a:extLst>
                </p:cNvPr>
                <p:cNvSpPr>
                  <a:spLocks noChangeArrowheads="1"/>
                </p:cNvSpPr>
                <p:nvPr/>
              </p:nvSpPr>
              <p:spPr bwMode="auto">
                <a:xfrm>
                  <a:off x="3257" y="1552"/>
                  <a:ext cx="68" cy="68"/>
                </a:xfrm>
                <a:prstGeom prst="ellipse">
                  <a:avLst/>
                </a:prstGeom>
                <a:solidFill>
                  <a:schemeClr val="bg2"/>
                </a:solidFill>
                <a:ln w="12700">
                  <a:solidFill>
                    <a:schemeClr val="tx1"/>
                  </a:solidFill>
                  <a:round/>
                  <a:headEnd/>
                  <a:tailEnd/>
                </a:ln>
              </p:spPr>
              <p:txBody>
                <a:bodyPr wrap="none" anchor="ctr"/>
                <a:lstStyle/>
                <a:p>
                  <a:endParaRPr lang="de-DE"/>
                </a:p>
              </p:txBody>
            </p:sp>
            <p:sp>
              <p:nvSpPr>
                <p:cNvPr id="68" name="Oval 12">
                  <a:extLst>
                    <a:ext uri="{FF2B5EF4-FFF2-40B4-BE49-F238E27FC236}">
                      <a16:creationId xmlns:a16="http://schemas.microsoft.com/office/drawing/2014/main" id="{325A76CD-6BB2-EBCC-C4A4-4AD5864AF536}"/>
                    </a:ext>
                  </a:extLst>
                </p:cNvPr>
                <p:cNvSpPr>
                  <a:spLocks noChangeArrowheads="1"/>
                </p:cNvSpPr>
                <p:nvPr/>
              </p:nvSpPr>
              <p:spPr bwMode="auto">
                <a:xfrm>
                  <a:off x="4473" y="997"/>
                  <a:ext cx="68" cy="68"/>
                </a:xfrm>
                <a:prstGeom prst="ellipse">
                  <a:avLst/>
                </a:prstGeom>
                <a:solidFill>
                  <a:schemeClr val="bg2"/>
                </a:solidFill>
                <a:ln w="12700">
                  <a:solidFill>
                    <a:schemeClr val="tx1"/>
                  </a:solidFill>
                  <a:round/>
                  <a:headEnd/>
                  <a:tailEnd/>
                </a:ln>
              </p:spPr>
              <p:txBody>
                <a:bodyPr wrap="none" anchor="ctr"/>
                <a:lstStyle/>
                <a:p>
                  <a:endParaRPr lang="de-DE"/>
                </a:p>
              </p:txBody>
            </p:sp>
            <p:sp>
              <p:nvSpPr>
                <p:cNvPr id="69" name="Oval 13">
                  <a:extLst>
                    <a:ext uri="{FF2B5EF4-FFF2-40B4-BE49-F238E27FC236}">
                      <a16:creationId xmlns:a16="http://schemas.microsoft.com/office/drawing/2014/main" id="{5338F916-4E76-0D0C-313C-798D2A5E229C}"/>
                    </a:ext>
                  </a:extLst>
                </p:cNvPr>
                <p:cNvSpPr>
                  <a:spLocks noChangeArrowheads="1"/>
                </p:cNvSpPr>
                <p:nvPr/>
              </p:nvSpPr>
              <p:spPr bwMode="auto">
                <a:xfrm>
                  <a:off x="4473" y="1552"/>
                  <a:ext cx="68" cy="68"/>
                </a:xfrm>
                <a:prstGeom prst="ellipse">
                  <a:avLst/>
                </a:prstGeom>
                <a:solidFill>
                  <a:schemeClr val="bg2"/>
                </a:solidFill>
                <a:ln w="12700">
                  <a:solidFill>
                    <a:schemeClr val="tx1"/>
                  </a:solidFill>
                  <a:round/>
                  <a:headEnd/>
                  <a:tailEnd/>
                </a:ln>
              </p:spPr>
              <p:txBody>
                <a:bodyPr wrap="none" anchor="ctr"/>
                <a:lstStyle/>
                <a:p>
                  <a:endParaRPr lang="de-DE"/>
                </a:p>
              </p:txBody>
            </p:sp>
            <p:sp>
              <p:nvSpPr>
                <p:cNvPr id="70" name="Oval 14">
                  <a:extLst>
                    <a:ext uri="{FF2B5EF4-FFF2-40B4-BE49-F238E27FC236}">
                      <a16:creationId xmlns:a16="http://schemas.microsoft.com/office/drawing/2014/main" id="{BF8C71EF-31B8-BBB2-D7F3-7380D9084C8F}"/>
                    </a:ext>
                  </a:extLst>
                </p:cNvPr>
                <p:cNvSpPr>
                  <a:spLocks noChangeArrowheads="1"/>
                </p:cNvSpPr>
                <p:nvPr/>
              </p:nvSpPr>
              <p:spPr bwMode="auto">
                <a:xfrm>
                  <a:off x="5300" y="997"/>
                  <a:ext cx="68" cy="68"/>
                </a:xfrm>
                <a:prstGeom prst="ellipse">
                  <a:avLst/>
                </a:prstGeom>
                <a:solidFill>
                  <a:schemeClr val="bg2"/>
                </a:solidFill>
                <a:ln w="12700">
                  <a:solidFill>
                    <a:schemeClr val="tx1"/>
                  </a:solidFill>
                  <a:round/>
                  <a:headEnd/>
                  <a:tailEnd/>
                </a:ln>
              </p:spPr>
              <p:txBody>
                <a:bodyPr wrap="none" anchor="ctr"/>
                <a:lstStyle/>
                <a:p>
                  <a:endParaRPr lang="de-DE"/>
                </a:p>
              </p:txBody>
            </p:sp>
            <p:sp>
              <p:nvSpPr>
                <p:cNvPr id="71" name="Oval 15">
                  <a:extLst>
                    <a:ext uri="{FF2B5EF4-FFF2-40B4-BE49-F238E27FC236}">
                      <a16:creationId xmlns:a16="http://schemas.microsoft.com/office/drawing/2014/main" id="{16C2CE60-82FD-4C95-A55F-4351CA470E52}"/>
                    </a:ext>
                  </a:extLst>
                </p:cNvPr>
                <p:cNvSpPr>
                  <a:spLocks noChangeArrowheads="1"/>
                </p:cNvSpPr>
                <p:nvPr/>
              </p:nvSpPr>
              <p:spPr bwMode="auto">
                <a:xfrm>
                  <a:off x="5300" y="1552"/>
                  <a:ext cx="68" cy="68"/>
                </a:xfrm>
                <a:prstGeom prst="ellipse">
                  <a:avLst/>
                </a:prstGeom>
                <a:solidFill>
                  <a:schemeClr val="bg2"/>
                </a:solidFill>
                <a:ln w="12700">
                  <a:solidFill>
                    <a:schemeClr val="tx1"/>
                  </a:solidFill>
                  <a:round/>
                  <a:headEnd/>
                  <a:tailEnd/>
                </a:ln>
              </p:spPr>
              <p:txBody>
                <a:bodyPr wrap="none" anchor="ctr"/>
                <a:lstStyle/>
                <a:p>
                  <a:endParaRPr lang="de-DE"/>
                </a:p>
              </p:txBody>
            </p:sp>
          </p:grpSp>
          <p:grpSp>
            <p:nvGrpSpPr>
              <p:cNvPr id="53" name="Group 16">
                <a:extLst>
                  <a:ext uri="{FF2B5EF4-FFF2-40B4-BE49-F238E27FC236}">
                    <a16:creationId xmlns:a16="http://schemas.microsoft.com/office/drawing/2014/main" id="{82C0E10D-65F5-8C00-50AE-2A58C78FB2AD}"/>
                  </a:ext>
                </a:extLst>
              </p:cNvPr>
              <p:cNvGrpSpPr>
                <a:grpSpLocks/>
              </p:cNvGrpSpPr>
              <p:nvPr/>
            </p:nvGrpSpPr>
            <p:grpSpPr bwMode="auto">
              <a:xfrm>
                <a:off x="3044" y="1404"/>
                <a:ext cx="164" cy="370"/>
                <a:chOff x="3044" y="1427"/>
                <a:chExt cx="164" cy="370"/>
              </a:xfrm>
            </p:grpSpPr>
            <p:sp>
              <p:nvSpPr>
                <p:cNvPr id="58" name="Freeform 17">
                  <a:extLst>
                    <a:ext uri="{FF2B5EF4-FFF2-40B4-BE49-F238E27FC236}">
                      <a16:creationId xmlns:a16="http://schemas.microsoft.com/office/drawing/2014/main" id="{961BC0E8-7060-A4C5-6F8F-F3E0731A5FD3}"/>
                    </a:ext>
                  </a:extLst>
                </p:cNvPr>
                <p:cNvSpPr>
                  <a:spLocks/>
                </p:cNvSpPr>
                <p:nvPr/>
              </p:nvSpPr>
              <p:spPr bwMode="auto">
                <a:xfrm>
                  <a:off x="3044" y="1566"/>
                  <a:ext cx="164" cy="227"/>
                </a:xfrm>
                <a:custGeom>
                  <a:avLst/>
                  <a:gdLst>
                    <a:gd name="T0" fmla="*/ 0 w 182"/>
                    <a:gd name="T1" fmla="*/ 0 h 137"/>
                    <a:gd name="T2" fmla="*/ 0 w 182"/>
                    <a:gd name="T3" fmla="*/ 24 h 137"/>
                    <a:gd name="T4" fmla="*/ 29 w 182"/>
                    <a:gd name="T5" fmla="*/ 24 h 137"/>
                    <a:gd name="T6" fmla="*/ 29 w 182"/>
                    <a:gd name="T7" fmla="*/ 0 h 137"/>
                    <a:gd name="T8" fmla="*/ 0 w 182"/>
                    <a:gd name="T9" fmla="*/ 0 h 137"/>
                    <a:gd name="T10" fmla="*/ 0 60000 65536"/>
                    <a:gd name="T11" fmla="*/ 0 60000 65536"/>
                    <a:gd name="T12" fmla="*/ 0 60000 65536"/>
                    <a:gd name="T13" fmla="*/ 0 60000 65536"/>
                    <a:gd name="T14" fmla="*/ 0 60000 65536"/>
                    <a:gd name="T15" fmla="*/ 0 w 182"/>
                    <a:gd name="T16" fmla="*/ 0 h 137"/>
                    <a:gd name="T17" fmla="*/ 182 w 182"/>
                    <a:gd name="T18" fmla="*/ 137 h 137"/>
                  </a:gdLst>
                  <a:ahLst/>
                  <a:cxnLst>
                    <a:cxn ang="T10">
                      <a:pos x="T0" y="T1"/>
                    </a:cxn>
                    <a:cxn ang="T11">
                      <a:pos x="T2" y="T3"/>
                    </a:cxn>
                    <a:cxn ang="T12">
                      <a:pos x="T4" y="T5"/>
                    </a:cxn>
                    <a:cxn ang="T13">
                      <a:pos x="T6" y="T7"/>
                    </a:cxn>
                    <a:cxn ang="T14">
                      <a:pos x="T8" y="T9"/>
                    </a:cxn>
                  </a:cxnLst>
                  <a:rect l="T15" t="T16" r="T17" b="T18"/>
                  <a:pathLst>
                    <a:path w="182" h="137">
                      <a:moveTo>
                        <a:pt x="0" y="0"/>
                      </a:moveTo>
                      <a:lnTo>
                        <a:pt x="0" y="136"/>
                      </a:lnTo>
                      <a:lnTo>
                        <a:pt x="181" y="136"/>
                      </a:lnTo>
                      <a:lnTo>
                        <a:pt x="181" y="0"/>
                      </a:lnTo>
                      <a:lnTo>
                        <a:pt x="0" y="0"/>
                      </a:lnTo>
                    </a:path>
                  </a:pathLst>
                </a:custGeom>
                <a:solidFill>
                  <a:srgbClr val="000000"/>
                </a:solidFill>
                <a:ln w="12700" cap="rnd">
                  <a:solidFill>
                    <a:srgbClr val="000000"/>
                  </a:solidFill>
                  <a:round/>
                  <a:headEnd/>
                  <a:tailEnd/>
                </a:ln>
              </p:spPr>
              <p:txBody>
                <a:bodyPr wrap="none" lIns="128703" tIns="63222" rIns="128703" bIns="63222">
                  <a:spAutoFit/>
                </a:bodyPr>
                <a:lstStyle/>
                <a:p>
                  <a:endParaRPr lang="de-DE"/>
                </a:p>
              </p:txBody>
            </p:sp>
            <p:sp>
              <p:nvSpPr>
                <p:cNvPr id="59" name="Freeform 18">
                  <a:extLst>
                    <a:ext uri="{FF2B5EF4-FFF2-40B4-BE49-F238E27FC236}">
                      <a16:creationId xmlns:a16="http://schemas.microsoft.com/office/drawing/2014/main" id="{D875EE17-F821-04E8-AA9A-9219946816C2}"/>
                    </a:ext>
                  </a:extLst>
                </p:cNvPr>
                <p:cNvSpPr>
                  <a:spLocks/>
                </p:cNvSpPr>
                <p:nvPr/>
              </p:nvSpPr>
              <p:spPr bwMode="auto">
                <a:xfrm>
                  <a:off x="3093" y="1665"/>
                  <a:ext cx="68" cy="132"/>
                </a:xfrm>
                <a:custGeom>
                  <a:avLst/>
                  <a:gdLst>
                    <a:gd name="T0" fmla="*/ 0 w 60"/>
                    <a:gd name="T1" fmla="*/ 0 h 84"/>
                    <a:gd name="T2" fmla="*/ 0 w 60"/>
                    <a:gd name="T3" fmla="*/ 14 h 84"/>
                    <a:gd name="T4" fmla="*/ 10 w 60"/>
                    <a:gd name="T5" fmla="*/ 14 h 84"/>
                    <a:gd name="T6" fmla="*/ 10 w 60"/>
                    <a:gd name="T7" fmla="*/ 0 h 84"/>
                    <a:gd name="T8" fmla="*/ 0 w 60"/>
                    <a:gd name="T9" fmla="*/ 0 h 84"/>
                    <a:gd name="T10" fmla="*/ 0 60000 65536"/>
                    <a:gd name="T11" fmla="*/ 0 60000 65536"/>
                    <a:gd name="T12" fmla="*/ 0 60000 65536"/>
                    <a:gd name="T13" fmla="*/ 0 60000 65536"/>
                    <a:gd name="T14" fmla="*/ 0 60000 65536"/>
                    <a:gd name="T15" fmla="*/ 0 w 60"/>
                    <a:gd name="T16" fmla="*/ 0 h 84"/>
                    <a:gd name="T17" fmla="*/ 60 w 60"/>
                    <a:gd name="T18" fmla="*/ 84 h 84"/>
                  </a:gdLst>
                  <a:ahLst/>
                  <a:cxnLst>
                    <a:cxn ang="T10">
                      <a:pos x="T0" y="T1"/>
                    </a:cxn>
                    <a:cxn ang="T11">
                      <a:pos x="T2" y="T3"/>
                    </a:cxn>
                    <a:cxn ang="T12">
                      <a:pos x="T4" y="T5"/>
                    </a:cxn>
                    <a:cxn ang="T13">
                      <a:pos x="T6" y="T7"/>
                    </a:cxn>
                    <a:cxn ang="T14">
                      <a:pos x="T8" y="T9"/>
                    </a:cxn>
                  </a:cxnLst>
                  <a:rect l="T15" t="T16" r="T17" b="T18"/>
                  <a:pathLst>
                    <a:path w="60" h="84">
                      <a:moveTo>
                        <a:pt x="0" y="0"/>
                      </a:moveTo>
                      <a:lnTo>
                        <a:pt x="0" y="83"/>
                      </a:lnTo>
                      <a:lnTo>
                        <a:pt x="59" y="83"/>
                      </a:lnTo>
                      <a:lnTo>
                        <a:pt x="59" y="0"/>
                      </a:lnTo>
                      <a:lnTo>
                        <a:pt x="0" y="0"/>
                      </a:lnTo>
                    </a:path>
                  </a:pathLst>
                </a:custGeom>
                <a:solidFill>
                  <a:srgbClr val="FFFFFF"/>
                </a:solidFill>
                <a:ln w="12700" cap="rnd">
                  <a:solidFill>
                    <a:srgbClr val="000000"/>
                  </a:solidFill>
                  <a:round/>
                  <a:headEnd/>
                  <a:tailEnd/>
                </a:ln>
              </p:spPr>
              <p:txBody>
                <a:bodyPr wrap="none" lIns="128703" tIns="63222" rIns="128703" bIns="63222">
                  <a:spAutoFit/>
                </a:bodyPr>
                <a:lstStyle/>
                <a:p>
                  <a:endParaRPr lang="de-DE"/>
                </a:p>
              </p:txBody>
            </p:sp>
            <p:sp>
              <p:nvSpPr>
                <p:cNvPr id="60" name="Freeform 19">
                  <a:extLst>
                    <a:ext uri="{FF2B5EF4-FFF2-40B4-BE49-F238E27FC236}">
                      <a16:creationId xmlns:a16="http://schemas.microsoft.com/office/drawing/2014/main" id="{9B379D37-6108-8E08-E5C0-2A1FE11DA465}"/>
                    </a:ext>
                  </a:extLst>
                </p:cNvPr>
                <p:cNvSpPr>
                  <a:spLocks/>
                </p:cNvSpPr>
                <p:nvPr/>
              </p:nvSpPr>
              <p:spPr bwMode="auto">
                <a:xfrm>
                  <a:off x="3045" y="1427"/>
                  <a:ext cx="163" cy="136"/>
                </a:xfrm>
                <a:custGeom>
                  <a:avLst/>
                  <a:gdLst>
                    <a:gd name="T0" fmla="*/ 0 w 262"/>
                    <a:gd name="T1" fmla="*/ 12 h 105"/>
                    <a:gd name="T2" fmla="*/ 16 w 262"/>
                    <a:gd name="T3" fmla="*/ 0 h 105"/>
                    <a:gd name="T4" fmla="*/ 31 w 262"/>
                    <a:gd name="T5" fmla="*/ 12 h 105"/>
                    <a:gd name="T6" fmla="*/ 0 w 262"/>
                    <a:gd name="T7" fmla="*/ 12 h 105"/>
                    <a:gd name="T8" fmla="*/ 0 60000 65536"/>
                    <a:gd name="T9" fmla="*/ 0 60000 65536"/>
                    <a:gd name="T10" fmla="*/ 0 60000 65536"/>
                    <a:gd name="T11" fmla="*/ 0 60000 65536"/>
                    <a:gd name="T12" fmla="*/ 0 w 262"/>
                    <a:gd name="T13" fmla="*/ 0 h 105"/>
                    <a:gd name="T14" fmla="*/ 262 w 262"/>
                    <a:gd name="T15" fmla="*/ 105 h 105"/>
                  </a:gdLst>
                  <a:ahLst/>
                  <a:cxnLst>
                    <a:cxn ang="T8">
                      <a:pos x="T0" y="T1"/>
                    </a:cxn>
                    <a:cxn ang="T9">
                      <a:pos x="T2" y="T3"/>
                    </a:cxn>
                    <a:cxn ang="T10">
                      <a:pos x="T4" y="T5"/>
                    </a:cxn>
                    <a:cxn ang="T11">
                      <a:pos x="T6" y="T7"/>
                    </a:cxn>
                  </a:cxnLst>
                  <a:rect l="T12" t="T13" r="T14" b="T15"/>
                  <a:pathLst>
                    <a:path w="262" h="105">
                      <a:moveTo>
                        <a:pt x="0" y="104"/>
                      </a:moveTo>
                      <a:lnTo>
                        <a:pt x="135" y="0"/>
                      </a:lnTo>
                      <a:lnTo>
                        <a:pt x="261" y="104"/>
                      </a:lnTo>
                      <a:lnTo>
                        <a:pt x="0" y="104"/>
                      </a:lnTo>
                    </a:path>
                  </a:pathLst>
                </a:custGeom>
                <a:solidFill>
                  <a:srgbClr val="000000"/>
                </a:solidFill>
                <a:ln w="12700" cap="rnd">
                  <a:solidFill>
                    <a:srgbClr val="000000"/>
                  </a:solidFill>
                  <a:round/>
                  <a:headEnd/>
                  <a:tailEnd/>
                </a:ln>
              </p:spPr>
              <p:txBody>
                <a:bodyPr lIns="128703" tIns="63222" rIns="128703" bIns="63222">
                  <a:spAutoFit/>
                </a:bodyPr>
                <a:lstStyle/>
                <a:p>
                  <a:endParaRPr lang="de-DE"/>
                </a:p>
              </p:txBody>
            </p:sp>
          </p:grpSp>
          <p:grpSp>
            <p:nvGrpSpPr>
              <p:cNvPr id="54" name="Group 20">
                <a:extLst>
                  <a:ext uri="{FF2B5EF4-FFF2-40B4-BE49-F238E27FC236}">
                    <a16:creationId xmlns:a16="http://schemas.microsoft.com/office/drawing/2014/main" id="{A6F781E7-4DE7-DC3A-FDA1-B74969DFBDEB}"/>
                  </a:ext>
                </a:extLst>
              </p:cNvPr>
              <p:cNvGrpSpPr>
                <a:grpSpLocks/>
              </p:cNvGrpSpPr>
              <p:nvPr/>
            </p:nvGrpSpPr>
            <p:grpSpPr bwMode="auto">
              <a:xfrm>
                <a:off x="5413" y="835"/>
                <a:ext cx="164" cy="363"/>
                <a:chOff x="3044" y="1434"/>
                <a:chExt cx="164" cy="363"/>
              </a:xfrm>
            </p:grpSpPr>
            <p:sp>
              <p:nvSpPr>
                <p:cNvPr id="55" name="Freeform 21">
                  <a:extLst>
                    <a:ext uri="{FF2B5EF4-FFF2-40B4-BE49-F238E27FC236}">
                      <a16:creationId xmlns:a16="http://schemas.microsoft.com/office/drawing/2014/main" id="{5D2E186B-2004-6FBE-BFBE-38E9789D8A08}"/>
                    </a:ext>
                  </a:extLst>
                </p:cNvPr>
                <p:cNvSpPr>
                  <a:spLocks/>
                </p:cNvSpPr>
                <p:nvPr/>
              </p:nvSpPr>
              <p:spPr bwMode="auto">
                <a:xfrm>
                  <a:off x="3044" y="1566"/>
                  <a:ext cx="163" cy="227"/>
                </a:xfrm>
                <a:custGeom>
                  <a:avLst/>
                  <a:gdLst>
                    <a:gd name="T0" fmla="*/ 0 w 182"/>
                    <a:gd name="T1" fmla="*/ 0 h 137"/>
                    <a:gd name="T2" fmla="*/ 0 w 182"/>
                    <a:gd name="T3" fmla="*/ 24 h 137"/>
                    <a:gd name="T4" fmla="*/ 29 w 182"/>
                    <a:gd name="T5" fmla="*/ 24 h 137"/>
                    <a:gd name="T6" fmla="*/ 29 w 182"/>
                    <a:gd name="T7" fmla="*/ 0 h 137"/>
                    <a:gd name="T8" fmla="*/ 0 w 182"/>
                    <a:gd name="T9" fmla="*/ 0 h 137"/>
                    <a:gd name="T10" fmla="*/ 0 60000 65536"/>
                    <a:gd name="T11" fmla="*/ 0 60000 65536"/>
                    <a:gd name="T12" fmla="*/ 0 60000 65536"/>
                    <a:gd name="T13" fmla="*/ 0 60000 65536"/>
                    <a:gd name="T14" fmla="*/ 0 60000 65536"/>
                    <a:gd name="T15" fmla="*/ 0 w 182"/>
                    <a:gd name="T16" fmla="*/ 0 h 137"/>
                    <a:gd name="T17" fmla="*/ 182 w 182"/>
                    <a:gd name="T18" fmla="*/ 137 h 137"/>
                  </a:gdLst>
                  <a:ahLst/>
                  <a:cxnLst>
                    <a:cxn ang="T10">
                      <a:pos x="T0" y="T1"/>
                    </a:cxn>
                    <a:cxn ang="T11">
                      <a:pos x="T2" y="T3"/>
                    </a:cxn>
                    <a:cxn ang="T12">
                      <a:pos x="T4" y="T5"/>
                    </a:cxn>
                    <a:cxn ang="T13">
                      <a:pos x="T6" y="T7"/>
                    </a:cxn>
                    <a:cxn ang="T14">
                      <a:pos x="T8" y="T9"/>
                    </a:cxn>
                  </a:cxnLst>
                  <a:rect l="T15" t="T16" r="T17" b="T18"/>
                  <a:pathLst>
                    <a:path w="182" h="137">
                      <a:moveTo>
                        <a:pt x="0" y="0"/>
                      </a:moveTo>
                      <a:lnTo>
                        <a:pt x="0" y="136"/>
                      </a:lnTo>
                      <a:lnTo>
                        <a:pt x="181" y="136"/>
                      </a:lnTo>
                      <a:lnTo>
                        <a:pt x="181" y="0"/>
                      </a:lnTo>
                      <a:lnTo>
                        <a:pt x="0" y="0"/>
                      </a:lnTo>
                    </a:path>
                  </a:pathLst>
                </a:custGeom>
                <a:solidFill>
                  <a:srgbClr val="000000"/>
                </a:solidFill>
                <a:ln w="12700" cap="rnd">
                  <a:solidFill>
                    <a:srgbClr val="000000"/>
                  </a:solidFill>
                  <a:round/>
                  <a:headEnd/>
                  <a:tailEnd/>
                </a:ln>
              </p:spPr>
              <p:txBody>
                <a:bodyPr wrap="none" lIns="128703" tIns="63222" rIns="128703" bIns="63222">
                  <a:spAutoFit/>
                </a:bodyPr>
                <a:lstStyle/>
                <a:p>
                  <a:endParaRPr lang="de-DE"/>
                </a:p>
              </p:txBody>
            </p:sp>
            <p:sp>
              <p:nvSpPr>
                <p:cNvPr id="56" name="Freeform 22">
                  <a:extLst>
                    <a:ext uri="{FF2B5EF4-FFF2-40B4-BE49-F238E27FC236}">
                      <a16:creationId xmlns:a16="http://schemas.microsoft.com/office/drawing/2014/main" id="{AE416A6B-CD26-7C35-E1B8-FD238DAA5B55}"/>
                    </a:ext>
                  </a:extLst>
                </p:cNvPr>
                <p:cNvSpPr>
                  <a:spLocks/>
                </p:cNvSpPr>
                <p:nvPr/>
              </p:nvSpPr>
              <p:spPr bwMode="auto">
                <a:xfrm>
                  <a:off x="3093" y="1665"/>
                  <a:ext cx="68" cy="132"/>
                </a:xfrm>
                <a:custGeom>
                  <a:avLst/>
                  <a:gdLst>
                    <a:gd name="T0" fmla="*/ 0 w 60"/>
                    <a:gd name="T1" fmla="*/ 0 h 84"/>
                    <a:gd name="T2" fmla="*/ 0 w 60"/>
                    <a:gd name="T3" fmla="*/ 14 h 84"/>
                    <a:gd name="T4" fmla="*/ 10 w 60"/>
                    <a:gd name="T5" fmla="*/ 14 h 84"/>
                    <a:gd name="T6" fmla="*/ 10 w 60"/>
                    <a:gd name="T7" fmla="*/ 0 h 84"/>
                    <a:gd name="T8" fmla="*/ 0 w 60"/>
                    <a:gd name="T9" fmla="*/ 0 h 84"/>
                    <a:gd name="T10" fmla="*/ 0 60000 65536"/>
                    <a:gd name="T11" fmla="*/ 0 60000 65536"/>
                    <a:gd name="T12" fmla="*/ 0 60000 65536"/>
                    <a:gd name="T13" fmla="*/ 0 60000 65536"/>
                    <a:gd name="T14" fmla="*/ 0 60000 65536"/>
                    <a:gd name="T15" fmla="*/ 0 w 60"/>
                    <a:gd name="T16" fmla="*/ 0 h 84"/>
                    <a:gd name="T17" fmla="*/ 60 w 60"/>
                    <a:gd name="T18" fmla="*/ 84 h 84"/>
                  </a:gdLst>
                  <a:ahLst/>
                  <a:cxnLst>
                    <a:cxn ang="T10">
                      <a:pos x="T0" y="T1"/>
                    </a:cxn>
                    <a:cxn ang="T11">
                      <a:pos x="T2" y="T3"/>
                    </a:cxn>
                    <a:cxn ang="T12">
                      <a:pos x="T4" y="T5"/>
                    </a:cxn>
                    <a:cxn ang="T13">
                      <a:pos x="T6" y="T7"/>
                    </a:cxn>
                    <a:cxn ang="T14">
                      <a:pos x="T8" y="T9"/>
                    </a:cxn>
                  </a:cxnLst>
                  <a:rect l="T15" t="T16" r="T17" b="T18"/>
                  <a:pathLst>
                    <a:path w="60" h="84">
                      <a:moveTo>
                        <a:pt x="0" y="0"/>
                      </a:moveTo>
                      <a:lnTo>
                        <a:pt x="0" y="83"/>
                      </a:lnTo>
                      <a:lnTo>
                        <a:pt x="59" y="83"/>
                      </a:lnTo>
                      <a:lnTo>
                        <a:pt x="59" y="0"/>
                      </a:lnTo>
                      <a:lnTo>
                        <a:pt x="0" y="0"/>
                      </a:lnTo>
                    </a:path>
                  </a:pathLst>
                </a:custGeom>
                <a:solidFill>
                  <a:srgbClr val="FFFFFF"/>
                </a:solidFill>
                <a:ln w="12700" cap="rnd">
                  <a:solidFill>
                    <a:srgbClr val="000000"/>
                  </a:solidFill>
                  <a:round/>
                  <a:headEnd/>
                  <a:tailEnd/>
                </a:ln>
              </p:spPr>
              <p:txBody>
                <a:bodyPr wrap="none" lIns="128703" tIns="63222" rIns="128703" bIns="63222">
                  <a:spAutoFit/>
                </a:bodyPr>
                <a:lstStyle/>
                <a:p>
                  <a:endParaRPr lang="de-DE"/>
                </a:p>
              </p:txBody>
            </p:sp>
            <p:sp>
              <p:nvSpPr>
                <p:cNvPr id="57" name="Freeform 23">
                  <a:extLst>
                    <a:ext uri="{FF2B5EF4-FFF2-40B4-BE49-F238E27FC236}">
                      <a16:creationId xmlns:a16="http://schemas.microsoft.com/office/drawing/2014/main" id="{3A0EEDC6-F6D9-4E05-7A80-82ACF397C499}"/>
                    </a:ext>
                  </a:extLst>
                </p:cNvPr>
                <p:cNvSpPr>
                  <a:spLocks/>
                </p:cNvSpPr>
                <p:nvPr/>
              </p:nvSpPr>
              <p:spPr bwMode="auto">
                <a:xfrm>
                  <a:off x="3045" y="1434"/>
                  <a:ext cx="163" cy="136"/>
                </a:xfrm>
                <a:custGeom>
                  <a:avLst/>
                  <a:gdLst>
                    <a:gd name="T0" fmla="*/ 0 w 262"/>
                    <a:gd name="T1" fmla="*/ 12 h 105"/>
                    <a:gd name="T2" fmla="*/ 16 w 262"/>
                    <a:gd name="T3" fmla="*/ 0 h 105"/>
                    <a:gd name="T4" fmla="*/ 31 w 262"/>
                    <a:gd name="T5" fmla="*/ 12 h 105"/>
                    <a:gd name="T6" fmla="*/ 0 w 262"/>
                    <a:gd name="T7" fmla="*/ 12 h 105"/>
                    <a:gd name="T8" fmla="*/ 0 60000 65536"/>
                    <a:gd name="T9" fmla="*/ 0 60000 65536"/>
                    <a:gd name="T10" fmla="*/ 0 60000 65536"/>
                    <a:gd name="T11" fmla="*/ 0 60000 65536"/>
                    <a:gd name="T12" fmla="*/ 0 w 262"/>
                    <a:gd name="T13" fmla="*/ 0 h 105"/>
                    <a:gd name="T14" fmla="*/ 262 w 262"/>
                    <a:gd name="T15" fmla="*/ 105 h 105"/>
                  </a:gdLst>
                  <a:ahLst/>
                  <a:cxnLst>
                    <a:cxn ang="T8">
                      <a:pos x="T0" y="T1"/>
                    </a:cxn>
                    <a:cxn ang="T9">
                      <a:pos x="T2" y="T3"/>
                    </a:cxn>
                    <a:cxn ang="T10">
                      <a:pos x="T4" y="T5"/>
                    </a:cxn>
                    <a:cxn ang="T11">
                      <a:pos x="T6" y="T7"/>
                    </a:cxn>
                  </a:cxnLst>
                  <a:rect l="T12" t="T13" r="T14" b="T15"/>
                  <a:pathLst>
                    <a:path w="262" h="105">
                      <a:moveTo>
                        <a:pt x="0" y="104"/>
                      </a:moveTo>
                      <a:lnTo>
                        <a:pt x="135" y="0"/>
                      </a:lnTo>
                      <a:lnTo>
                        <a:pt x="261" y="104"/>
                      </a:lnTo>
                      <a:lnTo>
                        <a:pt x="0" y="104"/>
                      </a:lnTo>
                    </a:path>
                  </a:pathLst>
                </a:custGeom>
                <a:solidFill>
                  <a:srgbClr val="000000"/>
                </a:solidFill>
                <a:ln w="12700" cap="rnd">
                  <a:solidFill>
                    <a:srgbClr val="000000"/>
                  </a:solidFill>
                  <a:round/>
                  <a:headEnd/>
                  <a:tailEnd/>
                </a:ln>
              </p:spPr>
              <p:txBody>
                <a:bodyPr lIns="128703" tIns="63222" rIns="128703" bIns="63222">
                  <a:spAutoFit/>
                </a:bodyPr>
                <a:lstStyle/>
                <a:p>
                  <a:endParaRPr lang="de-DE"/>
                </a:p>
              </p:txBody>
            </p:sp>
          </p:grpSp>
        </p:grpSp>
        <p:sp>
          <p:nvSpPr>
            <p:cNvPr id="72" name="Rectangle 25">
              <a:extLst>
                <a:ext uri="{FF2B5EF4-FFF2-40B4-BE49-F238E27FC236}">
                  <a16:creationId xmlns:a16="http://schemas.microsoft.com/office/drawing/2014/main" id="{A1042C7B-0339-02C8-183F-11E8A2FDB4F7}"/>
                </a:ext>
              </a:extLst>
            </p:cNvPr>
            <p:cNvSpPr txBox="1">
              <a:spLocks noChangeArrowheads="1"/>
            </p:cNvSpPr>
            <p:nvPr/>
          </p:nvSpPr>
          <p:spPr bwMode="auto">
            <a:xfrm>
              <a:off x="1717769" y="1119801"/>
              <a:ext cx="3598863" cy="114300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vert="horz" wrap="square" lIns="108000" tIns="108000" rIns="0" bIns="0" numCol="1" anchor="t" anchorCtr="0" compatLnSpc="1">
              <a:prstTxWarp prst="textNoShape">
                <a:avLst/>
              </a:prstTxWarp>
            </a:bodyPr>
            <a:lstStyle>
              <a:lvl1pPr marL="0" indent="0" algn="l" rtl="0" eaLnBrk="1" fontAlgn="base" hangingPunct="1">
                <a:spcBef>
                  <a:spcPts val="1000"/>
                </a:spcBef>
                <a:spcAft>
                  <a:spcPct val="0"/>
                </a:spcAft>
                <a:tabLst>
                  <a:tab pos="193675" algn="l"/>
                  <a:tab pos="598488" algn="l"/>
                </a:tabLst>
                <a:defRPr sz="2000" b="1">
                  <a:solidFill>
                    <a:srgbClr val="5B5B5A"/>
                  </a:solidFill>
                  <a:latin typeface="+mj-lt"/>
                  <a:ea typeface="+mn-ea"/>
                  <a:cs typeface="+mn-cs"/>
                </a:defRPr>
              </a:lvl1pPr>
              <a:lvl2pPr marL="311150" indent="-309563" algn="l" rtl="0" eaLnBrk="1" fontAlgn="base" hangingPunct="1">
                <a:spcBef>
                  <a:spcPts val="400"/>
                </a:spcBef>
                <a:spcAft>
                  <a:spcPct val="0"/>
                </a:spcAft>
                <a:buClr>
                  <a:srgbClr val="E01E29"/>
                </a:buClr>
                <a:buSzPct val="110000"/>
                <a:buFont typeface="Wingdings 3" pitchFamily="18" charset="2"/>
                <a:buChar char=""/>
                <a:tabLst>
                  <a:tab pos="0" algn="l"/>
                  <a:tab pos="581025" algn="l"/>
                </a:tabLst>
                <a:defRPr>
                  <a:solidFill>
                    <a:srgbClr val="5B5B5A"/>
                  </a:solidFill>
                  <a:latin typeface="+mj-lt"/>
                </a:defRPr>
              </a:lvl2pPr>
              <a:lvl3pPr marL="598488" indent="-285750" algn="l" rtl="0" eaLnBrk="1" fontAlgn="base" hangingPunct="1">
                <a:lnSpc>
                  <a:spcPct val="90000"/>
                </a:lnSpc>
                <a:spcBef>
                  <a:spcPts val="300"/>
                </a:spcBef>
                <a:spcAft>
                  <a:spcPct val="0"/>
                </a:spcAft>
                <a:buClr>
                  <a:srgbClr val="E01E29"/>
                </a:buClr>
                <a:buSzPct val="110000"/>
                <a:buFont typeface="Wingdings 3" panose="05040102010807070707" pitchFamily="18" charset="2"/>
                <a:buChar char=""/>
                <a:tabLst>
                  <a:tab pos="0" algn="l"/>
                  <a:tab pos="581025" algn="l"/>
                </a:tabLst>
                <a:defRPr sz="1600">
                  <a:solidFill>
                    <a:srgbClr val="5B5B5A"/>
                  </a:solidFill>
                  <a:latin typeface="+mj-lt"/>
                </a:defRPr>
              </a:lvl3pPr>
              <a:lvl4pPr marL="1695450" indent="-228600" algn="l" rtl="0" eaLnBrk="1" fontAlgn="base" hangingPunct="1">
                <a:spcBef>
                  <a:spcPct val="20000"/>
                </a:spcBef>
                <a:spcAft>
                  <a:spcPct val="0"/>
                </a:spcAft>
                <a:buChar char="–"/>
                <a:tabLst>
                  <a:tab pos="193675" algn="l"/>
                  <a:tab pos="581025" algn="l"/>
                </a:tabLst>
                <a:defRPr sz="2000">
                  <a:solidFill>
                    <a:schemeClr val="tx1"/>
                  </a:solidFill>
                  <a:latin typeface="+mn-lt"/>
                </a:defRPr>
              </a:lvl4pPr>
              <a:lvl5pPr marL="2114550" indent="-228600" algn="l" rtl="0" eaLnBrk="1" fontAlgn="base" hangingPunct="1">
                <a:spcBef>
                  <a:spcPct val="20000"/>
                </a:spcBef>
                <a:spcAft>
                  <a:spcPct val="0"/>
                </a:spcAft>
                <a:buChar char="»"/>
                <a:tabLst>
                  <a:tab pos="193675" algn="l"/>
                  <a:tab pos="581025" algn="l"/>
                </a:tabLst>
                <a:defRPr sz="2000">
                  <a:solidFill>
                    <a:schemeClr val="tx1"/>
                  </a:solidFill>
                  <a:latin typeface="+mn-lt"/>
                </a:defRPr>
              </a:lvl5pPr>
              <a:lvl6pPr marL="2571750" indent="-228600" algn="l" rtl="0" eaLnBrk="1" fontAlgn="base" hangingPunct="1">
                <a:spcBef>
                  <a:spcPct val="20000"/>
                </a:spcBef>
                <a:spcAft>
                  <a:spcPct val="0"/>
                </a:spcAft>
                <a:buChar char="»"/>
                <a:tabLst>
                  <a:tab pos="193675" algn="l"/>
                  <a:tab pos="581025" algn="l"/>
                </a:tabLst>
                <a:defRPr sz="2000">
                  <a:solidFill>
                    <a:schemeClr val="tx1"/>
                  </a:solidFill>
                  <a:latin typeface="+mn-lt"/>
                </a:defRPr>
              </a:lvl6pPr>
              <a:lvl7pPr marL="3028950" indent="-228600" algn="l" rtl="0" eaLnBrk="1" fontAlgn="base" hangingPunct="1">
                <a:spcBef>
                  <a:spcPct val="20000"/>
                </a:spcBef>
                <a:spcAft>
                  <a:spcPct val="0"/>
                </a:spcAft>
                <a:buChar char="»"/>
                <a:tabLst>
                  <a:tab pos="193675" algn="l"/>
                  <a:tab pos="581025" algn="l"/>
                </a:tabLst>
                <a:defRPr sz="2000">
                  <a:solidFill>
                    <a:schemeClr val="tx1"/>
                  </a:solidFill>
                  <a:latin typeface="+mn-lt"/>
                </a:defRPr>
              </a:lvl7pPr>
              <a:lvl8pPr marL="3486150" indent="-228600" algn="l" rtl="0" eaLnBrk="1" fontAlgn="base" hangingPunct="1">
                <a:spcBef>
                  <a:spcPct val="20000"/>
                </a:spcBef>
                <a:spcAft>
                  <a:spcPct val="0"/>
                </a:spcAft>
                <a:buChar char="»"/>
                <a:tabLst>
                  <a:tab pos="193675" algn="l"/>
                  <a:tab pos="581025" algn="l"/>
                </a:tabLst>
                <a:defRPr sz="2000">
                  <a:solidFill>
                    <a:schemeClr val="tx1"/>
                  </a:solidFill>
                  <a:latin typeface="+mn-lt"/>
                </a:defRPr>
              </a:lvl8pPr>
              <a:lvl9pPr marL="3943350" indent="-228600" algn="l" rtl="0" eaLnBrk="1" fontAlgn="base" hangingPunct="1">
                <a:spcBef>
                  <a:spcPct val="20000"/>
                </a:spcBef>
                <a:spcAft>
                  <a:spcPct val="0"/>
                </a:spcAft>
                <a:buChar char="»"/>
                <a:tabLst>
                  <a:tab pos="193675" algn="l"/>
                  <a:tab pos="581025" algn="l"/>
                </a:tabLst>
                <a:defRPr sz="2000">
                  <a:solidFill>
                    <a:schemeClr val="tx1"/>
                  </a:solidFill>
                  <a:latin typeface="+mn-lt"/>
                </a:defRPr>
              </a:lvl9pPr>
            </a:lstStyle>
            <a:p>
              <a:pPr marL="285750" indent="-285750" defTabSz="766763">
                <a:lnSpc>
                  <a:spcPts val="2600"/>
                </a:lnSpc>
                <a:spcBef>
                  <a:spcPts val="1200"/>
                </a:spcBef>
                <a:buClr>
                  <a:srgbClr val="0033CC"/>
                </a:buClr>
                <a:defRPr>
                  <a:solidFill>
                    <a:schemeClr val="tx1"/>
                  </a:solidFill>
                  <a:latin typeface="Arial" charset="0"/>
                </a:defRPr>
              </a:pPr>
              <a:r>
                <a:rPr kern="1200"/>
                <a:t>1.	</a:t>
              </a:r>
              <a:r>
                <a:t>Hangi rotalar var?</a:t>
              </a:r>
              <a:endParaRPr lang="de-DE" b="0" kern="1200" dirty="0">
                <a:solidFill>
                  <a:schemeClr val="tx1"/>
                </a:solidFill>
                <a:latin typeface="Arial" charset="0"/>
              </a:endParaRPr>
            </a:p>
            <a:p>
              <a:pPr marL="285750" indent="-285750" defTabSz="766763">
                <a:lnSpc>
                  <a:spcPts val="2600"/>
                </a:lnSpc>
                <a:spcBef>
                  <a:spcPts val="1200"/>
                </a:spcBef>
                <a:buClr>
                  <a:srgbClr val="0033CC"/>
                </a:buClr>
                <a:defRPr kern="1200">
                  <a:solidFill>
                    <a:schemeClr val="tx1"/>
                  </a:solidFill>
                  <a:latin typeface="Arial" charset="0"/>
                </a:defRPr>
              </a:pPr>
              <a:r>
                <a:rPr>
                  <a:sym typeface="Wingdings" pitchFamily="2" charset="2"/>
                </a:rPr>
                <a:t> </a:t>
              </a:r>
              <a:r>
                <a:t>Güzergah arama</a:t>
              </a:r>
              <a:endParaRPr lang="de-DE" b="0" kern="1200" dirty="0">
                <a:solidFill>
                  <a:schemeClr val="tx1"/>
                </a:solidFill>
                <a:latin typeface="Arial" charset="0"/>
              </a:endParaRPr>
            </a:p>
          </p:txBody>
        </p:sp>
        <p:sp>
          <p:nvSpPr>
            <p:cNvPr id="73" name="AutoShape 26">
              <a:extLst>
                <a:ext uri="{FF2B5EF4-FFF2-40B4-BE49-F238E27FC236}">
                  <a16:creationId xmlns:a16="http://schemas.microsoft.com/office/drawing/2014/main" id="{45D61A2D-4CCB-6A39-1E01-6C9F43E6B9B4}"/>
                </a:ext>
              </a:extLst>
            </p:cNvPr>
            <p:cNvSpPr>
              <a:spLocks noChangeArrowheads="1"/>
            </p:cNvSpPr>
            <p:nvPr/>
          </p:nvSpPr>
          <p:spPr bwMode="auto">
            <a:xfrm rot="-863074">
              <a:off x="7038975" y="1569063"/>
              <a:ext cx="2681288" cy="201612"/>
            </a:xfrm>
            <a:prstGeom prst="rightArrow">
              <a:avLst>
                <a:gd name="adj1" fmla="val 50222"/>
                <a:gd name="adj2" fmla="val 174245"/>
              </a:avLst>
            </a:prstGeom>
            <a:solidFill>
              <a:srgbClr val="FF0000"/>
            </a:solidFill>
            <a:ln w="12700">
              <a:solidFill>
                <a:schemeClr val="tx1"/>
              </a:solidFill>
              <a:miter lim="800000"/>
              <a:headEnd/>
              <a:tailEnd/>
            </a:ln>
          </p:spPr>
          <p:txBody>
            <a:bodyPr wrap="none" anchor="ctr"/>
            <a:lstStyle/>
            <a:p>
              <a:endParaRPr lang="de-DE"/>
            </a:p>
          </p:txBody>
        </p:sp>
        <p:sp>
          <p:nvSpPr>
            <p:cNvPr id="74" name="Text Box 27">
              <a:extLst>
                <a:ext uri="{FF2B5EF4-FFF2-40B4-BE49-F238E27FC236}">
                  <a16:creationId xmlns:a16="http://schemas.microsoft.com/office/drawing/2014/main" id="{88F8EC97-0D50-4A51-D221-1C822A5127EF}"/>
                </a:ext>
              </a:extLst>
            </p:cNvPr>
            <p:cNvSpPr txBox="1">
              <a:spLocks noChangeArrowheads="1"/>
            </p:cNvSpPr>
            <p:nvPr/>
          </p:nvSpPr>
          <p:spPr bwMode="auto">
            <a:xfrm>
              <a:off x="7981950" y="1380150"/>
              <a:ext cx="171450" cy="350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lIns="0" tIns="7200" rIns="0" bIns="7200">
              <a:spAutoFit/>
            </a:bodyPr>
            <a:lstStyle>
              <a:lvl1pPr defTabSz="1028700">
                <a:defRPr sz="2400">
                  <a:solidFill>
                    <a:schemeClr val="tx1"/>
                  </a:solidFill>
                  <a:latin typeface="Arial" charset="0"/>
                </a:defRPr>
              </a:lvl1pPr>
              <a:lvl2pPr marL="742950" indent="-285750" defTabSz="1028700">
                <a:defRPr sz="2400">
                  <a:solidFill>
                    <a:schemeClr val="tx1"/>
                  </a:solidFill>
                  <a:latin typeface="Arial" charset="0"/>
                </a:defRPr>
              </a:lvl2pPr>
              <a:lvl3pPr marL="1143000" indent="-228600" defTabSz="1028700">
                <a:defRPr sz="2400">
                  <a:solidFill>
                    <a:schemeClr val="tx1"/>
                  </a:solidFill>
                  <a:latin typeface="Arial" charset="0"/>
                </a:defRPr>
              </a:lvl3pPr>
              <a:lvl4pPr marL="1600200" indent="-228600" defTabSz="1028700">
                <a:defRPr sz="2400">
                  <a:solidFill>
                    <a:schemeClr val="tx1"/>
                  </a:solidFill>
                  <a:latin typeface="Arial" charset="0"/>
                </a:defRPr>
              </a:lvl4pPr>
              <a:lvl5pPr marL="2057400" indent="-228600" defTabSz="1028700">
                <a:defRPr sz="2400">
                  <a:solidFill>
                    <a:schemeClr val="tx1"/>
                  </a:solidFill>
                  <a:latin typeface="Arial" charset="0"/>
                </a:defRPr>
              </a:lvl5pPr>
              <a:lvl6pPr marL="2514600" indent="-228600" defTabSz="1028700" eaLnBrk="0" fontAlgn="base" hangingPunct="0">
                <a:spcBef>
                  <a:spcPct val="0"/>
                </a:spcBef>
                <a:spcAft>
                  <a:spcPct val="0"/>
                </a:spcAft>
                <a:defRPr sz="2400">
                  <a:solidFill>
                    <a:schemeClr val="tx1"/>
                  </a:solidFill>
                  <a:latin typeface="Arial" charset="0"/>
                </a:defRPr>
              </a:lvl6pPr>
              <a:lvl7pPr marL="2971800" indent="-228600" defTabSz="1028700" eaLnBrk="0" fontAlgn="base" hangingPunct="0">
                <a:spcBef>
                  <a:spcPct val="0"/>
                </a:spcBef>
                <a:spcAft>
                  <a:spcPct val="0"/>
                </a:spcAft>
                <a:defRPr sz="2400">
                  <a:solidFill>
                    <a:schemeClr val="tx1"/>
                  </a:solidFill>
                  <a:latin typeface="Arial" charset="0"/>
                </a:defRPr>
              </a:lvl7pPr>
              <a:lvl8pPr marL="3429000" indent="-228600" defTabSz="1028700" eaLnBrk="0" fontAlgn="base" hangingPunct="0">
                <a:spcBef>
                  <a:spcPct val="0"/>
                </a:spcBef>
                <a:spcAft>
                  <a:spcPct val="0"/>
                </a:spcAft>
                <a:defRPr sz="2400">
                  <a:solidFill>
                    <a:schemeClr val="tx1"/>
                  </a:solidFill>
                  <a:latin typeface="Arial" charset="0"/>
                </a:defRPr>
              </a:lvl8pPr>
              <a:lvl9pPr marL="3886200" indent="-228600" defTabSz="1028700" eaLnBrk="0" fontAlgn="base" hangingPunct="0">
                <a:spcBef>
                  <a:spcPct val="0"/>
                </a:spcBef>
                <a:spcAft>
                  <a:spcPct val="0"/>
                </a:spcAft>
                <a:defRPr sz="2400">
                  <a:solidFill>
                    <a:schemeClr val="tx1"/>
                  </a:solidFill>
                  <a:latin typeface="Arial" charset="0"/>
                </a:defRPr>
              </a:lvl9pPr>
            </a:lstStyle>
            <a:p>
              <a:pPr algn="ctr">
                <a:defRPr sz="2200" b="1"/>
              </a:pPr>
              <a:r>
                <a:t>?</a:t>
              </a:r>
            </a:p>
          </p:txBody>
        </p:sp>
        <p:grpSp>
          <p:nvGrpSpPr>
            <p:cNvPr id="75" name="Group 74">
              <a:extLst>
                <a:ext uri="{FF2B5EF4-FFF2-40B4-BE49-F238E27FC236}">
                  <a16:creationId xmlns:a16="http://schemas.microsoft.com/office/drawing/2014/main" id="{50A9A2EF-0F3D-4D9C-424A-E41AED7146FD}"/>
                </a:ext>
              </a:extLst>
            </p:cNvPr>
            <p:cNvGrpSpPr>
              <a:grpSpLocks/>
            </p:cNvGrpSpPr>
            <p:nvPr/>
          </p:nvGrpSpPr>
          <p:grpSpPr bwMode="auto">
            <a:xfrm>
              <a:off x="1717677" y="2646976"/>
              <a:ext cx="8769351" cy="1733550"/>
              <a:chOff x="122" y="1899"/>
              <a:chExt cx="5524" cy="1092"/>
            </a:xfrm>
          </p:grpSpPr>
          <p:sp>
            <p:nvSpPr>
              <p:cNvPr id="76" name="Rectangle 75">
                <a:extLst>
                  <a:ext uri="{FF2B5EF4-FFF2-40B4-BE49-F238E27FC236}">
                    <a16:creationId xmlns:a16="http://schemas.microsoft.com/office/drawing/2014/main" id="{23C1F0BD-92E3-CDA6-B680-43E4B2351DF3}"/>
                  </a:ext>
                </a:extLst>
              </p:cNvPr>
              <p:cNvSpPr>
                <a:spLocks noChangeArrowheads="1"/>
              </p:cNvSpPr>
              <p:nvPr/>
            </p:nvSpPr>
            <p:spPr bwMode="auto">
              <a:xfrm>
                <a:off x="122" y="1899"/>
                <a:ext cx="2267" cy="7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108000" tIns="108000" rIns="0" bIns="0"/>
              <a:lstStyle/>
              <a:p>
                <a:pPr marL="285750" indent="-285750" defTabSz="766763">
                  <a:lnSpc>
                    <a:spcPts val="2600"/>
                  </a:lnSpc>
                  <a:spcBef>
                    <a:spcPts val="1200"/>
                  </a:spcBef>
                  <a:buClr>
                    <a:srgbClr val="0033CC"/>
                  </a:buClr>
                  <a:defRPr sz="2000"/>
                </a:pPr>
                <a:r>
                  <a:t>2.	Kullanıcı hangi rotayı seçer?</a:t>
                </a:r>
                <a:endParaRPr lang="de-DE" sz="2000" dirty="0"/>
              </a:p>
              <a:p>
                <a:pPr marL="285750" indent="-285750" defTabSz="766763">
                  <a:lnSpc>
                    <a:spcPts val="2600"/>
                  </a:lnSpc>
                  <a:spcBef>
                    <a:spcPts val="1200"/>
                  </a:spcBef>
                  <a:buClr>
                    <a:srgbClr val="0033CC"/>
                  </a:buClr>
                  <a:defRPr sz="2000"/>
                </a:pPr>
                <a:r>
                  <a:rPr>
                    <a:sym typeface="Wingdings" pitchFamily="2" charset="2"/>
                  </a:rPr>
                  <a:t> Güzergah seçim modeli</a:t>
                </a:r>
                <a:endParaRPr lang="de-DE" sz="2000" dirty="0"/>
              </a:p>
            </p:txBody>
          </p:sp>
          <p:sp>
            <p:nvSpPr>
              <p:cNvPr id="77" name="Rectangle 76">
                <a:extLst>
                  <a:ext uri="{FF2B5EF4-FFF2-40B4-BE49-F238E27FC236}">
                    <a16:creationId xmlns:a16="http://schemas.microsoft.com/office/drawing/2014/main" id="{E8DEE724-DA5A-C231-1FDC-C30A7FBA4B14}"/>
                  </a:ext>
                </a:extLst>
              </p:cNvPr>
              <p:cNvSpPr>
                <a:spLocks noChangeArrowheads="1"/>
              </p:cNvSpPr>
              <p:nvPr/>
            </p:nvSpPr>
            <p:spPr bwMode="auto">
              <a:xfrm>
                <a:off x="2984" y="1983"/>
                <a:ext cx="2662" cy="1008"/>
              </a:xfrm>
              <a:prstGeom prst="rect">
                <a:avLst/>
              </a:prstGeom>
              <a:solidFill>
                <a:schemeClr val="bg1"/>
              </a:solidFill>
              <a:ln w="15875">
                <a:solidFill>
                  <a:schemeClr val="tx1"/>
                </a:solidFill>
                <a:miter lim="800000"/>
                <a:headEnd/>
                <a:tailEnd/>
              </a:ln>
              <a:effectLst>
                <a:outerShdw dist="107763" dir="2700000" algn="ctr" rotWithShape="0">
                  <a:schemeClr val="bg2"/>
                </a:outerShdw>
              </a:effectLst>
            </p:spPr>
            <p:txBody>
              <a:bodyPr wrap="none" anchor="ctr"/>
              <a:lstStyle/>
              <a:p>
                <a:pPr algn="ctr" defTabSz="762000"/>
                <a:endParaRPr lang="de-AT"/>
              </a:p>
            </p:txBody>
          </p:sp>
          <p:grpSp>
            <p:nvGrpSpPr>
              <p:cNvPr id="78" name="Group 77">
                <a:extLst>
                  <a:ext uri="{FF2B5EF4-FFF2-40B4-BE49-F238E27FC236}">
                    <a16:creationId xmlns:a16="http://schemas.microsoft.com/office/drawing/2014/main" id="{E7F4C871-EF86-77D2-134E-F9E3FE0E33FE}"/>
                  </a:ext>
                </a:extLst>
              </p:cNvPr>
              <p:cNvGrpSpPr>
                <a:grpSpLocks/>
              </p:cNvGrpSpPr>
              <p:nvPr/>
            </p:nvGrpSpPr>
            <p:grpSpPr bwMode="auto">
              <a:xfrm>
                <a:off x="3044" y="2594"/>
                <a:ext cx="164" cy="366"/>
                <a:chOff x="3044" y="1427"/>
                <a:chExt cx="164" cy="366"/>
              </a:xfrm>
            </p:grpSpPr>
            <p:sp>
              <p:nvSpPr>
                <p:cNvPr id="83" name="Freeform 32">
                  <a:extLst>
                    <a:ext uri="{FF2B5EF4-FFF2-40B4-BE49-F238E27FC236}">
                      <a16:creationId xmlns:a16="http://schemas.microsoft.com/office/drawing/2014/main" id="{E6CB6201-78A0-B8A3-645C-8FA94CCD12D1}"/>
                    </a:ext>
                  </a:extLst>
                </p:cNvPr>
                <p:cNvSpPr>
                  <a:spLocks/>
                </p:cNvSpPr>
                <p:nvPr/>
              </p:nvSpPr>
              <p:spPr bwMode="auto">
                <a:xfrm>
                  <a:off x="3044" y="1566"/>
                  <a:ext cx="164" cy="227"/>
                </a:xfrm>
                <a:custGeom>
                  <a:avLst/>
                  <a:gdLst>
                    <a:gd name="T0" fmla="*/ 0 w 182"/>
                    <a:gd name="T1" fmla="*/ 0 h 137"/>
                    <a:gd name="T2" fmla="*/ 0 w 182"/>
                    <a:gd name="T3" fmla="*/ 24 h 137"/>
                    <a:gd name="T4" fmla="*/ 29 w 182"/>
                    <a:gd name="T5" fmla="*/ 24 h 137"/>
                    <a:gd name="T6" fmla="*/ 29 w 182"/>
                    <a:gd name="T7" fmla="*/ 0 h 137"/>
                    <a:gd name="T8" fmla="*/ 0 w 182"/>
                    <a:gd name="T9" fmla="*/ 0 h 137"/>
                    <a:gd name="T10" fmla="*/ 0 60000 65536"/>
                    <a:gd name="T11" fmla="*/ 0 60000 65536"/>
                    <a:gd name="T12" fmla="*/ 0 60000 65536"/>
                    <a:gd name="T13" fmla="*/ 0 60000 65536"/>
                    <a:gd name="T14" fmla="*/ 0 60000 65536"/>
                    <a:gd name="T15" fmla="*/ 0 w 182"/>
                    <a:gd name="T16" fmla="*/ 0 h 137"/>
                    <a:gd name="T17" fmla="*/ 182 w 182"/>
                    <a:gd name="T18" fmla="*/ 137 h 137"/>
                  </a:gdLst>
                  <a:ahLst/>
                  <a:cxnLst>
                    <a:cxn ang="T10">
                      <a:pos x="T0" y="T1"/>
                    </a:cxn>
                    <a:cxn ang="T11">
                      <a:pos x="T2" y="T3"/>
                    </a:cxn>
                    <a:cxn ang="T12">
                      <a:pos x="T4" y="T5"/>
                    </a:cxn>
                    <a:cxn ang="T13">
                      <a:pos x="T6" y="T7"/>
                    </a:cxn>
                    <a:cxn ang="T14">
                      <a:pos x="T8" y="T9"/>
                    </a:cxn>
                  </a:cxnLst>
                  <a:rect l="T15" t="T16" r="T17" b="T18"/>
                  <a:pathLst>
                    <a:path w="182" h="137">
                      <a:moveTo>
                        <a:pt x="0" y="0"/>
                      </a:moveTo>
                      <a:lnTo>
                        <a:pt x="0" y="136"/>
                      </a:lnTo>
                      <a:lnTo>
                        <a:pt x="181" y="136"/>
                      </a:lnTo>
                      <a:lnTo>
                        <a:pt x="181" y="0"/>
                      </a:lnTo>
                      <a:lnTo>
                        <a:pt x="0" y="0"/>
                      </a:lnTo>
                    </a:path>
                  </a:pathLst>
                </a:custGeom>
                <a:solidFill>
                  <a:srgbClr val="000000"/>
                </a:solidFill>
                <a:ln w="12700" cap="rnd">
                  <a:solidFill>
                    <a:srgbClr val="000000"/>
                  </a:solidFill>
                  <a:round/>
                  <a:headEnd/>
                  <a:tailEnd/>
                </a:ln>
              </p:spPr>
              <p:txBody>
                <a:bodyPr wrap="none" lIns="128703" tIns="63222" rIns="128703" bIns="63222">
                  <a:spAutoFit/>
                </a:bodyPr>
                <a:lstStyle/>
                <a:p>
                  <a:endParaRPr lang="de-DE"/>
                </a:p>
              </p:txBody>
            </p:sp>
            <p:sp>
              <p:nvSpPr>
                <p:cNvPr id="84" name="Freeform 33">
                  <a:extLst>
                    <a:ext uri="{FF2B5EF4-FFF2-40B4-BE49-F238E27FC236}">
                      <a16:creationId xmlns:a16="http://schemas.microsoft.com/office/drawing/2014/main" id="{1929A294-D0C5-7132-38B4-8ED471E16B86}"/>
                    </a:ext>
                  </a:extLst>
                </p:cNvPr>
                <p:cNvSpPr>
                  <a:spLocks/>
                </p:cNvSpPr>
                <p:nvPr/>
              </p:nvSpPr>
              <p:spPr bwMode="auto">
                <a:xfrm>
                  <a:off x="3093" y="1658"/>
                  <a:ext cx="68" cy="132"/>
                </a:xfrm>
                <a:custGeom>
                  <a:avLst/>
                  <a:gdLst>
                    <a:gd name="T0" fmla="*/ 0 w 60"/>
                    <a:gd name="T1" fmla="*/ 0 h 84"/>
                    <a:gd name="T2" fmla="*/ 0 w 60"/>
                    <a:gd name="T3" fmla="*/ 14 h 84"/>
                    <a:gd name="T4" fmla="*/ 10 w 60"/>
                    <a:gd name="T5" fmla="*/ 14 h 84"/>
                    <a:gd name="T6" fmla="*/ 10 w 60"/>
                    <a:gd name="T7" fmla="*/ 0 h 84"/>
                    <a:gd name="T8" fmla="*/ 0 w 60"/>
                    <a:gd name="T9" fmla="*/ 0 h 84"/>
                    <a:gd name="T10" fmla="*/ 0 60000 65536"/>
                    <a:gd name="T11" fmla="*/ 0 60000 65536"/>
                    <a:gd name="T12" fmla="*/ 0 60000 65536"/>
                    <a:gd name="T13" fmla="*/ 0 60000 65536"/>
                    <a:gd name="T14" fmla="*/ 0 60000 65536"/>
                    <a:gd name="T15" fmla="*/ 0 w 60"/>
                    <a:gd name="T16" fmla="*/ 0 h 84"/>
                    <a:gd name="T17" fmla="*/ 60 w 60"/>
                    <a:gd name="T18" fmla="*/ 84 h 84"/>
                  </a:gdLst>
                  <a:ahLst/>
                  <a:cxnLst>
                    <a:cxn ang="T10">
                      <a:pos x="T0" y="T1"/>
                    </a:cxn>
                    <a:cxn ang="T11">
                      <a:pos x="T2" y="T3"/>
                    </a:cxn>
                    <a:cxn ang="T12">
                      <a:pos x="T4" y="T5"/>
                    </a:cxn>
                    <a:cxn ang="T13">
                      <a:pos x="T6" y="T7"/>
                    </a:cxn>
                    <a:cxn ang="T14">
                      <a:pos x="T8" y="T9"/>
                    </a:cxn>
                  </a:cxnLst>
                  <a:rect l="T15" t="T16" r="T17" b="T18"/>
                  <a:pathLst>
                    <a:path w="60" h="84">
                      <a:moveTo>
                        <a:pt x="0" y="0"/>
                      </a:moveTo>
                      <a:lnTo>
                        <a:pt x="0" y="83"/>
                      </a:lnTo>
                      <a:lnTo>
                        <a:pt x="59" y="83"/>
                      </a:lnTo>
                      <a:lnTo>
                        <a:pt x="59" y="0"/>
                      </a:lnTo>
                      <a:lnTo>
                        <a:pt x="0" y="0"/>
                      </a:lnTo>
                    </a:path>
                  </a:pathLst>
                </a:custGeom>
                <a:solidFill>
                  <a:srgbClr val="FFFFFF"/>
                </a:solidFill>
                <a:ln w="12700" cap="rnd">
                  <a:solidFill>
                    <a:srgbClr val="000000"/>
                  </a:solidFill>
                  <a:round/>
                  <a:headEnd/>
                  <a:tailEnd/>
                </a:ln>
              </p:spPr>
              <p:txBody>
                <a:bodyPr wrap="none" lIns="128703" tIns="63222" rIns="128703" bIns="63222">
                  <a:spAutoFit/>
                </a:bodyPr>
                <a:lstStyle/>
                <a:p>
                  <a:endParaRPr lang="de-DE"/>
                </a:p>
              </p:txBody>
            </p:sp>
            <p:sp>
              <p:nvSpPr>
                <p:cNvPr id="85" name="Freeform 34">
                  <a:extLst>
                    <a:ext uri="{FF2B5EF4-FFF2-40B4-BE49-F238E27FC236}">
                      <a16:creationId xmlns:a16="http://schemas.microsoft.com/office/drawing/2014/main" id="{A0D1C704-E1D8-FFF3-1DB5-ADE68099B21A}"/>
                    </a:ext>
                  </a:extLst>
                </p:cNvPr>
                <p:cNvSpPr>
                  <a:spLocks/>
                </p:cNvSpPr>
                <p:nvPr/>
              </p:nvSpPr>
              <p:spPr bwMode="auto">
                <a:xfrm>
                  <a:off x="3045" y="1427"/>
                  <a:ext cx="163" cy="136"/>
                </a:xfrm>
                <a:custGeom>
                  <a:avLst/>
                  <a:gdLst>
                    <a:gd name="T0" fmla="*/ 0 w 262"/>
                    <a:gd name="T1" fmla="*/ 12 h 105"/>
                    <a:gd name="T2" fmla="*/ 16 w 262"/>
                    <a:gd name="T3" fmla="*/ 0 h 105"/>
                    <a:gd name="T4" fmla="*/ 31 w 262"/>
                    <a:gd name="T5" fmla="*/ 12 h 105"/>
                    <a:gd name="T6" fmla="*/ 0 w 262"/>
                    <a:gd name="T7" fmla="*/ 12 h 105"/>
                    <a:gd name="T8" fmla="*/ 0 60000 65536"/>
                    <a:gd name="T9" fmla="*/ 0 60000 65536"/>
                    <a:gd name="T10" fmla="*/ 0 60000 65536"/>
                    <a:gd name="T11" fmla="*/ 0 60000 65536"/>
                    <a:gd name="T12" fmla="*/ 0 w 262"/>
                    <a:gd name="T13" fmla="*/ 0 h 105"/>
                    <a:gd name="T14" fmla="*/ 262 w 262"/>
                    <a:gd name="T15" fmla="*/ 105 h 105"/>
                  </a:gdLst>
                  <a:ahLst/>
                  <a:cxnLst>
                    <a:cxn ang="T8">
                      <a:pos x="T0" y="T1"/>
                    </a:cxn>
                    <a:cxn ang="T9">
                      <a:pos x="T2" y="T3"/>
                    </a:cxn>
                    <a:cxn ang="T10">
                      <a:pos x="T4" y="T5"/>
                    </a:cxn>
                    <a:cxn ang="T11">
                      <a:pos x="T6" y="T7"/>
                    </a:cxn>
                  </a:cxnLst>
                  <a:rect l="T12" t="T13" r="T14" b="T15"/>
                  <a:pathLst>
                    <a:path w="262" h="105">
                      <a:moveTo>
                        <a:pt x="0" y="104"/>
                      </a:moveTo>
                      <a:lnTo>
                        <a:pt x="135" y="0"/>
                      </a:lnTo>
                      <a:lnTo>
                        <a:pt x="261" y="104"/>
                      </a:lnTo>
                      <a:lnTo>
                        <a:pt x="0" y="104"/>
                      </a:lnTo>
                    </a:path>
                  </a:pathLst>
                </a:custGeom>
                <a:solidFill>
                  <a:srgbClr val="000000"/>
                </a:solidFill>
                <a:ln w="12700" cap="rnd">
                  <a:solidFill>
                    <a:srgbClr val="000000"/>
                  </a:solidFill>
                  <a:round/>
                  <a:headEnd/>
                  <a:tailEnd/>
                </a:ln>
              </p:spPr>
              <p:txBody>
                <a:bodyPr lIns="128703" tIns="63222" rIns="128703" bIns="63222">
                  <a:spAutoFit/>
                </a:bodyPr>
                <a:lstStyle/>
                <a:p>
                  <a:endParaRPr lang="de-DE"/>
                </a:p>
              </p:txBody>
            </p:sp>
          </p:grpSp>
          <p:grpSp>
            <p:nvGrpSpPr>
              <p:cNvPr id="79" name="Group 35">
                <a:extLst>
                  <a:ext uri="{FF2B5EF4-FFF2-40B4-BE49-F238E27FC236}">
                    <a16:creationId xmlns:a16="http://schemas.microsoft.com/office/drawing/2014/main" id="{6FE94115-2762-7127-0059-D25E3903C0FD}"/>
                  </a:ext>
                </a:extLst>
              </p:cNvPr>
              <p:cNvGrpSpPr>
                <a:grpSpLocks/>
              </p:cNvGrpSpPr>
              <p:nvPr/>
            </p:nvGrpSpPr>
            <p:grpSpPr bwMode="auto">
              <a:xfrm>
                <a:off x="5413" y="2018"/>
                <a:ext cx="164" cy="366"/>
                <a:chOff x="3044" y="1427"/>
                <a:chExt cx="164" cy="366"/>
              </a:xfrm>
            </p:grpSpPr>
            <p:sp>
              <p:nvSpPr>
                <p:cNvPr id="80" name="Freeform 36">
                  <a:extLst>
                    <a:ext uri="{FF2B5EF4-FFF2-40B4-BE49-F238E27FC236}">
                      <a16:creationId xmlns:a16="http://schemas.microsoft.com/office/drawing/2014/main" id="{4BE1B2DC-C887-3260-0E1B-681F9F883FA9}"/>
                    </a:ext>
                  </a:extLst>
                </p:cNvPr>
                <p:cNvSpPr>
                  <a:spLocks/>
                </p:cNvSpPr>
                <p:nvPr/>
              </p:nvSpPr>
              <p:spPr bwMode="auto">
                <a:xfrm>
                  <a:off x="3044" y="1566"/>
                  <a:ext cx="164" cy="227"/>
                </a:xfrm>
                <a:custGeom>
                  <a:avLst/>
                  <a:gdLst>
                    <a:gd name="T0" fmla="*/ 0 w 182"/>
                    <a:gd name="T1" fmla="*/ 0 h 137"/>
                    <a:gd name="T2" fmla="*/ 0 w 182"/>
                    <a:gd name="T3" fmla="*/ 24 h 137"/>
                    <a:gd name="T4" fmla="*/ 29 w 182"/>
                    <a:gd name="T5" fmla="*/ 24 h 137"/>
                    <a:gd name="T6" fmla="*/ 29 w 182"/>
                    <a:gd name="T7" fmla="*/ 0 h 137"/>
                    <a:gd name="T8" fmla="*/ 0 w 182"/>
                    <a:gd name="T9" fmla="*/ 0 h 137"/>
                    <a:gd name="T10" fmla="*/ 0 60000 65536"/>
                    <a:gd name="T11" fmla="*/ 0 60000 65536"/>
                    <a:gd name="T12" fmla="*/ 0 60000 65536"/>
                    <a:gd name="T13" fmla="*/ 0 60000 65536"/>
                    <a:gd name="T14" fmla="*/ 0 60000 65536"/>
                    <a:gd name="T15" fmla="*/ 0 w 182"/>
                    <a:gd name="T16" fmla="*/ 0 h 137"/>
                    <a:gd name="T17" fmla="*/ 182 w 182"/>
                    <a:gd name="T18" fmla="*/ 137 h 137"/>
                  </a:gdLst>
                  <a:ahLst/>
                  <a:cxnLst>
                    <a:cxn ang="T10">
                      <a:pos x="T0" y="T1"/>
                    </a:cxn>
                    <a:cxn ang="T11">
                      <a:pos x="T2" y="T3"/>
                    </a:cxn>
                    <a:cxn ang="T12">
                      <a:pos x="T4" y="T5"/>
                    </a:cxn>
                    <a:cxn ang="T13">
                      <a:pos x="T6" y="T7"/>
                    </a:cxn>
                    <a:cxn ang="T14">
                      <a:pos x="T8" y="T9"/>
                    </a:cxn>
                  </a:cxnLst>
                  <a:rect l="T15" t="T16" r="T17" b="T18"/>
                  <a:pathLst>
                    <a:path w="182" h="137">
                      <a:moveTo>
                        <a:pt x="0" y="0"/>
                      </a:moveTo>
                      <a:lnTo>
                        <a:pt x="0" y="136"/>
                      </a:lnTo>
                      <a:lnTo>
                        <a:pt x="181" y="136"/>
                      </a:lnTo>
                      <a:lnTo>
                        <a:pt x="181" y="0"/>
                      </a:lnTo>
                      <a:lnTo>
                        <a:pt x="0" y="0"/>
                      </a:lnTo>
                    </a:path>
                  </a:pathLst>
                </a:custGeom>
                <a:solidFill>
                  <a:srgbClr val="000000"/>
                </a:solidFill>
                <a:ln w="12700" cap="rnd">
                  <a:solidFill>
                    <a:srgbClr val="000000"/>
                  </a:solidFill>
                  <a:round/>
                  <a:headEnd/>
                  <a:tailEnd/>
                </a:ln>
              </p:spPr>
              <p:txBody>
                <a:bodyPr wrap="none" lIns="128703" tIns="63222" rIns="128703" bIns="63222">
                  <a:spAutoFit/>
                </a:bodyPr>
                <a:lstStyle/>
                <a:p>
                  <a:endParaRPr lang="de-DE"/>
                </a:p>
              </p:txBody>
            </p:sp>
            <p:sp>
              <p:nvSpPr>
                <p:cNvPr id="81" name="Freeform 37">
                  <a:extLst>
                    <a:ext uri="{FF2B5EF4-FFF2-40B4-BE49-F238E27FC236}">
                      <a16:creationId xmlns:a16="http://schemas.microsoft.com/office/drawing/2014/main" id="{57E4086D-9200-FA00-0CD6-D9556CB600FE}"/>
                    </a:ext>
                  </a:extLst>
                </p:cNvPr>
                <p:cNvSpPr>
                  <a:spLocks/>
                </p:cNvSpPr>
                <p:nvPr/>
              </p:nvSpPr>
              <p:spPr bwMode="auto">
                <a:xfrm>
                  <a:off x="3093" y="1658"/>
                  <a:ext cx="68" cy="132"/>
                </a:xfrm>
                <a:custGeom>
                  <a:avLst/>
                  <a:gdLst>
                    <a:gd name="T0" fmla="*/ 0 w 60"/>
                    <a:gd name="T1" fmla="*/ 0 h 84"/>
                    <a:gd name="T2" fmla="*/ 0 w 60"/>
                    <a:gd name="T3" fmla="*/ 14 h 84"/>
                    <a:gd name="T4" fmla="*/ 10 w 60"/>
                    <a:gd name="T5" fmla="*/ 14 h 84"/>
                    <a:gd name="T6" fmla="*/ 10 w 60"/>
                    <a:gd name="T7" fmla="*/ 0 h 84"/>
                    <a:gd name="T8" fmla="*/ 0 w 60"/>
                    <a:gd name="T9" fmla="*/ 0 h 84"/>
                    <a:gd name="T10" fmla="*/ 0 60000 65536"/>
                    <a:gd name="T11" fmla="*/ 0 60000 65536"/>
                    <a:gd name="T12" fmla="*/ 0 60000 65536"/>
                    <a:gd name="T13" fmla="*/ 0 60000 65536"/>
                    <a:gd name="T14" fmla="*/ 0 60000 65536"/>
                    <a:gd name="T15" fmla="*/ 0 w 60"/>
                    <a:gd name="T16" fmla="*/ 0 h 84"/>
                    <a:gd name="T17" fmla="*/ 60 w 60"/>
                    <a:gd name="T18" fmla="*/ 84 h 84"/>
                  </a:gdLst>
                  <a:ahLst/>
                  <a:cxnLst>
                    <a:cxn ang="T10">
                      <a:pos x="T0" y="T1"/>
                    </a:cxn>
                    <a:cxn ang="T11">
                      <a:pos x="T2" y="T3"/>
                    </a:cxn>
                    <a:cxn ang="T12">
                      <a:pos x="T4" y="T5"/>
                    </a:cxn>
                    <a:cxn ang="T13">
                      <a:pos x="T6" y="T7"/>
                    </a:cxn>
                    <a:cxn ang="T14">
                      <a:pos x="T8" y="T9"/>
                    </a:cxn>
                  </a:cxnLst>
                  <a:rect l="T15" t="T16" r="T17" b="T18"/>
                  <a:pathLst>
                    <a:path w="60" h="84">
                      <a:moveTo>
                        <a:pt x="0" y="0"/>
                      </a:moveTo>
                      <a:lnTo>
                        <a:pt x="0" y="83"/>
                      </a:lnTo>
                      <a:lnTo>
                        <a:pt x="59" y="83"/>
                      </a:lnTo>
                      <a:lnTo>
                        <a:pt x="59" y="0"/>
                      </a:lnTo>
                      <a:lnTo>
                        <a:pt x="0" y="0"/>
                      </a:lnTo>
                    </a:path>
                  </a:pathLst>
                </a:custGeom>
                <a:solidFill>
                  <a:srgbClr val="FFFFFF"/>
                </a:solidFill>
                <a:ln w="12700" cap="rnd">
                  <a:solidFill>
                    <a:srgbClr val="000000"/>
                  </a:solidFill>
                  <a:round/>
                  <a:headEnd/>
                  <a:tailEnd/>
                </a:ln>
              </p:spPr>
              <p:txBody>
                <a:bodyPr wrap="none" lIns="128703" tIns="63222" rIns="128703" bIns="63222">
                  <a:spAutoFit/>
                </a:bodyPr>
                <a:lstStyle/>
                <a:p>
                  <a:endParaRPr lang="de-DE"/>
                </a:p>
              </p:txBody>
            </p:sp>
            <p:sp>
              <p:nvSpPr>
                <p:cNvPr id="82" name="Freeform 38">
                  <a:extLst>
                    <a:ext uri="{FF2B5EF4-FFF2-40B4-BE49-F238E27FC236}">
                      <a16:creationId xmlns:a16="http://schemas.microsoft.com/office/drawing/2014/main" id="{D408DC6B-622D-C9CD-072B-2E499B699A27}"/>
                    </a:ext>
                  </a:extLst>
                </p:cNvPr>
                <p:cNvSpPr>
                  <a:spLocks/>
                </p:cNvSpPr>
                <p:nvPr/>
              </p:nvSpPr>
              <p:spPr bwMode="auto">
                <a:xfrm>
                  <a:off x="3045" y="1427"/>
                  <a:ext cx="163" cy="136"/>
                </a:xfrm>
                <a:custGeom>
                  <a:avLst/>
                  <a:gdLst>
                    <a:gd name="T0" fmla="*/ 0 w 262"/>
                    <a:gd name="T1" fmla="*/ 12 h 105"/>
                    <a:gd name="T2" fmla="*/ 16 w 262"/>
                    <a:gd name="T3" fmla="*/ 0 h 105"/>
                    <a:gd name="T4" fmla="*/ 31 w 262"/>
                    <a:gd name="T5" fmla="*/ 12 h 105"/>
                    <a:gd name="T6" fmla="*/ 0 w 262"/>
                    <a:gd name="T7" fmla="*/ 12 h 105"/>
                    <a:gd name="T8" fmla="*/ 0 60000 65536"/>
                    <a:gd name="T9" fmla="*/ 0 60000 65536"/>
                    <a:gd name="T10" fmla="*/ 0 60000 65536"/>
                    <a:gd name="T11" fmla="*/ 0 60000 65536"/>
                    <a:gd name="T12" fmla="*/ 0 w 262"/>
                    <a:gd name="T13" fmla="*/ 0 h 105"/>
                    <a:gd name="T14" fmla="*/ 262 w 262"/>
                    <a:gd name="T15" fmla="*/ 105 h 105"/>
                  </a:gdLst>
                  <a:ahLst/>
                  <a:cxnLst>
                    <a:cxn ang="T8">
                      <a:pos x="T0" y="T1"/>
                    </a:cxn>
                    <a:cxn ang="T9">
                      <a:pos x="T2" y="T3"/>
                    </a:cxn>
                    <a:cxn ang="T10">
                      <a:pos x="T4" y="T5"/>
                    </a:cxn>
                    <a:cxn ang="T11">
                      <a:pos x="T6" y="T7"/>
                    </a:cxn>
                  </a:cxnLst>
                  <a:rect l="T12" t="T13" r="T14" b="T15"/>
                  <a:pathLst>
                    <a:path w="262" h="105">
                      <a:moveTo>
                        <a:pt x="0" y="104"/>
                      </a:moveTo>
                      <a:lnTo>
                        <a:pt x="135" y="0"/>
                      </a:lnTo>
                      <a:lnTo>
                        <a:pt x="261" y="104"/>
                      </a:lnTo>
                      <a:lnTo>
                        <a:pt x="0" y="104"/>
                      </a:lnTo>
                    </a:path>
                  </a:pathLst>
                </a:custGeom>
                <a:solidFill>
                  <a:srgbClr val="000000"/>
                </a:solidFill>
                <a:ln w="12700" cap="rnd">
                  <a:solidFill>
                    <a:srgbClr val="000000"/>
                  </a:solidFill>
                  <a:round/>
                  <a:headEnd/>
                  <a:tailEnd/>
                </a:ln>
              </p:spPr>
              <p:txBody>
                <a:bodyPr lIns="128703" tIns="63222" rIns="128703" bIns="63222">
                  <a:spAutoFit/>
                </a:bodyPr>
                <a:lstStyle/>
                <a:p>
                  <a:endParaRPr lang="de-DE"/>
                </a:p>
              </p:txBody>
            </p:sp>
          </p:grpSp>
        </p:grpSp>
        <p:sp>
          <p:nvSpPr>
            <p:cNvPr id="86" name="Freeform 39">
              <a:extLst>
                <a:ext uri="{FF2B5EF4-FFF2-40B4-BE49-F238E27FC236}">
                  <a16:creationId xmlns:a16="http://schemas.microsoft.com/office/drawing/2014/main" id="{56638EF6-4835-F0C0-1A92-85D7B5FF7984}"/>
                </a:ext>
              </a:extLst>
            </p:cNvPr>
            <p:cNvSpPr>
              <a:spLocks/>
            </p:cNvSpPr>
            <p:nvPr/>
          </p:nvSpPr>
          <p:spPr bwMode="auto">
            <a:xfrm>
              <a:off x="6719888" y="3013688"/>
              <a:ext cx="3232150" cy="900112"/>
            </a:xfrm>
            <a:custGeom>
              <a:avLst/>
              <a:gdLst>
                <a:gd name="T0" fmla="*/ 0 w 2377"/>
                <a:gd name="T1" fmla="*/ 2147483647 h 593"/>
                <a:gd name="T2" fmla="*/ 0 w 2377"/>
                <a:gd name="T3" fmla="*/ 0 h 593"/>
                <a:gd name="T4" fmla="*/ 2147483647 w 2377"/>
                <a:gd name="T5" fmla="*/ 2147483647 h 593"/>
                <a:gd name="T6" fmla="*/ 0 60000 65536"/>
                <a:gd name="T7" fmla="*/ 0 60000 65536"/>
                <a:gd name="T8" fmla="*/ 0 60000 65536"/>
                <a:gd name="T9" fmla="*/ 0 w 2377"/>
                <a:gd name="T10" fmla="*/ 0 h 593"/>
                <a:gd name="T11" fmla="*/ 2377 w 2377"/>
                <a:gd name="T12" fmla="*/ 593 h 593"/>
              </a:gdLst>
              <a:ahLst/>
              <a:cxnLst>
                <a:cxn ang="T6">
                  <a:pos x="T0" y="T1"/>
                </a:cxn>
                <a:cxn ang="T7">
                  <a:pos x="T2" y="T3"/>
                </a:cxn>
                <a:cxn ang="T8">
                  <a:pos x="T4" y="T5"/>
                </a:cxn>
              </a:cxnLst>
              <a:rect l="T9" t="T10" r="T11" b="T12"/>
              <a:pathLst>
                <a:path w="2377" h="593">
                  <a:moveTo>
                    <a:pt x="0" y="593"/>
                  </a:moveTo>
                  <a:lnTo>
                    <a:pt x="0" y="0"/>
                  </a:lnTo>
                  <a:lnTo>
                    <a:pt x="2377" y="8"/>
                  </a:lnTo>
                </a:path>
              </a:pathLst>
            </a:custGeom>
            <a:noFill/>
            <a:ln w="44450">
              <a:solidFill>
                <a:srgbClr val="FF0000"/>
              </a:solidFill>
              <a:round/>
              <a:headEnd/>
              <a:tailEnd type="triangle" w="med" len="med"/>
            </a:ln>
            <a:extLst>
              <a:ext uri="{909E8E84-426E-40DD-AFC4-6F175D3DCCD1}">
                <a14:hiddenFill xmlns:a14="http://schemas.microsoft.com/office/drawing/2010/main">
                  <a:solidFill>
                    <a:srgbClr val="FFFFFF"/>
                  </a:solidFill>
                </a14:hiddenFill>
              </a:ext>
            </a:extLst>
          </p:spPr>
          <p:txBody>
            <a:bodyPr wrap="none" anchor="ctr"/>
            <a:lstStyle/>
            <a:p>
              <a:endParaRPr lang="de-DE"/>
            </a:p>
          </p:txBody>
        </p:sp>
        <p:sp>
          <p:nvSpPr>
            <p:cNvPr id="87" name="Freeform 40">
              <a:extLst>
                <a:ext uri="{FF2B5EF4-FFF2-40B4-BE49-F238E27FC236}">
                  <a16:creationId xmlns:a16="http://schemas.microsoft.com/office/drawing/2014/main" id="{654D292F-0DC3-CDFE-C4D3-CF318D3501E1}"/>
                </a:ext>
              </a:extLst>
            </p:cNvPr>
            <p:cNvSpPr>
              <a:spLocks/>
            </p:cNvSpPr>
            <p:nvPr/>
          </p:nvSpPr>
          <p:spPr bwMode="auto">
            <a:xfrm rot="10800000">
              <a:off x="6777039" y="3240700"/>
              <a:ext cx="3201987" cy="763588"/>
            </a:xfrm>
            <a:custGeom>
              <a:avLst/>
              <a:gdLst>
                <a:gd name="T0" fmla="*/ 0 w 2377"/>
                <a:gd name="T1" fmla="*/ 2147483647 h 593"/>
                <a:gd name="T2" fmla="*/ 0 w 2377"/>
                <a:gd name="T3" fmla="*/ 0 h 593"/>
                <a:gd name="T4" fmla="*/ 2147483647 w 2377"/>
                <a:gd name="T5" fmla="*/ 2147483647 h 593"/>
                <a:gd name="T6" fmla="*/ 0 60000 65536"/>
                <a:gd name="T7" fmla="*/ 0 60000 65536"/>
                <a:gd name="T8" fmla="*/ 0 60000 65536"/>
                <a:gd name="T9" fmla="*/ 0 w 2377"/>
                <a:gd name="T10" fmla="*/ 0 h 593"/>
                <a:gd name="T11" fmla="*/ 2377 w 2377"/>
                <a:gd name="T12" fmla="*/ 593 h 593"/>
              </a:gdLst>
              <a:ahLst/>
              <a:cxnLst>
                <a:cxn ang="T6">
                  <a:pos x="T0" y="T1"/>
                </a:cxn>
                <a:cxn ang="T7">
                  <a:pos x="T2" y="T3"/>
                </a:cxn>
                <a:cxn ang="T8">
                  <a:pos x="T4" y="T5"/>
                </a:cxn>
              </a:cxnLst>
              <a:rect l="T9" t="T10" r="T11" b="T12"/>
              <a:pathLst>
                <a:path w="2377" h="593">
                  <a:moveTo>
                    <a:pt x="0" y="593"/>
                  </a:moveTo>
                  <a:lnTo>
                    <a:pt x="0" y="0"/>
                  </a:lnTo>
                  <a:lnTo>
                    <a:pt x="2377" y="8"/>
                  </a:lnTo>
                </a:path>
              </a:pathLst>
            </a:custGeom>
            <a:noFill/>
            <a:ln w="44450">
              <a:solidFill>
                <a:srgbClr val="FF0000"/>
              </a:solidFill>
              <a:round/>
              <a:headEnd type="triangle" w="med" len="med"/>
              <a:tailEnd/>
            </a:ln>
            <a:extLst>
              <a:ext uri="{909E8E84-426E-40DD-AFC4-6F175D3DCCD1}">
                <a14:hiddenFill xmlns:a14="http://schemas.microsoft.com/office/drawing/2010/main">
                  <a:solidFill>
                    <a:srgbClr val="FFFFFF"/>
                  </a:solidFill>
                </a14:hiddenFill>
              </a:ext>
            </a:extLst>
          </p:spPr>
          <p:txBody>
            <a:bodyPr wrap="none" anchor="ctr"/>
            <a:lstStyle/>
            <a:p>
              <a:endParaRPr lang="de-DE"/>
            </a:p>
          </p:txBody>
        </p:sp>
        <p:sp>
          <p:nvSpPr>
            <p:cNvPr id="88" name="Freeform 41">
              <a:extLst>
                <a:ext uri="{FF2B5EF4-FFF2-40B4-BE49-F238E27FC236}">
                  <a16:creationId xmlns:a16="http://schemas.microsoft.com/office/drawing/2014/main" id="{DE7EFD9E-8BD4-2B91-C7A2-A8ED007AC5B2}"/>
                </a:ext>
              </a:extLst>
            </p:cNvPr>
            <p:cNvSpPr>
              <a:spLocks/>
            </p:cNvSpPr>
            <p:nvPr/>
          </p:nvSpPr>
          <p:spPr bwMode="auto">
            <a:xfrm>
              <a:off x="6777038" y="3189901"/>
              <a:ext cx="3175000" cy="747713"/>
            </a:xfrm>
            <a:custGeom>
              <a:avLst/>
              <a:gdLst>
                <a:gd name="T0" fmla="*/ 2147483647 w 2039"/>
                <a:gd name="T1" fmla="*/ 2147483647 h 471"/>
                <a:gd name="T2" fmla="*/ 2147483647 w 2039"/>
                <a:gd name="T3" fmla="*/ 0 h 471"/>
                <a:gd name="T4" fmla="*/ 2147483647 w 2039"/>
                <a:gd name="T5" fmla="*/ 2147483647 h 471"/>
                <a:gd name="T6" fmla="*/ 0 w 2039"/>
                <a:gd name="T7" fmla="*/ 2147483647 h 471"/>
                <a:gd name="T8" fmla="*/ 0 60000 65536"/>
                <a:gd name="T9" fmla="*/ 0 60000 65536"/>
                <a:gd name="T10" fmla="*/ 0 60000 65536"/>
                <a:gd name="T11" fmla="*/ 0 60000 65536"/>
                <a:gd name="T12" fmla="*/ 0 w 2039"/>
                <a:gd name="T13" fmla="*/ 0 h 471"/>
                <a:gd name="T14" fmla="*/ 2039 w 2039"/>
                <a:gd name="T15" fmla="*/ 471 h 471"/>
              </a:gdLst>
              <a:ahLst/>
              <a:cxnLst>
                <a:cxn ang="T8">
                  <a:pos x="T0" y="T1"/>
                </a:cxn>
                <a:cxn ang="T9">
                  <a:pos x="T2" y="T3"/>
                </a:cxn>
                <a:cxn ang="T10">
                  <a:pos x="T4" y="T5"/>
                </a:cxn>
                <a:cxn ang="T11">
                  <a:pos x="T6" y="T7"/>
                </a:cxn>
              </a:cxnLst>
              <a:rect l="T12" t="T13" r="T14" b="T15"/>
              <a:pathLst>
                <a:path w="2039" h="471">
                  <a:moveTo>
                    <a:pt x="2039" y="8"/>
                  </a:moveTo>
                  <a:lnTo>
                    <a:pt x="1236" y="0"/>
                  </a:lnTo>
                  <a:lnTo>
                    <a:pt x="1238" y="471"/>
                  </a:lnTo>
                  <a:lnTo>
                    <a:pt x="0" y="467"/>
                  </a:lnTo>
                </a:path>
              </a:pathLst>
            </a:custGeom>
            <a:noFill/>
            <a:ln w="44450">
              <a:solidFill>
                <a:srgbClr val="FF0000"/>
              </a:solidFill>
              <a:round/>
              <a:headEnd type="triangle" w="med" len="med"/>
              <a:tailEnd/>
            </a:ln>
            <a:extLst>
              <a:ext uri="{909E8E84-426E-40DD-AFC4-6F175D3DCCD1}">
                <a14:hiddenFill xmlns:a14="http://schemas.microsoft.com/office/drawing/2010/main">
                  <a:solidFill>
                    <a:srgbClr val="FFFFFF"/>
                  </a:solidFill>
                </a14:hiddenFill>
              </a:ext>
            </a:extLst>
          </p:spPr>
          <p:txBody>
            <a:bodyPr wrap="none" anchor="ctr"/>
            <a:lstStyle/>
            <a:p>
              <a:endParaRPr lang="de-DE"/>
            </a:p>
          </p:txBody>
        </p:sp>
        <p:grpSp>
          <p:nvGrpSpPr>
            <p:cNvPr id="89" name="Group 88">
              <a:extLst>
                <a:ext uri="{FF2B5EF4-FFF2-40B4-BE49-F238E27FC236}">
                  <a16:creationId xmlns:a16="http://schemas.microsoft.com/office/drawing/2014/main" id="{3A6B2665-C0E3-6ED8-E576-5CBA1DADB8A8}"/>
                </a:ext>
              </a:extLst>
            </p:cNvPr>
            <p:cNvGrpSpPr>
              <a:grpSpLocks/>
            </p:cNvGrpSpPr>
            <p:nvPr/>
          </p:nvGrpSpPr>
          <p:grpSpPr bwMode="auto">
            <a:xfrm>
              <a:off x="1671639" y="4674214"/>
              <a:ext cx="8815387" cy="1600200"/>
              <a:chOff x="93" y="3176"/>
              <a:chExt cx="5553" cy="1008"/>
            </a:xfrm>
          </p:grpSpPr>
          <p:sp>
            <p:nvSpPr>
              <p:cNvPr id="90" name="Rectangle 89">
                <a:extLst>
                  <a:ext uri="{FF2B5EF4-FFF2-40B4-BE49-F238E27FC236}">
                    <a16:creationId xmlns:a16="http://schemas.microsoft.com/office/drawing/2014/main" id="{6837FC6C-5BB3-6B6A-3D02-BB60C67289E7}"/>
                  </a:ext>
                </a:extLst>
              </p:cNvPr>
              <p:cNvSpPr>
                <a:spLocks noChangeArrowheads="1"/>
              </p:cNvSpPr>
              <p:nvPr/>
            </p:nvSpPr>
            <p:spPr bwMode="auto">
              <a:xfrm>
                <a:off x="93" y="3215"/>
                <a:ext cx="2446" cy="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108000" tIns="108000" rIns="0" bIns="0"/>
              <a:lstStyle/>
              <a:p>
                <a:pPr marL="285750" indent="-285750" defTabSz="766763">
                  <a:lnSpc>
                    <a:spcPts val="2600"/>
                  </a:lnSpc>
                  <a:spcBef>
                    <a:spcPts val="1200"/>
                  </a:spcBef>
                  <a:buClr>
                    <a:srgbClr val="0033CC"/>
                  </a:buClr>
                  <a:defRPr sz="2000"/>
                </a:pPr>
                <a:r>
                  <a:t>3.	Kullanıcı rota boyunca nasıl hareket eder?</a:t>
                </a:r>
                <a:endParaRPr lang="de-DE" sz="2000" dirty="0"/>
              </a:p>
              <a:p>
                <a:pPr marL="285750" indent="-285750" defTabSz="766763">
                  <a:lnSpc>
                    <a:spcPts val="2600"/>
                  </a:lnSpc>
                  <a:spcBef>
                    <a:spcPts val="1200"/>
                  </a:spcBef>
                  <a:buClr>
                    <a:srgbClr val="0033CC"/>
                  </a:buClr>
                  <a:defRPr sz="2000"/>
                </a:pPr>
                <a:r>
                  <a:rPr>
                    <a:sym typeface="Wingdings" pitchFamily="2" charset="2"/>
                  </a:rPr>
                  <a:t>	 </a:t>
                </a:r>
                <a:r>
                  <a:t>Trafik akış modeli</a:t>
                </a:r>
                <a:endParaRPr lang="de-DE" sz="2000" dirty="0"/>
              </a:p>
            </p:txBody>
          </p:sp>
          <p:grpSp>
            <p:nvGrpSpPr>
              <p:cNvPr id="91" name="Group 90">
                <a:extLst>
                  <a:ext uri="{FF2B5EF4-FFF2-40B4-BE49-F238E27FC236}">
                    <a16:creationId xmlns:a16="http://schemas.microsoft.com/office/drawing/2014/main" id="{0B915BB8-D95F-1ADA-55BD-C1ED1C6DBC37}"/>
                  </a:ext>
                </a:extLst>
              </p:cNvPr>
              <p:cNvGrpSpPr>
                <a:grpSpLocks/>
              </p:cNvGrpSpPr>
              <p:nvPr/>
            </p:nvGrpSpPr>
            <p:grpSpPr bwMode="auto">
              <a:xfrm>
                <a:off x="2984" y="3176"/>
                <a:ext cx="2662" cy="1008"/>
                <a:chOff x="2984" y="3216"/>
                <a:chExt cx="2662" cy="1008"/>
              </a:xfrm>
            </p:grpSpPr>
            <p:sp>
              <p:nvSpPr>
                <p:cNvPr id="92" name="Rectangle 91">
                  <a:extLst>
                    <a:ext uri="{FF2B5EF4-FFF2-40B4-BE49-F238E27FC236}">
                      <a16:creationId xmlns:a16="http://schemas.microsoft.com/office/drawing/2014/main" id="{1186F924-7333-3617-AD06-2BED9C98656B}"/>
                    </a:ext>
                  </a:extLst>
                </p:cNvPr>
                <p:cNvSpPr>
                  <a:spLocks noChangeArrowheads="1"/>
                </p:cNvSpPr>
                <p:nvPr/>
              </p:nvSpPr>
              <p:spPr bwMode="auto">
                <a:xfrm>
                  <a:off x="2984" y="3216"/>
                  <a:ext cx="2662" cy="1008"/>
                </a:xfrm>
                <a:prstGeom prst="rect">
                  <a:avLst/>
                </a:prstGeom>
                <a:solidFill>
                  <a:schemeClr val="bg1"/>
                </a:solidFill>
                <a:ln w="15875">
                  <a:solidFill>
                    <a:schemeClr val="tx1"/>
                  </a:solidFill>
                  <a:miter lim="800000"/>
                  <a:headEnd/>
                  <a:tailEnd/>
                </a:ln>
                <a:effectLst>
                  <a:outerShdw dist="107763" dir="2700000" algn="ctr" rotWithShape="0">
                    <a:schemeClr val="bg2"/>
                  </a:outerShdw>
                </a:effectLst>
              </p:spPr>
              <p:txBody>
                <a:bodyPr wrap="none" anchor="ctr"/>
                <a:lstStyle/>
                <a:p>
                  <a:pPr algn="ctr" defTabSz="762000"/>
                  <a:endParaRPr lang="de-AT"/>
                </a:p>
              </p:txBody>
            </p:sp>
            <p:grpSp>
              <p:nvGrpSpPr>
                <p:cNvPr id="93" name="Group 92">
                  <a:extLst>
                    <a:ext uri="{FF2B5EF4-FFF2-40B4-BE49-F238E27FC236}">
                      <a16:creationId xmlns:a16="http://schemas.microsoft.com/office/drawing/2014/main" id="{27272490-25CB-9EC5-B9EC-ADD294CC8955}"/>
                    </a:ext>
                  </a:extLst>
                </p:cNvPr>
                <p:cNvGrpSpPr>
                  <a:grpSpLocks/>
                </p:cNvGrpSpPr>
                <p:nvPr/>
              </p:nvGrpSpPr>
              <p:grpSpPr bwMode="auto">
                <a:xfrm>
                  <a:off x="3257" y="3397"/>
                  <a:ext cx="2111" cy="623"/>
                  <a:chOff x="3257" y="997"/>
                  <a:chExt cx="2111" cy="623"/>
                </a:xfrm>
              </p:grpSpPr>
              <p:sp>
                <p:nvSpPr>
                  <p:cNvPr id="102" name="Line 47">
                    <a:extLst>
                      <a:ext uri="{FF2B5EF4-FFF2-40B4-BE49-F238E27FC236}">
                        <a16:creationId xmlns:a16="http://schemas.microsoft.com/office/drawing/2014/main" id="{DC5C5A1E-0385-9F90-BA2D-B21707C55B88}"/>
                      </a:ext>
                    </a:extLst>
                  </p:cNvPr>
                  <p:cNvSpPr>
                    <a:spLocks noChangeShapeType="1"/>
                  </p:cNvSpPr>
                  <p:nvPr/>
                </p:nvSpPr>
                <p:spPr bwMode="auto">
                  <a:xfrm>
                    <a:off x="3287" y="1586"/>
                    <a:ext cx="2040"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de-DE"/>
                  </a:p>
                </p:txBody>
              </p:sp>
              <p:sp>
                <p:nvSpPr>
                  <p:cNvPr id="103" name="Line 48">
                    <a:extLst>
                      <a:ext uri="{FF2B5EF4-FFF2-40B4-BE49-F238E27FC236}">
                        <a16:creationId xmlns:a16="http://schemas.microsoft.com/office/drawing/2014/main" id="{0F4E5D8B-3D19-A6E0-20CA-73B58F80CE4F}"/>
                      </a:ext>
                    </a:extLst>
                  </p:cNvPr>
                  <p:cNvSpPr>
                    <a:spLocks noChangeShapeType="1"/>
                  </p:cNvSpPr>
                  <p:nvPr/>
                </p:nvSpPr>
                <p:spPr bwMode="auto">
                  <a:xfrm>
                    <a:off x="3287" y="1020"/>
                    <a:ext cx="2040"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de-DE"/>
                  </a:p>
                </p:txBody>
              </p:sp>
              <p:sp>
                <p:nvSpPr>
                  <p:cNvPr id="104" name="Line 49">
                    <a:extLst>
                      <a:ext uri="{FF2B5EF4-FFF2-40B4-BE49-F238E27FC236}">
                        <a16:creationId xmlns:a16="http://schemas.microsoft.com/office/drawing/2014/main" id="{54A2CB8E-B43D-7F10-AD89-9C08182E7876}"/>
                      </a:ext>
                    </a:extLst>
                  </p:cNvPr>
                  <p:cNvSpPr>
                    <a:spLocks noChangeShapeType="1"/>
                  </p:cNvSpPr>
                  <p:nvPr/>
                </p:nvSpPr>
                <p:spPr bwMode="auto">
                  <a:xfrm>
                    <a:off x="3287" y="1020"/>
                    <a:ext cx="0" cy="567"/>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de-DE"/>
                  </a:p>
                </p:txBody>
              </p:sp>
              <p:sp>
                <p:nvSpPr>
                  <p:cNvPr id="105" name="Line 50">
                    <a:extLst>
                      <a:ext uri="{FF2B5EF4-FFF2-40B4-BE49-F238E27FC236}">
                        <a16:creationId xmlns:a16="http://schemas.microsoft.com/office/drawing/2014/main" id="{EC523B20-7247-92DC-B713-6182009AD4C4}"/>
                      </a:ext>
                    </a:extLst>
                  </p:cNvPr>
                  <p:cNvSpPr>
                    <a:spLocks noChangeShapeType="1"/>
                  </p:cNvSpPr>
                  <p:nvPr/>
                </p:nvSpPr>
                <p:spPr bwMode="auto">
                  <a:xfrm>
                    <a:off x="4507" y="1020"/>
                    <a:ext cx="0" cy="567"/>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de-DE"/>
                  </a:p>
                </p:txBody>
              </p:sp>
              <p:sp>
                <p:nvSpPr>
                  <p:cNvPr id="106" name="Line 51">
                    <a:extLst>
                      <a:ext uri="{FF2B5EF4-FFF2-40B4-BE49-F238E27FC236}">
                        <a16:creationId xmlns:a16="http://schemas.microsoft.com/office/drawing/2014/main" id="{CCD660D5-5A70-1D94-5C3C-917C0021B34F}"/>
                      </a:ext>
                    </a:extLst>
                  </p:cNvPr>
                  <p:cNvSpPr>
                    <a:spLocks noChangeShapeType="1"/>
                  </p:cNvSpPr>
                  <p:nvPr/>
                </p:nvSpPr>
                <p:spPr bwMode="auto">
                  <a:xfrm>
                    <a:off x="5327" y="1020"/>
                    <a:ext cx="0" cy="567"/>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de-DE"/>
                  </a:p>
                </p:txBody>
              </p:sp>
              <p:sp>
                <p:nvSpPr>
                  <p:cNvPr id="107" name="Oval 52">
                    <a:extLst>
                      <a:ext uri="{FF2B5EF4-FFF2-40B4-BE49-F238E27FC236}">
                        <a16:creationId xmlns:a16="http://schemas.microsoft.com/office/drawing/2014/main" id="{3D4664CC-19CD-5321-4104-2ECFEBB6C3F2}"/>
                      </a:ext>
                    </a:extLst>
                  </p:cNvPr>
                  <p:cNvSpPr>
                    <a:spLocks noChangeArrowheads="1"/>
                  </p:cNvSpPr>
                  <p:nvPr/>
                </p:nvSpPr>
                <p:spPr bwMode="auto">
                  <a:xfrm>
                    <a:off x="3257" y="997"/>
                    <a:ext cx="68" cy="68"/>
                  </a:xfrm>
                  <a:prstGeom prst="ellipse">
                    <a:avLst/>
                  </a:prstGeom>
                  <a:solidFill>
                    <a:schemeClr val="bg2"/>
                  </a:solidFill>
                  <a:ln w="12700">
                    <a:solidFill>
                      <a:schemeClr val="tx1"/>
                    </a:solidFill>
                    <a:round/>
                    <a:headEnd/>
                    <a:tailEnd/>
                  </a:ln>
                </p:spPr>
                <p:txBody>
                  <a:bodyPr wrap="none" anchor="ctr"/>
                  <a:lstStyle/>
                  <a:p>
                    <a:endParaRPr lang="de-DE"/>
                  </a:p>
                </p:txBody>
              </p:sp>
              <p:sp>
                <p:nvSpPr>
                  <p:cNvPr id="108" name="Oval 53">
                    <a:extLst>
                      <a:ext uri="{FF2B5EF4-FFF2-40B4-BE49-F238E27FC236}">
                        <a16:creationId xmlns:a16="http://schemas.microsoft.com/office/drawing/2014/main" id="{72B5059E-9C8B-8B85-25FA-897AC3974FA1}"/>
                      </a:ext>
                    </a:extLst>
                  </p:cNvPr>
                  <p:cNvSpPr>
                    <a:spLocks noChangeArrowheads="1"/>
                  </p:cNvSpPr>
                  <p:nvPr/>
                </p:nvSpPr>
                <p:spPr bwMode="auto">
                  <a:xfrm>
                    <a:off x="3257" y="1552"/>
                    <a:ext cx="68" cy="68"/>
                  </a:xfrm>
                  <a:prstGeom prst="ellipse">
                    <a:avLst/>
                  </a:prstGeom>
                  <a:solidFill>
                    <a:schemeClr val="bg2"/>
                  </a:solidFill>
                  <a:ln w="12700">
                    <a:solidFill>
                      <a:schemeClr val="tx1"/>
                    </a:solidFill>
                    <a:round/>
                    <a:headEnd/>
                    <a:tailEnd/>
                  </a:ln>
                </p:spPr>
                <p:txBody>
                  <a:bodyPr wrap="none" anchor="ctr"/>
                  <a:lstStyle/>
                  <a:p>
                    <a:endParaRPr lang="de-DE"/>
                  </a:p>
                </p:txBody>
              </p:sp>
              <p:sp>
                <p:nvSpPr>
                  <p:cNvPr id="109" name="Oval 54">
                    <a:extLst>
                      <a:ext uri="{FF2B5EF4-FFF2-40B4-BE49-F238E27FC236}">
                        <a16:creationId xmlns:a16="http://schemas.microsoft.com/office/drawing/2014/main" id="{A15E9E1D-1EBD-174E-5987-77C6D123AF4F}"/>
                      </a:ext>
                    </a:extLst>
                  </p:cNvPr>
                  <p:cNvSpPr>
                    <a:spLocks noChangeArrowheads="1"/>
                  </p:cNvSpPr>
                  <p:nvPr/>
                </p:nvSpPr>
                <p:spPr bwMode="auto">
                  <a:xfrm>
                    <a:off x="4473" y="997"/>
                    <a:ext cx="68" cy="68"/>
                  </a:xfrm>
                  <a:prstGeom prst="ellipse">
                    <a:avLst/>
                  </a:prstGeom>
                  <a:solidFill>
                    <a:schemeClr val="bg2"/>
                  </a:solidFill>
                  <a:ln w="12700">
                    <a:solidFill>
                      <a:schemeClr val="tx1"/>
                    </a:solidFill>
                    <a:round/>
                    <a:headEnd/>
                    <a:tailEnd/>
                  </a:ln>
                </p:spPr>
                <p:txBody>
                  <a:bodyPr wrap="none" anchor="ctr"/>
                  <a:lstStyle/>
                  <a:p>
                    <a:endParaRPr lang="de-DE"/>
                  </a:p>
                </p:txBody>
              </p:sp>
              <p:sp>
                <p:nvSpPr>
                  <p:cNvPr id="110" name="Oval 55">
                    <a:extLst>
                      <a:ext uri="{FF2B5EF4-FFF2-40B4-BE49-F238E27FC236}">
                        <a16:creationId xmlns:a16="http://schemas.microsoft.com/office/drawing/2014/main" id="{6B2EC2A9-0A67-C392-1AE7-CF83FF6D40FC}"/>
                      </a:ext>
                    </a:extLst>
                  </p:cNvPr>
                  <p:cNvSpPr>
                    <a:spLocks noChangeArrowheads="1"/>
                  </p:cNvSpPr>
                  <p:nvPr/>
                </p:nvSpPr>
                <p:spPr bwMode="auto">
                  <a:xfrm>
                    <a:off x="4473" y="1552"/>
                    <a:ext cx="68" cy="68"/>
                  </a:xfrm>
                  <a:prstGeom prst="ellipse">
                    <a:avLst/>
                  </a:prstGeom>
                  <a:solidFill>
                    <a:schemeClr val="bg2"/>
                  </a:solidFill>
                  <a:ln w="12700">
                    <a:solidFill>
                      <a:schemeClr val="tx1"/>
                    </a:solidFill>
                    <a:round/>
                    <a:headEnd/>
                    <a:tailEnd/>
                  </a:ln>
                </p:spPr>
                <p:txBody>
                  <a:bodyPr wrap="none" anchor="ctr"/>
                  <a:lstStyle/>
                  <a:p>
                    <a:endParaRPr lang="de-DE"/>
                  </a:p>
                </p:txBody>
              </p:sp>
              <p:sp>
                <p:nvSpPr>
                  <p:cNvPr id="111" name="Oval 56">
                    <a:extLst>
                      <a:ext uri="{FF2B5EF4-FFF2-40B4-BE49-F238E27FC236}">
                        <a16:creationId xmlns:a16="http://schemas.microsoft.com/office/drawing/2014/main" id="{DAE2ABA1-1637-1C73-0C5E-3B701F4C9303}"/>
                      </a:ext>
                    </a:extLst>
                  </p:cNvPr>
                  <p:cNvSpPr>
                    <a:spLocks noChangeArrowheads="1"/>
                  </p:cNvSpPr>
                  <p:nvPr/>
                </p:nvSpPr>
                <p:spPr bwMode="auto">
                  <a:xfrm>
                    <a:off x="5300" y="997"/>
                    <a:ext cx="68" cy="68"/>
                  </a:xfrm>
                  <a:prstGeom prst="ellipse">
                    <a:avLst/>
                  </a:prstGeom>
                  <a:solidFill>
                    <a:schemeClr val="bg2"/>
                  </a:solidFill>
                  <a:ln w="12700">
                    <a:solidFill>
                      <a:schemeClr val="tx1"/>
                    </a:solidFill>
                    <a:round/>
                    <a:headEnd/>
                    <a:tailEnd/>
                  </a:ln>
                </p:spPr>
                <p:txBody>
                  <a:bodyPr wrap="none" anchor="ctr"/>
                  <a:lstStyle/>
                  <a:p>
                    <a:endParaRPr lang="de-DE"/>
                  </a:p>
                </p:txBody>
              </p:sp>
              <p:sp>
                <p:nvSpPr>
                  <p:cNvPr id="112" name="Oval 57">
                    <a:extLst>
                      <a:ext uri="{FF2B5EF4-FFF2-40B4-BE49-F238E27FC236}">
                        <a16:creationId xmlns:a16="http://schemas.microsoft.com/office/drawing/2014/main" id="{8EEC756A-2E39-320A-D5D4-A39C6F6F6108}"/>
                      </a:ext>
                    </a:extLst>
                  </p:cNvPr>
                  <p:cNvSpPr>
                    <a:spLocks noChangeArrowheads="1"/>
                  </p:cNvSpPr>
                  <p:nvPr/>
                </p:nvSpPr>
                <p:spPr bwMode="auto">
                  <a:xfrm>
                    <a:off x="5300" y="1552"/>
                    <a:ext cx="68" cy="68"/>
                  </a:xfrm>
                  <a:prstGeom prst="ellipse">
                    <a:avLst/>
                  </a:prstGeom>
                  <a:solidFill>
                    <a:schemeClr val="bg2"/>
                  </a:solidFill>
                  <a:ln w="12700">
                    <a:solidFill>
                      <a:schemeClr val="tx1"/>
                    </a:solidFill>
                    <a:round/>
                    <a:headEnd/>
                    <a:tailEnd/>
                  </a:ln>
                </p:spPr>
                <p:txBody>
                  <a:bodyPr wrap="none" anchor="ctr"/>
                  <a:lstStyle/>
                  <a:p>
                    <a:endParaRPr lang="de-DE"/>
                  </a:p>
                </p:txBody>
              </p:sp>
            </p:grpSp>
            <p:grpSp>
              <p:nvGrpSpPr>
                <p:cNvPr id="94" name="Group 58">
                  <a:extLst>
                    <a:ext uri="{FF2B5EF4-FFF2-40B4-BE49-F238E27FC236}">
                      <a16:creationId xmlns:a16="http://schemas.microsoft.com/office/drawing/2014/main" id="{0EFF02B7-20BF-656D-8201-C99010C83D2A}"/>
                    </a:ext>
                  </a:extLst>
                </p:cNvPr>
                <p:cNvGrpSpPr>
                  <a:grpSpLocks/>
                </p:cNvGrpSpPr>
                <p:nvPr/>
              </p:nvGrpSpPr>
              <p:grpSpPr bwMode="auto">
                <a:xfrm>
                  <a:off x="3044" y="3827"/>
                  <a:ext cx="164" cy="366"/>
                  <a:chOff x="3044" y="1427"/>
                  <a:chExt cx="164" cy="366"/>
                </a:xfrm>
              </p:grpSpPr>
              <p:sp>
                <p:nvSpPr>
                  <p:cNvPr id="99" name="Freeform 59">
                    <a:extLst>
                      <a:ext uri="{FF2B5EF4-FFF2-40B4-BE49-F238E27FC236}">
                        <a16:creationId xmlns:a16="http://schemas.microsoft.com/office/drawing/2014/main" id="{4D50B39B-2CF6-73CB-7C0B-EC19F34AB454}"/>
                      </a:ext>
                    </a:extLst>
                  </p:cNvPr>
                  <p:cNvSpPr>
                    <a:spLocks/>
                  </p:cNvSpPr>
                  <p:nvPr/>
                </p:nvSpPr>
                <p:spPr bwMode="auto">
                  <a:xfrm>
                    <a:off x="3044" y="1566"/>
                    <a:ext cx="164" cy="227"/>
                  </a:xfrm>
                  <a:custGeom>
                    <a:avLst/>
                    <a:gdLst>
                      <a:gd name="T0" fmla="*/ 0 w 182"/>
                      <a:gd name="T1" fmla="*/ 0 h 137"/>
                      <a:gd name="T2" fmla="*/ 0 w 182"/>
                      <a:gd name="T3" fmla="*/ 24 h 137"/>
                      <a:gd name="T4" fmla="*/ 29 w 182"/>
                      <a:gd name="T5" fmla="*/ 24 h 137"/>
                      <a:gd name="T6" fmla="*/ 29 w 182"/>
                      <a:gd name="T7" fmla="*/ 0 h 137"/>
                      <a:gd name="T8" fmla="*/ 0 w 182"/>
                      <a:gd name="T9" fmla="*/ 0 h 137"/>
                      <a:gd name="T10" fmla="*/ 0 60000 65536"/>
                      <a:gd name="T11" fmla="*/ 0 60000 65536"/>
                      <a:gd name="T12" fmla="*/ 0 60000 65536"/>
                      <a:gd name="T13" fmla="*/ 0 60000 65536"/>
                      <a:gd name="T14" fmla="*/ 0 60000 65536"/>
                      <a:gd name="T15" fmla="*/ 0 w 182"/>
                      <a:gd name="T16" fmla="*/ 0 h 137"/>
                      <a:gd name="T17" fmla="*/ 182 w 182"/>
                      <a:gd name="T18" fmla="*/ 137 h 137"/>
                    </a:gdLst>
                    <a:ahLst/>
                    <a:cxnLst>
                      <a:cxn ang="T10">
                        <a:pos x="T0" y="T1"/>
                      </a:cxn>
                      <a:cxn ang="T11">
                        <a:pos x="T2" y="T3"/>
                      </a:cxn>
                      <a:cxn ang="T12">
                        <a:pos x="T4" y="T5"/>
                      </a:cxn>
                      <a:cxn ang="T13">
                        <a:pos x="T6" y="T7"/>
                      </a:cxn>
                      <a:cxn ang="T14">
                        <a:pos x="T8" y="T9"/>
                      </a:cxn>
                    </a:cxnLst>
                    <a:rect l="T15" t="T16" r="T17" b="T18"/>
                    <a:pathLst>
                      <a:path w="182" h="137">
                        <a:moveTo>
                          <a:pt x="0" y="0"/>
                        </a:moveTo>
                        <a:lnTo>
                          <a:pt x="0" y="136"/>
                        </a:lnTo>
                        <a:lnTo>
                          <a:pt x="181" y="136"/>
                        </a:lnTo>
                        <a:lnTo>
                          <a:pt x="181" y="0"/>
                        </a:lnTo>
                        <a:lnTo>
                          <a:pt x="0" y="0"/>
                        </a:lnTo>
                      </a:path>
                    </a:pathLst>
                  </a:custGeom>
                  <a:solidFill>
                    <a:srgbClr val="000000"/>
                  </a:solidFill>
                  <a:ln w="12700" cap="rnd">
                    <a:solidFill>
                      <a:srgbClr val="000000"/>
                    </a:solidFill>
                    <a:round/>
                    <a:headEnd/>
                    <a:tailEnd/>
                  </a:ln>
                </p:spPr>
                <p:txBody>
                  <a:bodyPr wrap="none" lIns="128703" tIns="63222" rIns="128703" bIns="63222">
                    <a:spAutoFit/>
                  </a:bodyPr>
                  <a:lstStyle/>
                  <a:p>
                    <a:endParaRPr lang="de-DE"/>
                  </a:p>
                </p:txBody>
              </p:sp>
              <p:sp>
                <p:nvSpPr>
                  <p:cNvPr id="100" name="Freeform 60">
                    <a:extLst>
                      <a:ext uri="{FF2B5EF4-FFF2-40B4-BE49-F238E27FC236}">
                        <a16:creationId xmlns:a16="http://schemas.microsoft.com/office/drawing/2014/main" id="{F3F4AE20-CFA9-235B-D634-CF1246E3C33B}"/>
                      </a:ext>
                    </a:extLst>
                  </p:cNvPr>
                  <p:cNvSpPr>
                    <a:spLocks/>
                  </p:cNvSpPr>
                  <p:nvPr/>
                </p:nvSpPr>
                <p:spPr bwMode="auto">
                  <a:xfrm>
                    <a:off x="3093" y="1658"/>
                    <a:ext cx="68" cy="132"/>
                  </a:xfrm>
                  <a:custGeom>
                    <a:avLst/>
                    <a:gdLst>
                      <a:gd name="T0" fmla="*/ 0 w 60"/>
                      <a:gd name="T1" fmla="*/ 0 h 84"/>
                      <a:gd name="T2" fmla="*/ 0 w 60"/>
                      <a:gd name="T3" fmla="*/ 14 h 84"/>
                      <a:gd name="T4" fmla="*/ 10 w 60"/>
                      <a:gd name="T5" fmla="*/ 14 h 84"/>
                      <a:gd name="T6" fmla="*/ 10 w 60"/>
                      <a:gd name="T7" fmla="*/ 0 h 84"/>
                      <a:gd name="T8" fmla="*/ 0 w 60"/>
                      <a:gd name="T9" fmla="*/ 0 h 84"/>
                      <a:gd name="T10" fmla="*/ 0 60000 65536"/>
                      <a:gd name="T11" fmla="*/ 0 60000 65536"/>
                      <a:gd name="T12" fmla="*/ 0 60000 65536"/>
                      <a:gd name="T13" fmla="*/ 0 60000 65536"/>
                      <a:gd name="T14" fmla="*/ 0 60000 65536"/>
                      <a:gd name="T15" fmla="*/ 0 w 60"/>
                      <a:gd name="T16" fmla="*/ 0 h 84"/>
                      <a:gd name="T17" fmla="*/ 60 w 60"/>
                      <a:gd name="T18" fmla="*/ 84 h 84"/>
                    </a:gdLst>
                    <a:ahLst/>
                    <a:cxnLst>
                      <a:cxn ang="T10">
                        <a:pos x="T0" y="T1"/>
                      </a:cxn>
                      <a:cxn ang="T11">
                        <a:pos x="T2" y="T3"/>
                      </a:cxn>
                      <a:cxn ang="T12">
                        <a:pos x="T4" y="T5"/>
                      </a:cxn>
                      <a:cxn ang="T13">
                        <a:pos x="T6" y="T7"/>
                      </a:cxn>
                      <a:cxn ang="T14">
                        <a:pos x="T8" y="T9"/>
                      </a:cxn>
                    </a:cxnLst>
                    <a:rect l="T15" t="T16" r="T17" b="T18"/>
                    <a:pathLst>
                      <a:path w="60" h="84">
                        <a:moveTo>
                          <a:pt x="0" y="0"/>
                        </a:moveTo>
                        <a:lnTo>
                          <a:pt x="0" y="83"/>
                        </a:lnTo>
                        <a:lnTo>
                          <a:pt x="59" y="83"/>
                        </a:lnTo>
                        <a:lnTo>
                          <a:pt x="59" y="0"/>
                        </a:lnTo>
                        <a:lnTo>
                          <a:pt x="0" y="0"/>
                        </a:lnTo>
                      </a:path>
                    </a:pathLst>
                  </a:custGeom>
                  <a:solidFill>
                    <a:srgbClr val="FFFFFF"/>
                  </a:solidFill>
                  <a:ln w="12700" cap="rnd">
                    <a:solidFill>
                      <a:srgbClr val="000000"/>
                    </a:solidFill>
                    <a:round/>
                    <a:headEnd/>
                    <a:tailEnd/>
                  </a:ln>
                </p:spPr>
                <p:txBody>
                  <a:bodyPr wrap="none" lIns="128703" tIns="63222" rIns="128703" bIns="63222">
                    <a:spAutoFit/>
                  </a:bodyPr>
                  <a:lstStyle/>
                  <a:p>
                    <a:endParaRPr lang="de-DE"/>
                  </a:p>
                </p:txBody>
              </p:sp>
              <p:sp>
                <p:nvSpPr>
                  <p:cNvPr id="101" name="Freeform 61">
                    <a:extLst>
                      <a:ext uri="{FF2B5EF4-FFF2-40B4-BE49-F238E27FC236}">
                        <a16:creationId xmlns:a16="http://schemas.microsoft.com/office/drawing/2014/main" id="{88DF18A6-7406-C48D-B1EF-DD3B531CF31D}"/>
                      </a:ext>
                    </a:extLst>
                  </p:cNvPr>
                  <p:cNvSpPr>
                    <a:spLocks/>
                  </p:cNvSpPr>
                  <p:nvPr/>
                </p:nvSpPr>
                <p:spPr bwMode="auto">
                  <a:xfrm>
                    <a:off x="3045" y="1427"/>
                    <a:ext cx="163" cy="136"/>
                  </a:xfrm>
                  <a:custGeom>
                    <a:avLst/>
                    <a:gdLst>
                      <a:gd name="T0" fmla="*/ 0 w 262"/>
                      <a:gd name="T1" fmla="*/ 12 h 105"/>
                      <a:gd name="T2" fmla="*/ 16 w 262"/>
                      <a:gd name="T3" fmla="*/ 0 h 105"/>
                      <a:gd name="T4" fmla="*/ 31 w 262"/>
                      <a:gd name="T5" fmla="*/ 12 h 105"/>
                      <a:gd name="T6" fmla="*/ 0 w 262"/>
                      <a:gd name="T7" fmla="*/ 12 h 105"/>
                      <a:gd name="T8" fmla="*/ 0 60000 65536"/>
                      <a:gd name="T9" fmla="*/ 0 60000 65536"/>
                      <a:gd name="T10" fmla="*/ 0 60000 65536"/>
                      <a:gd name="T11" fmla="*/ 0 60000 65536"/>
                      <a:gd name="T12" fmla="*/ 0 w 262"/>
                      <a:gd name="T13" fmla="*/ 0 h 105"/>
                      <a:gd name="T14" fmla="*/ 262 w 262"/>
                      <a:gd name="T15" fmla="*/ 105 h 105"/>
                    </a:gdLst>
                    <a:ahLst/>
                    <a:cxnLst>
                      <a:cxn ang="T8">
                        <a:pos x="T0" y="T1"/>
                      </a:cxn>
                      <a:cxn ang="T9">
                        <a:pos x="T2" y="T3"/>
                      </a:cxn>
                      <a:cxn ang="T10">
                        <a:pos x="T4" y="T5"/>
                      </a:cxn>
                      <a:cxn ang="T11">
                        <a:pos x="T6" y="T7"/>
                      </a:cxn>
                    </a:cxnLst>
                    <a:rect l="T12" t="T13" r="T14" b="T15"/>
                    <a:pathLst>
                      <a:path w="262" h="105">
                        <a:moveTo>
                          <a:pt x="0" y="104"/>
                        </a:moveTo>
                        <a:lnTo>
                          <a:pt x="135" y="0"/>
                        </a:lnTo>
                        <a:lnTo>
                          <a:pt x="261" y="104"/>
                        </a:lnTo>
                        <a:lnTo>
                          <a:pt x="0" y="104"/>
                        </a:lnTo>
                      </a:path>
                    </a:pathLst>
                  </a:custGeom>
                  <a:solidFill>
                    <a:srgbClr val="000000"/>
                  </a:solidFill>
                  <a:ln w="12700" cap="rnd">
                    <a:solidFill>
                      <a:srgbClr val="000000"/>
                    </a:solidFill>
                    <a:round/>
                    <a:headEnd/>
                    <a:tailEnd/>
                  </a:ln>
                </p:spPr>
                <p:txBody>
                  <a:bodyPr lIns="128703" tIns="63222" rIns="128703" bIns="63222">
                    <a:spAutoFit/>
                  </a:bodyPr>
                  <a:lstStyle/>
                  <a:p>
                    <a:endParaRPr lang="de-DE"/>
                  </a:p>
                </p:txBody>
              </p:sp>
            </p:grpSp>
            <p:grpSp>
              <p:nvGrpSpPr>
                <p:cNvPr id="95" name="Group 62">
                  <a:extLst>
                    <a:ext uri="{FF2B5EF4-FFF2-40B4-BE49-F238E27FC236}">
                      <a16:creationId xmlns:a16="http://schemas.microsoft.com/office/drawing/2014/main" id="{DBBC9715-B266-09D5-4F05-C8B799A5F902}"/>
                    </a:ext>
                  </a:extLst>
                </p:cNvPr>
                <p:cNvGrpSpPr>
                  <a:grpSpLocks/>
                </p:cNvGrpSpPr>
                <p:nvPr/>
              </p:nvGrpSpPr>
              <p:grpSpPr bwMode="auto">
                <a:xfrm>
                  <a:off x="5413" y="3251"/>
                  <a:ext cx="164" cy="366"/>
                  <a:chOff x="3044" y="1427"/>
                  <a:chExt cx="164" cy="366"/>
                </a:xfrm>
              </p:grpSpPr>
              <p:sp>
                <p:nvSpPr>
                  <p:cNvPr id="96" name="Freeform 63">
                    <a:extLst>
                      <a:ext uri="{FF2B5EF4-FFF2-40B4-BE49-F238E27FC236}">
                        <a16:creationId xmlns:a16="http://schemas.microsoft.com/office/drawing/2014/main" id="{FA2F1F32-E384-EFF8-9352-4D41216D2752}"/>
                      </a:ext>
                    </a:extLst>
                  </p:cNvPr>
                  <p:cNvSpPr>
                    <a:spLocks/>
                  </p:cNvSpPr>
                  <p:nvPr/>
                </p:nvSpPr>
                <p:spPr bwMode="auto">
                  <a:xfrm>
                    <a:off x="3044" y="1566"/>
                    <a:ext cx="164" cy="227"/>
                  </a:xfrm>
                  <a:custGeom>
                    <a:avLst/>
                    <a:gdLst>
                      <a:gd name="T0" fmla="*/ 0 w 182"/>
                      <a:gd name="T1" fmla="*/ 0 h 137"/>
                      <a:gd name="T2" fmla="*/ 0 w 182"/>
                      <a:gd name="T3" fmla="*/ 24 h 137"/>
                      <a:gd name="T4" fmla="*/ 29 w 182"/>
                      <a:gd name="T5" fmla="*/ 24 h 137"/>
                      <a:gd name="T6" fmla="*/ 29 w 182"/>
                      <a:gd name="T7" fmla="*/ 0 h 137"/>
                      <a:gd name="T8" fmla="*/ 0 w 182"/>
                      <a:gd name="T9" fmla="*/ 0 h 137"/>
                      <a:gd name="T10" fmla="*/ 0 60000 65536"/>
                      <a:gd name="T11" fmla="*/ 0 60000 65536"/>
                      <a:gd name="T12" fmla="*/ 0 60000 65536"/>
                      <a:gd name="T13" fmla="*/ 0 60000 65536"/>
                      <a:gd name="T14" fmla="*/ 0 60000 65536"/>
                      <a:gd name="T15" fmla="*/ 0 w 182"/>
                      <a:gd name="T16" fmla="*/ 0 h 137"/>
                      <a:gd name="T17" fmla="*/ 182 w 182"/>
                      <a:gd name="T18" fmla="*/ 137 h 137"/>
                    </a:gdLst>
                    <a:ahLst/>
                    <a:cxnLst>
                      <a:cxn ang="T10">
                        <a:pos x="T0" y="T1"/>
                      </a:cxn>
                      <a:cxn ang="T11">
                        <a:pos x="T2" y="T3"/>
                      </a:cxn>
                      <a:cxn ang="T12">
                        <a:pos x="T4" y="T5"/>
                      </a:cxn>
                      <a:cxn ang="T13">
                        <a:pos x="T6" y="T7"/>
                      </a:cxn>
                      <a:cxn ang="T14">
                        <a:pos x="T8" y="T9"/>
                      </a:cxn>
                    </a:cxnLst>
                    <a:rect l="T15" t="T16" r="T17" b="T18"/>
                    <a:pathLst>
                      <a:path w="182" h="137">
                        <a:moveTo>
                          <a:pt x="0" y="0"/>
                        </a:moveTo>
                        <a:lnTo>
                          <a:pt x="0" y="136"/>
                        </a:lnTo>
                        <a:lnTo>
                          <a:pt x="181" y="136"/>
                        </a:lnTo>
                        <a:lnTo>
                          <a:pt x="181" y="0"/>
                        </a:lnTo>
                        <a:lnTo>
                          <a:pt x="0" y="0"/>
                        </a:lnTo>
                      </a:path>
                    </a:pathLst>
                  </a:custGeom>
                  <a:solidFill>
                    <a:srgbClr val="000000"/>
                  </a:solidFill>
                  <a:ln w="12700" cap="rnd">
                    <a:solidFill>
                      <a:srgbClr val="000000"/>
                    </a:solidFill>
                    <a:round/>
                    <a:headEnd/>
                    <a:tailEnd/>
                  </a:ln>
                </p:spPr>
                <p:txBody>
                  <a:bodyPr wrap="none" lIns="128703" tIns="63222" rIns="128703" bIns="63222">
                    <a:spAutoFit/>
                  </a:bodyPr>
                  <a:lstStyle/>
                  <a:p>
                    <a:endParaRPr lang="de-DE"/>
                  </a:p>
                </p:txBody>
              </p:sp>
              <p:sp>
                <p:nvSpPr>
                  <p:cNvPr id="97" name="Freeform 64">
                    <a:extLst>
                      <a:ext uri="{FF2B5EF4-FFF2-40B4-BE49-F238E27FC236}">
                        <a16:creationId xmlns:a16="http://schemas.microsoft.com/office/drawing/2014/main" id="{F004C0E5-DBCC-692D-4ADE-26CCE8E41469}"/>
                      </a:ext>
                    </a:extLst>
                  </p:cNvPr>
                  <p:cNvSpPr>
                    <a:spLocks/>
                  </p:cNvSpPr>
                  <p:nvPr/>
                </p:nvSpPr>
                <p:spPr bwMode="auto">
                  <a:xfrm>
                    <a:off x="3093" y="1658"/>
                    <a:ext cx="68" cy="132"/>
                  </a:xfrm>
                  <a:custGeom>
                    <a:avLst/>
                    <a:gdLst>
                      <a:gd name="T0" fmla="*/ 0 w 60"/>
                      <a:gd name="T1" fmla="*/ 0 h 84"/>
                      <a:gd name="T2" fmla="*/ 0 w 60"/>
                      <a:gd name="T3" fmla="*/ 14 h 84"/>
                      <a:gd name="T4" fmla="*/ 10 w 60"/>
                      <a:gd name="T5" fmla="*/ 14 h 84"/>
                      <a:gd name="T6" fmla="*/ 10 w 60"/>
                      <a:gd name="T7" fmla="*/ 0 h 84"/>
                      <a:gd name="T8" fmla="*/ 0 w 60"/>
                      <a:gd name="T9" fmla="*/ 0 h 84"/>
                      <a:gd name="T10" fmla="*/ 0 60000 65536"/>
                      <a:gd name="T11" fmla="*/ 0 60000 65536"/>
                      <a:gd name="T12" fmla="*/ 0 60000 65536"/>
                      <a:gd name="T13" fmla="*/ 0 60000 65536"/>
                      <a:gd name="T14" fmla="*/ 0 60000 65536"/>
                      <a:gd name="T15" fmla="*/ 0 w 60"/>
                      <a:gd name="T16" fmla="*/ 0 h 84"/>
                      <a:gd name="T17" fmla="*/ 60 w 60"/>
                      <a:gd name="T18" fmla="*/ 84 h 84"/>
                    </a:gdLst>
                    <a:ahLst/>
                    <a:cxnLst>
                      <a:cxn ang="T10">
                        <a:pos x="T0" y="T1"/>
                      </a:cxn>
                      <a:cxn ang="T11">
                        <a:pos x="T2" y="T3"/>
                      </a:cxn>
                      <a:cxn ang="T12">
                        <a:pos x="T4" y="T5"/>
                      </a:cxn>
                      <a:cxn ang="T13">
                        <a:pos x="T6" y="T7"/>
                      </a:cxn>
                      <a:cxn ang="T14">
                        <a:pos x="T8" y="T9"/>
                      </a:cxn>
                    </a:cxnLst>
                    <a:rect l="T15" t="T16" r="T17" b="T18"/>
                    <a:pathLst>
                      <a:path w="60" h="84">
                        <a:moveTo>
                          <a:pt x="0" y="0"/>
                        </a:moveTo>
                        <a:lnTo>
                          <a:pt x="0" y="83"/>
                        </a:lnTo>
                        <a:lnTo>
                          <a:pt x="59" y="83"/>
                        </a:lnTo>
                        <a:lnTo>
                          <a:pt x="59" y="0"/>
                        </a:lnTo>
                        <a:lnTo>
                          <a:pt x="0" y="0"/>
                        </a:lnTo>
                      </a:path>
                    </a:pathLst>
                  </a:custGeom>
                  <a:solidFill>
                    <a:srgbClr val="FFFFFF"/>
                  </a:solidFill>
                  <a:ln w="12700" cap="rnd">
                    <a:solidFill>
                      <a:srgbClr val="000000"/>
                    </a:solidFill>
                    <a:round/>
                    <a:headEnd/>
                    <a:tailEnd/>
                  </a:ln>
                </p:spPr>
                <p:txBody>
                  <a:bodyPr wrap="none" lIns="128703" tIns="63222" rIns="128703" bIns="63222">
                    <a:spAutoFit/>
                  </a:bodyPr>
                  <a:lstStyle/>
                  <a:p>
                    <a:endParaRPr lang="de-DE"/>
                  </a:p>
                </p:txBody>
              </p:sp>
              <p:sp>
                <p:nvSpPr>
                  <p:cNvPr id="98" name="Freeform 65">
                    <a:extLst>
                      <a:ext uri="{FF2B5EF4-FFF2-40B4-BE49-F238E27FC236}">
                        <a16:creationId xmlns:a16="http://schemas.microsoft.com/office/drawing/2014/main" id="{BE21BBD9-D169-72B0-47F8-8FC61F3E4A22}"/>
                      </a:ext>
                    </a:extLst>
                  </p:cNvPr>
                  <p:cNvSpPr>
                    <a:spLocks/>
                  </p:cNvSpPr>
                  <p:nvPr/>
                </p:nvSpPr>
                <p:spPr bwMode="auto">
                  <a:xfrm>
                    <a:off x="3045" y="1427"/>
                    <a:ext cx="163" cy="136"/>
                  </a:xfrm>
                  <a:custGeom>
                    <a:avLst/>
                    <a:gdLst>
                      <a:gd name="T0" fmla="*/ 0 w 262"/>
                      <a:gd name="T1" fmla="*/ 12 h 105"/>
                      <a:gd name="T2" fmla="*/ 16 w 262"/>
                      <a:gd name="T3" fmla="*/ 0 h 105"/>
                      <a:gd name="T4" fmla="*/ 31 w 262"/>
                      <a:gd name="T5" fmla="*/ 12 h 105"/>
                      <a:gd name="T6" fmla="*/ 0 w 262"/>
                      <a:gd name="T7" fmla="*/ 12 h 105"/>
                      <a:gd name="T8" fmla="*/ 0 60000 65536"/>
                      <a:gd name="T9" fmla="*/ 0 60000 65536"/>
                      <a:gd name="T10" fmla="*/ 0 60000 65536"/>
                      <a:gd name="T11" fmla="*/ 0 60000 65536"/>
                      <a:gd name="T12" fmla="*/ 0 w 262"/>
                      <a:gd name="T13" fmla="*/ 0 h 105"/>
                      <a:gd name="T14" fmla="*/ 262 w 262"/>
                      <a:gd name="T15" fmla="*/ 105 h 105"/>
                    </a:gdLst>
                    <a:ahLst/>
                    <a:cxnLst>
                      <a:cxn ang="T8">
                        <a:pos x="T0" y="T1"/>
                      </a:cxn>
                      <a:cxn ang="T9">
                        <a:pos x="T2" y="T3"/>
                      </a:cxn>
                      <a:cxn ang="T10">
                        <a:pos x="T4" y="T5"/>
                      </a:cxn>
                      <a:cxn ang="T11">
                        <a:pos x="T6" y="T7"/>
                      </a:cxn>
                    </a:cxnLst>
                    <a:rect l="T12" t="T13" r="T14" b="T15"/>
                    <a:pathLst>
                      <a:path w="262" h="105">
                        <a:moveTo>
                          <a:pt x="0" y="104"/>
                        </a:moveTo>
                        <a:lnTo>
                          <a:pt x="135" y="0"/>
                        </a:lnTo>
                        <a:lnTo>
                          <a:pt x="261" y="104"/>
                        </a:lnTo>
                        <a:lnTo>
                          <a:pt x="0" y="104"/>
                        </a:lnTo>
                      </a:path>
                    </a:pathLst>
                  </a:custGeom>
                  <a:solidFill>
                    <a:srgbClr val="000000"/>
                  </a:solidFill>
                  <a:ln w="12700" cap="rnd">
                    <a:solidFill>
                      <a:srgbClr val="000000"/>
                    </a:solidFill>
                    <a:round/>
                    <a:headEnd/>
                    <a:tailEnd/>
                  </a:ln>
                </p:spPr>
                <p:txBody>
                  <a:bodyPr lIns="128703" tIns="63222" rIns="128703" bIns="63222">
                    <a:spAutoFit/>
                  </a:bodyPr>
                  <a:lstStyle/>
                  <a:p>
                    <a:endParaRPr lang="de-DE"/>
                  </a:p>
                </p:txBody>
              </p:sp>
            </p:grpSp>
          </p:grpSp>
        </p:grpSp>
        <p:sp>
          <p:nvSpPr>
            <p:cNvPr id="113" name="AutoShape 66">
              <a:extLst>
                <a:ext uri="{FF2B5EF4-FFF2-40B4-BE49-F238E27FC236}">
                  <a16:creationId xmlns:a16="http://schemas.microsoft.com/office/drawing/2014/main" id="{02EFF9D5-4733-B740-2415-5CA68575116B}"/>
                </a:ext>
              </a:extLst>
            </p:cNvPr>
            <p:cNvSpPr>
              <a:spLocks noChangeArrowheads="1"/>
            </p:cNvSpPr>
            <p:nvPr/>
          </p:nvSpPr>
          <p:spPr bwMode="auto">
            <a:xfrm rot="-5400000">
              <a:off x="6506369" y="5606869"/>
              <a:ext cx="457200" cy="185738"/>
            </a:xfrm>
            <a:prstGeom prst="homePlate">
              <a:avLst>
                <a:gd name="adj" fmla="val 61538"/>
              </a:avLst>
            </a:prstGeom>
            <a:solidFill>
              <a:srgbClr val="FF0000"/>
            </a:solidFill>
            <a:ln w="12700">
              <a:solidFill>
                <a:schemeClr val="tx1"/>
              </a:solidFill>
              <a:miter lim="800000"/>
              <a:headEnd/>
              <a:tailEnd/>
            </a:ln>
          </p:spPr>
          <p:txBody>
            <a:bodyPr wrap="none" anchor="ctr"/>
            <a:lstStyle/>
            <a:p>
              <a:endParaRPr lang="de-DE"/>
            </a:p>
          </p:txBody>
        </p:sp>
        <p:sp>
          <p:nvSpPr>
            <p:cNvPr id="114" name="AutoShape 67">
              <a:extLst>
                <a:ext uri="{FF2B5EF4-FFF2-40B4-BE49-F238E27FC236}">
                  <a16:creationId xmlns:a16="http://schemas.microsoft.com/office/drawing/2014/main" id="{77E7B54A-DB76-0815-03ED-7E2A901407A3}"/>
                </a:ext>
              </a:extLst>
            </p:cNvPr>
            <p:cNvSpPr>
              <a:spLocks noChangeArrowheads="1"/>
            </p:cNvSpPr>
            <p:nvPr/>
          </p:nvSpPr>
          <p:spPr bwMode="auto">
            <a:xfrm rot="-5400000">
              <a:off x="6506369" y="5416369"/>
              <a:ext cx="457200" cy="185738"/>
            </a:xfrm>
            <a:prstGeom prst="homePlate">
              <a:avLst>
                <a:gd name="adj" fmla="val 61538"/>
              </a:avLst>
            </a:prstGeom>
            <a:solidFill>
              <a:srgbClr val="FF0000"/>
            </a:solidFill>
            <a:ln w="12700">
              <a:solidFill>
                <a:schemeClr val="tx1"/>
              </a:solidFill>
              <a:miter lim="800000"/>
              <a:headEnd/>
              <a:tailEnd/>
            </a:ln>
          </p:spPr>
          <p:txBody>
            <a:bodyPr wrap="none" anchor="ctr"/>
            <a:lstStyle/>
            <a:p>
              <a:endParaRPr lang="de-DE"/>
            </a:p>
          </p:txBody>
        </p:sp>
        <p:sp>
          <p:nvSpPr>
            <p:cNvPr id="115" name="AutoShape 68">
              <a:extLst>
                <a:ext uri="{FF2B5EF4-FFF2-40B4-BE49-F238E27FC236}">
                  <a16:creationId xmlns:a16="http://schemas.microsoft.com/office/drawing/2014/main" id="{62F998F2-E775-4A5E-5738-BD46B4DC1BA6}"/>
                </a:ext>
              </a:extLst>
            </p:cNvPr>
            <p:cNvSpPr>
              <a:spLocks noChangeArrowheads="1"/>
            </p:cNvSpPr>
            <p:nvPr/>
          </p:nvSpPr>
          <p:spPr bwMode="auto">
            <a:xfrm rot="-5400000">
              <a:off x="6506369" y="5225869"/>
              <a:ext cx="457200" cy="185738"/>
            </a:xfrm>
            <a:prstGeom prst="homePlate">
              <a:avLst>
                <a:gd name="adj" fmla="val 61538"/>
              </a:avLst>
            </a:prstGeom>
            <a:solidFill>
              <a:srgbClr val="FF0000"/>
            </a:solidFill>
            <a:ln w="12700">
              <a:solidFill>
                <a:schemeClr val="tx1"/>
              </a:solidFill>
              <a:miter lim="800000"/>
              <a:headEnd/>
              <a:tailEnd/>
            </a:ln>
          </p:spPr>
          <p:txBody>
            <a:bodyPr wrap="none" anchor="ctr"/>
            <a:lstStyle/>
            <a:p>
              <a:endParaRPr lang="de-DE"/>
            </a:p>
          </p:txBody>
        </p:sp>
        <p:sp>
          <p:nvSpPr>
            <p:cNvPr id="116" name="AutoShape 69">
              <a:extLst>
                <a:ext uri="{FF2B5EF4-FFF2-40B4-BE49-F238E27FC236}">
                  <a16:creationId xmlns:a16="http://schemas.microsoft.com/office/drawing/2014/main" id="{965E8A3E-A6A1-9E62-19A3-F25A93A494CB}"/>
                </a:ext>
              </a:extLst>
            </p:cNvPr>
            <p:cNvSpPr>
              <a:spLocks noChangeArrowheads="1"/>
            </p:cNvSpPr>
            <p:nvPr/>
          </p:nvSpPr>
          <p:spPr bwMode="auto">
            <a:xfrm rot="-5400000">
              <a:off x="6506369" y="5022669"/>
              <a:ext cx="457200" cy="185738"/>
            </a:xfrm>
            <a:prstGeom prst="homePlate">
              <a:avLst>
                <a:gd name="adj" fmla="val 61538"/>
              </a:avLst>
            </a:prstGeom>
            <a:solidFill>
              <a:srgbClr val="FF0000"/>
            </a:solidFill>
            <a:ln w="12700">
              <a:solidFill>
                <a:schemeClr val="tx1"/>
              </a:solidFill>
              <a:miter lim="800000"/>
              <a:headEnd/>
              <a:tailEnd/>
            </a:ln>
          </p:spPr>
          <p:txBody>
            <a:bodyPr wrap="none" anchor="ctr"/>
            <a:lstStyle/>
            <a:p>
              <a:endParaRPr lang="de-DE"/>
            </a:p>
          </p:txBody>
        </p:sp>
        <p:sp>
          <p:nvSpPr>
            <p:cNvPr id="117" name="AutoShape 70">
              <a:extLst>
                <a:ext uri="{FF2B5EF4-FFF2-40B4-BE49-F238E27FC236}">
                  <a16:creationId xmlns:a16="http://schemas.microsoft.com/office/drawing/2014/main" id="{9AC80073-52E8-759F-09F0-B74ABFC556BC}"/>
                </a:ext>
              </a:extLst>
            </p:cNvPr>
            <p:cNvSpPr>
              <a:spLocks noChangeArrowheads="1"/>
            </p:cNvSpPr>
            <p:nvPr/>
          </p:nvSpPr>
          <p:spPr bwMode="auto">
            <a:xfrm>
              <a:off x="6659563" y="4907575"/>
              <a:ext cx="457200" cy="185738"/>
            </a:xfrm>
            <a:prstGeom prst="homePlate">
              <a:avLst>
                <a:gd name="adj" fmla="val 61538"/>
              </a:avLst>
            </a:prstGeom>
            <a:solidFill>
              <a:srgbClr val="FF0000"/>
            </a:solidFill>
            <a:ln w="12700">
              <a:solidFill>
                <a:schemeClr val="tx1"/>
              </a:solidFill>
              <a:miter lim="800000"/>
              <a:headEnd/>
              <a:tailEnd/>
            </a:ln>
          </p:spPr>
          <p:txBody>
            <a:bodyPr wrap="none" anchor="ctr"/>
            <a:lstStyle/>
            <a:p>
              <a:endParaRPr lang="de-DE"/>
            </a:p>
          </p:txBody>
        </p:sp>
        <p:sp>
          <p:nvSpPr>
            <p:cNvPr id="118" name="AutoShape 71">
              <a:extLst>
                <a:ext uri="{FF2B5EF4-FFF2-40B4-BE49-F238E27FC236}">
                  <a16:creationId xmlns:a16="http://schemas.microsoft.com/office/drawing/2014/main" id="{FBE3E6B3-ED0E-FF15-CB52-E59671D90AE2}"/>
                </a:ext>
              </a:extLst>
            </p:cNvPr>
            <p:cNvSpPr>
              <a:spLocks noChangeArrowheads="1"/>
            </p:cNvSpPr>
            <p:nvPr/>
          </p:nvSpPr>
          <p:spPr bwMode="auto">
            <a:xfrm>
              <a:off x="6850063" y="4907575"/>
              <a:ext cx="457200" cy="185738"/>
            </a:xfrm>
            <a:prstGeom prst="homePlate">
              <a:avLst>
                <a:gd name="adj" fmla="val 61538"/>
              </a:avLst>
            </a:prstGeom>
            <a:solidFill>
              <a:srgbClr val="FF0000"/>
            </a:solidFill>
            <a:ln w="12700">
              <a:solidFill>
                <a:schemeClr val="tx1"/>
              </a:solidFill>
              <a:miter lim="800000"/>
              <a:headEnd/>
              <a:tailEnd/>
            </a:ln>
          </p:spPr>
          <p:txBody>
            <a:bodyPr wrap="none" anchor="ctr"/>
            <a:lstStyle/>
            <a:p>
              <a:endParaRPr lang="de-DE"/>
            </a:p>
          </p:txBody>
        </p:sp>
        <p:sp>
          <p:nvSpPr>
            <p:cNvPr id="119" name="AutoShape 72">
              <a:extLst>
                <a:ext uri="{FF2B5EF4-FFF2-40B4-BE49-F238E27FC236}">
                  <a16:creationId xmlns:a16="http://schemas.microsoft.com/office/drawing/2014/main" id="{A21A5557-19ED-3DCA-86F3-959672620B35}"/>
                </a:ext>
              </a:extLst>
            </p:cNvPr>
            <p:cNvSpPr>
              <a:spLocks noChangeArrowheads="1"/>
            </p:cNvSpPr>
            <p:nvPr/>
          </p:nvSpPr>
          <p:spPr bwMode="auto">
            <a:xfrm>
              <a:off x="7065963" y="4907575"/>
              <a:ext cx="457200" cy="185738"/>
            </a:xfrm>
            <a:prstGeom prst="homePlate">
              <a:avLst>
                <a:gd name="adj" fmla="val 61538"/>
              </a:avLst>
            </a:prstGeom>
            <a:solidFill>
              <a:srgbClr val="FF0000"/>
            </a:solidFill>
            <a:ln w="12700">
              <a:solidFill>
                <a:schemeClr val="tx1"/>
              </a:solidFill>
              <a:miter lim="800000"/>
              <a:headEnd/>
              <a:tailEnd/>
            </a:ln>
          </p:spPr>
          <p:txBody>
            <a:bodyPr wrap="none" anchor="ctr"/>
            <a:lstStyle/>
            <a:p>
              <a:endParaRPr lang="de-DE"/>
            </a:p>
          </p:txBody>
        </p:sp>
        <p:sp>
          <p:nvSpPr>
            <p:cNvPr id="120" name="AutoShape 73">
              <a:extLst>
                <a:ext uri="{FF2B5EF4-FFF2-40B4-BE49-F238E27FC236}">
                  <a16:creationId xmlns:a16="http://schemas.microsoft.com/office/drawing/2014/main" id="{EE6DA47E-D117-A347-7B31-840A4A70DB83}"/>
                </a:ext>
              </a:extLst>
            </p:cNvPr>
            <p:cNvSpPr>
              <a:spLocks noChangeArrowheads="1"/>
            </p:cNvSpPr>
            <p:nvPr/>
          </p:nvSpPr>
          <p:spPr bwMode="auto">
            <a:xfrm>
              <a:off x="7307263" y="4907575"/>
              <a:ext cx="457200" cy="185738"/>
            </a:xfrm>
            <a:prstGeom prst="homePlate">
              <a:avLst>
                <a:gd name="adj" fmla="val 61538"/>
              </a:avLst>
            </a:prstGeom>
            <a:solidFill>
              <a:srgbClr val="FF0000"/>
            </a:solidFill>
            <a:ln w="12700">
              <a:solidFill>
                <a:schemeClr val="tx1"/>
              </a:solidFill>
              <a:miter lim="800000"/>
              <a:headEnd/>
              <a:tailEnd/>
            </a:ln>
          </p:spPr>
          <p:txBody>
            <a:bodyPr wrap="none" anchor="ctr"/>
            <a:lstStyle/>
            <a:p>
              <a:endParaRPr lang="de-DE"/>
            </a:p>
          </p:txBody>
        </p:sp>
        <p:sp>
          <p:nvSpPr>
            <p:cNvPr id="121" name="AutoShape 74">
              <a:extLst>
                <a:ext uri="{FF2B5EF4-FFF2-40B4-BE49-F238E27FC236}">
                  <a16:creationId xmlns:a16="http://schemas.microsoft.com/office/drawing/2014/main" id="{C8B150F5-1327-9F55-6147-C121192F7104}"/>
                </a:ext>
              </a:extLst>
            </p:cNvPr>
            <p:cNvSpPr>
              <a:spLocks noChangeArrowheads="1"/>
            </p:cNvSpPr>
            <p:nvPr/>
          </p:nvSpPr>
          <p:spPr bwMode="auto">
            <a:xfrm>
              <a:off x="7548563" y="4907575"/>
              <a:ext cx="457200" cy="185738"/>
            </a:xfrm>
            <a:prstGeom prst="homePlate">
              <a:avLst>
                <a:gd name="adj" fmla="val 61538"/>
              </a:avLst>
            </a:prstGeom>
            <a:solidFill>
              <a:srgbClr val="FF0000"/>
            </a:solidFill>
            <a:ln w="12700">
              <a:solidFill>
                <a:schemeClr val="tx1"/>
              </a:solidFill>
              <a:miter lim="800000"/>
              <a:headEnd/>
              <a:tailEnd/>
            </a:ln>
          </p:spPr>
          <p:txBody>
            <a:bodyPr wrap="none" anchor="ctr"/>
            <a:lstStyle/>
            <a:p>
              <a:endParaRPr lang="de-DE"/>
            </a:p>
          </p:txBody>
        </p:sp>
        <p:sp>
          <p:nvSpPr>
            <p:cNvPr id="122" name="AutoShape 75">
              <a:extLst>
                <a:ext uri="{FF2B5EF4-FFF2-40B4-BE49-F238E27FC236}">
                  <a16:creationId xmlns:a16="http://schemas.microsoft.com/office/drawing/2014/main" id="{531DD636-D4A6-7A3A-A0EF-457B0AB12C2F}"/>
                </a:ext>
              </a:extLst>
            </p:cNvPr>
            <p:cNvSpPr>
              <a:spLocks noChangeArrowheads="1"/>
            </p:cNvSpPr>
            <p:nvPr/>
          </p:nvSpPr>
          <p:spPr bwMode="auto">
            <a:xfrm>
              <a:off x="7802563" y="4907575"/>
              <a:ext cx="457200" cy="185738"/>
            </a:xfrm>
            <a:prstGeom prst="homePlate">
              <a:avLst>
                <a:gd name="adj" fmla="val 61538"/>
              </a:avLst>
            </a:prstGeom>
            <a:solidFill>
              <a:srgbClr val="FF0000"/>
            </a:solidFill>
            <a:ln w="12700">
              <a:solidFill>
                <a:schemeClr val="tx1"/>
              </a:solidFill>
              <a:miter lim="800000"/>
              <a:headEnd/>
              <a:tailEnd/>
            </a:ln>
          </p:spPr>
          <p:txBody>
            <a:bodyPr wrap="none" anchor="ctr"/>
            <a:lstStyle/>
            <a:p>
              <a:endParaRPr lang="de-DE"/>
            </a:p>
          </p:txBody>
        </p:sp>
        <p:sp>
          <p:nvSpPr>
            <p:cNvPr id="123" name="AutoShape 76">
              <a:extLst>
                <a:ext uri="{FF2B5EF4-FFF2-40B4-BE49-F238E27FC236}">
                  <a16:creationId xmlns:a16="http://schemas.microsoft.com/office/drawing/2014/main" id="{18BBEA03-652D-375E-F960-813F0A321C2E}"/>
                </a:ext>
              </a:extLst>
            </p:cNvPr>
            <p:cNvSpPr>
              <a:spLocks noChangeArrowheads="1"/>
            </p:cNvSpPr>
            <p:nvPr/>
          </p:nvSpPr>
          <p:spPr bwMode="auto">
            <a:xfrm>
              <a:off x="8043863" y="4907575"/>
              <a:ext cx="457200" cy="185738"/>
            </a:xfrm>
            <a:prstGeom prst="homePlate">
              <a:avLst>
                <a:gd name="adj" fmla="val 61538"/>
              </a:avLst>
            </a:prstGeom>
            <a:solidFill>
              <a:srgbClr val="FF0000"/>
            </a:solidFill>
            <a:ln w="12700">
              <a:solidFill>
                <a:schemeClr val="tx1"/>
              </a:solidFill>
              <a:miter lim="800000"/>
              <a:headEnd/>
              <a:tailEnd/>
            </a:ln>
          </p:spPr>
          <p:txBody>
            <a:bodyPr wrap="none" anchor="ctr"/>
            <a:lstStyle/>
            <a:p>
              <a:endParaRPr lang="de-DE"/>
            </a:p>
          </p:txBody>
        </p:sp>
        <p:sp>
          <p:nvSpPr>
            <p:cNvPr id="124" name="AutoShape 77">
              <a:extLst>
                <a:ext uri="{FF2B5EF4-FFF2-40B4-BE49-F238E27FC236}">
                  <a16:creationId xmlns:a16="http://schemas.microsoft.com/office/drawing/2014/main" id="{62C7541C-9421-4E71-AE52-6BDCDFF07B4D}"/>
                </a:ext>
              </a:extLst>
            </p:cNvPr>
            <p:cNvSpPr>
              <a:spLocks noChangeArrowheads="1"/>
            </p:cNvSpPr>
            <p:nvPr/>
          </p:nvSpPr>
          <p:spPr bwMode="auto">
            <a:xfrm>
              <a:off x="8285163" y="4907575"/>
              <a:ext cx="457200" cy="185738"/>
            </a:xfrm>
            <a:prstGeom prst="homePlate">
              <a:avLst>
                <a:gd name="adj" fmla="val 61538"/>
              </a:avLst>
            </a:prstGeom>
            <a:solidFill>
              <a:srgbClr val="FF0000"/>
            </a:solidFill>
            <a:ln w="12700">
              <a:solidFill>
                <a:schemeClr val="tx1"/>
              </a:solidFill>
              <a:miter lim="800000"/>
              <a:headEnd/>
              <a:tailEnd/>
            </a:ln>
          </p:spPr>
          <p:txBody>
            <a:bodyPr wrap="none" anchor="ctr"/>
            <a:lstStyle/>
            <a:p>
              <a:endParaRPr lang="de-DE"/>
            </a:p>
          </p:txBody>
        </p:sp>
        <p:sp>
          <p:nvSpPr>
            <p:cNvPr id="125" name="AutoShape 78">
              <a:extLst>
                <a:ext uri="{FF2B5EF4-FFF2-40B4-BE49-F238E27FC236}">
                  <a16:creationId xmlns:a16="http://schemas.microsoft.com/office/drawing/2014/main" id="{AFF287E1-036A-5753-69F0-38EA0AC9D0AF}"/>
                </a:ext>
              </a:extLst>
            </p:cNvPr>
            <p:cNvSpPr>
              <a:spLocks noChangeArrowheads="1"/>
            </p:cNvSpPr>
            <p:nvPr/>
          </p:nvSpPr>
          <p:spPr bwMode="auto">
            <a:xfrm>
              <a:off x="8526463" y="4907575"/>
              <a:ext cx="457200" cy="185738"/>
            </a:xfrm>
            <a:prstGeom prst="homePlate">
              <a:avLst>
                <a:gd name="adj" fmla="val 61538"/>
              </a:avLst>
            </a:prstGeom>
            <a:solidFill>
              <a:srgbClr val="FF0000"/>
            </a:solidFill>
            <a:ln w="12700">
              <a:solidFill>
                <a:schemeClr val="tx1"/>
              </a:solidFill>
              <a:miter lim="800000"/>
              <a:headEnd/>
              <a:tailEnd/>
            </a:ln>
          </p:spPr>
          <p:txBody>
            <a:bodyPr wrap="none" anchor="ctr"/>
            <a:lstStyle/>
            <a:p>
              <a:endParaRPr lang="de-DE"/>
            </a:p>
          </p:txBody>
        </p:sp>
        <p:sp>
          <p:nvSpPr>
            <p:cNvPr id="126" name="AutoShape 79">
              <a:extLst>
                <a:ext uri="{FF2B5EF4-FFF2-40B4-BE49-F238E27FC236}">
                  <a16:creationId xmlns:a16="http://schemas.microsoft.com/office/drawing/2014/main" id="{A43491BF-A495-774C-5F43-77EBEB31B88D}"/>
                </a:ext>
              </a:extLst>
            </p:cNvPr>
            <p:cNvSpPr>
              <a:spLocks noChangeArrowheads="1"/>
            </p:cNvSpPr>
            <p:nvPr/>
          </p:nvSpPr>
          <p:spPr bwMode="auto">
            <a:xfrm>
              <a:off x="8767763" y="4907575"/>
              <a:ext cx="457200" cy="185738"/>
            </a:xfrm>
            <a:prstGeom prst="homePlate">
              <a:avLst>
                <a:gd name="adj" fmla="val 61538"/>
              </a:avLst>
            </a:prstGeom>
            <a:solidFill>
              <a:srgbClr val="FF0000"/>
            </a:solidFill>
            <a:ln w="12700">
              <a:solidFill>
                <a:schemeClr val="tx1"/>
              </a:solidFill>
              <a:miter lim="800000"/>
              <a:headEnd/>
              <a:tailEnd/>
            </a:ln>
          </p:spPr>
          <p:txBody>
            <a:bodyPr wrap="none" anchor="ctr"/>
            <a:lstStyle/>
            <a:p>
              <a:endParaRPr lang="de-DE"/>
            </a:p>
          </p:txBody>
        </p:sp>
        <p:sp>
          <p:nvSpPr>
            <p:cNvPr id="127" name="AutoShape 80">
              <a:extLst>
                <a:ext uri="{FF2B5EF4-FFF2-40B4-BE49-F238E27FC236}">
                  <a16:creationId xmlns:a16="http://schemas.microsoft.com/office/drawing/2014/main" id="{9CA5D87C-94AB-663B-AB11-1A6AB191FC8F}"/>
                </a:ext>
              </a:extLst>
            </p:cNvPr>
            <p:cNvSpPr>
              <a:spLocks noChangeArrowheads="1"/>
            </p:cNvSpPr>
            <p:nvPr/>
          </p:nvSpPr>
          <p:spPr bwMode="auto">
            <a:xfrm>
              <a:off x="9021763" y="4907575"/>
              <a:ext cx="457200" cy="185738"/>
            </a:xfrm>
            <a:prstGeom prst="homePlate">
              <a:avLst>
                <a:gd name="adj" fmla="val 61538"/>
              </a:avLst>
            </a:prstGeom>
            <a:solidFill>
              <a:srgbClr val="FF0000"/>
            </a:solidFill>
            <a:ln w="12700">
              <a:solidFill>
                <a:schemeClr val="tx1"/>
              </a:solidFill>
              <a:miter lim="800000"/>
              <a:headEnd/>
              <a:tailEnd/>
            </a:ln>
          </p:spPr>
          <p:txBody>
            <a:bodyPr wrap="none" anchor="ctr"/>
            <a:lstStyle/>
            <a:p>
              <a:endParaRPr lang="de-DE"/>
            </a:p>
          </p:txBody>
        </p:sp>
        <p:sp>
          <p:nvSpPr>
            <p:cNvPr id="128" name="AutoShape 81">
              <a:extLst>
                <a:ext uri="{FF2B5EF4-FFF2-40B4-BE49-F238E27FC236}">
                  <a16:creationId xmlns:a16="http://schemas.microsoft.com/office/drawing/2014/main" id="{97FE31D5-1A5F-C148-B14F-85628772CFFD}"/>
                </a:ext>
              </a:extLst>
            </p:cNvPr>
            <p:cNvSpPr>
              <a:spLocks noChangeArrowheads="1"/>
            </p:cNvSpPr>
            <p:nvPr/>
          </p:nvSpPr>
          <p:spPr bwMode="auto">
            <a:xfrm>
              <a:off x="9263063" y="4907575"/>
              <a:ext cx="457200" cy="185738"/>
            </a:xfrm>
            <a:prstGeom prst="homePlate">
              <a:avLst>
                <a:gd name="adj" fmla="val 61538"/>
              </a:avLst>
            </a:prstGeom>
            <a:solidFill>
              <a:srgbClr val="FF0000"/>
            </a:solidFill>
            <a:ln w="12700">
              <a:solidFill>
                <a:schemeClr val="tx1"/>
              </a:solidFill>
              <a:miter lim="800000"/>
              <a:headEnd/>
              <a:tailEnd/>
            </a:ln>
          </p:spPr>
          <p:txBody>
            <a:bodyPr wrap="none" anchor="ctr"/>
            <a:lstStyle/>
            <a:p>
              <a:endParaRPr lang="de-DE"/>
            </a:p>
          </p:txBody>
        </p:sp>
        <p:sp>
          <p:nvSpPr>
            <p:cNvPr id="129" name="AutoShape 82">
              <a:extLst>
                <a:ext uri="{FF2B5EF4-FFF2-40B4-BE49-F238E27FC236}">
                  <a16:creationId xmlns:a16="http://schemas.microsoft.com/office/drawing/2014/main" id="{308AE164-31A7-21BC-E451-1E76596BA541}"/>
                </a:ext>
              </a:extLst>
            </p:cNvPr>
            <p:cNvSpPr>
              <a:spLocks noChangeArrowheads="1"/>
            </p:cNvSpPr>
            <p:nvPr/>
          </p:nvSpPr>
          <p:spPr bwMode="auto">
            <a:xfrm>
              <a:off x="9478963" y="4907575"/>
              <a:ext cx="457200" cy="185738"/>
            </a:xfrm>
            <a:prstGeom prst="homePlate">
              <a:avLst>
                <a:gd name="adj" fmla="val 61538"/>
              </a:avLst>
            </a:prstGeom>
            <a:solidFill>
              <a:srgbClr val="FF0000"/>
            </a:solidFill>
            <a:ln w="12700">
              <a:solidFill>
                <a:schemeClr val="tx1"/>
              </a:solidFill>
              <a:miter lim="800000"/>
              <a:headEnd/>
              <a:tailEnd/>
            </a:ln>
          </p:spPr>
          <p:txBody>
            <a:bodyPr wrap="none" anchor="ctr"/>
            <a:lstStyle/>
            <a:p>
              <a:endParaRPr lang="de-DE"/>
            </a:p>
          </p:txBody>
        </p:sp>
        <p:sp>
          <p:nvSpPr>
            <p:cNvPr id="130" name="AutoShape 83">
              <a:extLst>
                <a:ext uri="{FF2B5EF4-FFF2-40B4-BE49-F238E27FC236}">
                  <a16:creationId xmlns:a16="http://schemas.microsoft.com/office/drawing/2014/main" id="{B8750912-2902-F460-D2B6-3D0B195C6FC4}"/>
                </a:ext>
              </a:extLst>
            </p:cNvPr>
            <p:cNvSpPr>
              <a:spLocks noChangeArrowheads="1"/>
            </p:cNvSpPr>
            <p:nvPr/>
          </p:nvSpPr>
          <p:spPr bwMode="auto">
            <a:xfrm>
              <a:off x="9669463" y="4907575"/>
              <a:ext cx="457200" cy="185738"/>
            </a:xfrm>
            <a:prstGeom prst="homePlate">
              <a:avLst>
                <a:gd name="adj" fmla="val 61538"/>
              </a:avLst>
            </a:prstGeom>
            <a:solidFill>
              <a:srgbClr val="FF0000"/>
            </a:solidFill>
            <a:ln w="12700">
              <a:solidFill>
                <a:schemeClr val="tx1"/>
              </a:solidFill>
              <a:miter lim="800000"/>
              <a:headEnd/>
              <a:tailEnd/>
            </a:ln>
          </p:spPr>
          <p:txBody>
            <a:bodyPr wrap="none" anchor="ctr"/>
            <a:lstStyle/>
            <a:p>
              <a:endParaRPr lang="de-DE"/>
            </a:p>
          </p:txBody>
        </p:sp>
      </p:grpSp>
      <p:sp>
        <p:nvSpPr>
          <p:cNvPr id="133" name="TextBox 132">
            <a:extLst>
              <a:ext uri="{FF2B5EF4-FFF2-40B4-BE49-F238E27FC236}">
                <a16:creationId xmlns:a16="http://schemas.microsoft.com/office/drawing/2014/main" id="{3C4203CA-38A2-AC0E-14FB-DDEB73733723}"/>
              </a:ext>
            </a:extLst>
          </p:cNvPr>
          <p:cNvSpPr txBox="1"/>
          <p:nvPr/>
        </p:nvSpPr>
        <p:spPr>
          <a:xfrm>
            <a:off x="3520" y="954277"/>
            <a:ext cx="6097508" cy="584775"/>
          </a:xfrm>
          <a:prstGeom prst="rect">
            <a:avLst/>
          </a:prstGeom>
          <a:noFill/>
        </p:spPr>
        <p:txBody>
          <a:bodyPr wrap="square">
            <a:spAutoFit/>
          </a:bodyPr>
          <a:lstStyle/>
          <a:p>
            <a:pPr>
              <a:defRPr sz="3200" b="1"/>
            </a:pPr>
            <a:r>
              <a:t>Trafik akışının simülasyonu</a:t>
            </a:r>
            <a:endParaRPr lang="en-US" sz="3200" b="1" dirty="0"/>
          </a:p>
        </p:txBody>
      </p:sp>
    </p:spTree>
    <p:extLst>
      <p:ext uri="{BB962C8B-B14F-4D97-AF65-F5344CB8AC3E}">
        <p14:creationId xmlns:p14="http://schemas.microsoft.com/office/powerpoint/2010/main" val="223283982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ekstniOkvir 3">
            <a:extLst>
              <a:ext uri="{FF2B5EF4-FFF2-40B4-BE49-F238E27FC236}">
                <a16:creationId xmlns:a16="http://schemas.microsoft.com/office/drawing/2014/main" id="{4C81B2C8-17AD-674D-6975-5C5998BA0F3E}"/>
              </a:ext>
            </a:extLst>
          </p:cNvPr>
          <p:cNvSpPr txBox="1"/>
          <p:nvPr/>
        </p:nvSpPr>
        <p:spPr>
          <a:xfrm>
            <a:off x="-568552" y="815799"/>
            <a:ext cx="6483483" cy="1200329"/>
          </a:xfrm>
          <a:prstGeom prst="rect">
            <a:avLst/>
          </a:prstGeom>
          <a:noFill/>
        </p:spPr>
        <p:txBody>
          <a:bodyPr wrap="square">
            <a:spAutoFit/>
          </a:bodyPr>
          <a:lstStyle/>
          <a:p>
            <a:pPr algn="ctr">
              <a:defRPr sz="3600"/>
            </a:pPr>
            <a:r>
              <a:t>Haritalama ve Coğrafi Bilgi Sistemleri (CBS)</a:t>
            </a:r>
            <a:endParaRPr lang="hr-HR" sz="3600" b="1" dirty="0">
              <a:ea typeface="MS Mincho" panose="02020609040205080304" pitchFamily="49" charset="-128"/>
              <a:cs typeface="Calibri" panose="020F0502020204030204" pitchFamily="34" charset="0"/>
            </a:endParaRPr>
          </a:p>
        </p:txBody>
      </p:sp>
      <p:sp>
        <p:nvSpPr>
          <p:cNvPr id="4" name="TextBox 3">
            <a:extLst>
              <a:ext uri="{FF2B5EF4-FFF2-40B4-BE49-F238E27FC236}">
                <a16:creationId xmlns:a16="http://schemas.microsoft.com/office/drawing/2014/main" id="{3E30B945-F981-FC57-E6B3-EDD0C3ADB142}"/>
              </a:ext>
            </a:extLst>
          </p:cNvPr>
          <p:cNvSpPr txBox="1"/>
          <p:nvPr/>
        </p:nvSpPr>
        <p:spPr>
          <a:xfrm>
            <a:off x="177899" y="1981493"/>
            <a:ext cx="6738949" cy="4278094"/>
          </a:xfrm>
          <a:prstGeom prst="rect">
            <a:avLst/>
          </a:prstGeom>
          <a:noFill/>
        </p:spPr>
        <p:txBody>
          <a:bodyPr wrap="square">
            <a:spAutoFit/>
          </a:bodyPr>
          <a:lstStyle/>
          <a:p>
            <a:pPr algn="just">
              <a:defRPr sz="1600"/>
            </a:pPr>
            <a:r>
              <a:t>Haritalama ve Coğrafi Bilgi Sistemleri (CBS), Ankara ulaşım planlamacıları için kentin ulaşım ağını, ilgi noktalarını ve bölgelerini gösteren haritalar oluşturmak için kritik araçlardır. QGIS ve Google Earth, ulaşım planlamasına yardımcı olan haritalar oluşturmak için yaygın olarak kullanılan programlardır.</a:t>
            </a:r>
          </a:p>
          <a:p>
            <a:pPr algn="just">
              <a:defRPr sz="1600"/>
            </a:pPr>
            <a:r>
              <a:t>Ankara'da haritalama ve CBS araçlarını kullanmanın temel hususları şunlardır:</a:t>
            </a:r>
            <a:endParaRPr lang="hr-HR" sz="1600" dirty="0"/>
          </a:p>
          <a:p>
            <a:pPr algn="just"/>
            <a:endParaRPr lang="hr-HR" sz="1600" dirty="0"/>
          </a:p>
          <a:p>
            <a:pPr marL="285750" indent="-285750" algn="just">
              <a:buFont typeface="Arial" panose="020B0604020202020204" pitchFamily="34" charset="0"/>
              <a:buChar char="•"/>
              <a:defRPr sz="1600"/>
            </a:pPr>
            <a:r>
              <a:t>Veri girdileri: Haritaları oluşturmak için kullanılan verilerin doğru ve güncel olmasının sağlanması</a:t>
            </a:r>
            <a:endParaRPr lang="hr-HR" sz="1600" dirty="0"/>
          </a:p>
          <a:p>
            <a:pPr marL="285750" indent="-285750" algn="just">
              <a:buFont typeface="Arial" panose="020B0604020202020204" pitchFamily="34" charset="0"/>
              <a:buChar char="•"/>
              <a:defRPr sz="1600"/>
            </a:pPr>
            <a:r>
              <a:t>Görselleştirme: Okunması ve anlaşılması kolay haritalar oluşturma</a:t>
            </a:r>
            <a:endParaRPr lang="hr-HR" sz="1600" dirty="0"/>
          </a:p>
          <a:p>
            <a:pPr marL="285750" indent="-285750" algn="just">
              <a:buFont typeface="Arial" panose="020B0604020202020204" pitchFamily="34" charset="0"/>
              <a:buChar char="•"/>
              <a:defRPr sz="1600"/>
            </a:pPr>
            <a:r>
              <a:t>Analiz: Mekansal analiz yapmak ve iyileştirme alanlarını belirlemek için CBS'yi kullanma</a:t>
            </a:r>
            <a:endParaRPr lang="hr-HR" sz="1600" dirty="0"/>
          </a:p>
          <a:p>
            <a:pPr marL="285750" indent="-285750" algn="just">
              <a:buFont typeface="Arial" panose="020B0604020202020204" pitchFamily="34" charset="0"/>
              <a:buChar char="•"/>
            </a:pPr>
            <a:endParaRPr lang="hr-HR" sz="1600" dirty="0"/>
          </a:p>
          <a:p>
            <a:pPr algn="just">
              <a:defRPr sz="1600"/>
            </a:pPr>
            <a:r>
              <a:t>Ulaşım planlamacıları haritalama ve CBS araçlarını kullanarak şehrin ulaşım ağı hakkında kapsamlı bir anlayış geliştirebilir, iyileştirilecek alanları belirleyebilir ve planlarını paydaşlara ve halka iletebilir.</a:t>
            </a:r>
          </a:p>
        </p:txBody>
      </p:sp>
      <p:pic>
        <p:nvPicPr>
          <p:cNvPr id="6" name="Picture 5" descr="A map of a city  Description automatically generated with medium confidence">
            <a:extLst>
              <a:ext uri="{FF2B5EF4-FFF2-40B4-BE49-F238E27FC236}">
                <a16:creationId xmlns:a16="http://schemas.microsoft.com/office/drawing/2014/main" id="{2CF66510-0C44-F175-F235-6AD069FE5993}"/>
              </a:ext>
            </a:extLst>
          </p:cNvPr>
          <p:cNvPicPr>
            <a:picLocks noChangeAspect="1"/>
          </p:cNvPicPr>
          <p:nvPr/>
        </p:nvPicPr>
        <p:blipFill>
          <a:blip r:embed="rId4"/>
          <a:stretch>
            <a:fillRect/>
          </a:stretch>
        </p:blipFill>
        <p:spPr>
          <a:xfrm>
            <a:off x="7046612" y="1981493"/>
            <a:ext cx="4849541" cy="3429000"/>
          </a:xfrm>
          <a:prstGeom prst="rect">
            <a:avLst/>
          </a:prstGeom>
          <a:effectLst>
            <a:softEdge rad="31750"/>
          </a:effectLst>
        </p:spPr>
      </p:pic>
    </p:spTree>
    <p:extLst>
      <p:ext uri="{BB962C8B-B14F-4D97-AF65-F5344CB8AC3E}">
        <p14:creationId xmlns:p14="http://schemas.microsoft.com/office/powerpoint/2010/main" val="363953196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ekstniOkvir 3">
            <a:extLst>
              <a:ext uri="{FF2B5EF4-FFF2-40B4-BE49-F238E27FC236}">
                <a16:creationId xmlns:a16="http://schemas.microsoft.com/office/drawing/2014/main" id="{45AE8867-82F8-D108-DF7F-67C8B5136BF4}"/>
              </a:ext>
            </a:extLst>
          </p:cNvPr>
          <p:cNvSpPr txBox="1"/>
          <p:nvPr/>
        </p:nvSpPr>
        <p:spPr>
          <a:xfrm>
            <a:off x="-143039" y="1145788"/>
            <a:ext cx="6483483" cy="1200329"/>
          </a:xfrm>
          <a:prstGeom prst="rect">
            <a:avLst/>
          </a:prstGeom>
          <a:noFill/>
        </p:spPr>
        <p:txBody>
          <a:bodyPr wrap="square">
            <a:spAutoFit/>
          </a:bodyPr>
          <a:lstStyle/>
          <a:p>
            <a:pPr algn="ctr">
              <a:defRPr sz="3600"/>
            </a:pPr>
            <a:r>
              <a:t>Maliyet - Fayda Analizi ve Özkaynak Değerlendirmesi</a:t>
            </a:r>
            <a:endParaRPr lang="hr-HR" sz="3600" b="1" dirty="0">
              <a:ea typeface="MS Mincho" panose="02020609040205080304" pitchFamily="49" charset="-128"/>
              <a:cs typeface="Calibri" panose="020F0502020204030204" pitchFamily="34" charset="0"/>
            </a:endParaRPr>
          </a:p>
        </p:txBody>
      </p:sp>
      <p:graphicFrame>
        <p:nvGraphicFramePr>
          <p:cNvPr id="9" name="Diagram 8">
            <a:extLst>
              <a:ext uri="{FF2B5EF4-FFF2-40B4-BE49-F238E27FC236}">
                <a16:creationId xmlns:a16="http://schemas.microsoft.com/office/drawing/2014/main" id="{DA578218-DE04-472B-2351-4FB15AE449CD}"/>
              </a:ext>
            </a:extLst>
          </p:cNvPr>
          <p:cNvGraphicFramePr/>
          <p:nvPr>
            <p:extLst>
              <p:ext uri="{D42A27DB-BD31-4B8C-83A1-F6EECF244321}">
                <p14:modId xmlns:p14="http://schemas.microsoft.com/office/powerpoint/2010/main" val="3674517124"/>
              </p:ext>
            </p:extLst>
          </p:nvPr>
        </p:nvGraphicFramePr>
        <p:xfrm>
          <a:off x="3253213" y="1608919"/>
          <a:ext cx="6174462" cy="501675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1" name="Picture 10" descr="A person sitting on a briefcase with a magnifying glass  Description automatically generated with medium confidence">
            <a:extLst>
              <a:ext uri="{FF2B5EF4-FFF2-40B4-BE49-F238E27FC236}">
                <a16:creationId xmlns:a16="http://schemas.microsoft.com/office/drawing/2014/main" id="{1D3F9C29-2E50-5AA9-C4E7-2CBC8A878CED}"/>
              </a:ext>
            </a:extLst>
          </p:cNvPr>
          <p:cNvPicPr>
            <a:picLocks noChangeAspect="1"/>
          </p:cNvPicPr>
          <p:nvPr/>
        </p:nvPicPr>
        <p:blipFill>
          <a:blip r:embed="rId9"/>
          <a:stretch>
            <a:fillRect/>
          </a:stretch>
        </p:blipFill>
        <p:spPr>
          <a:xfrm>
            <a:off x="9650862" y="1028093"/>
            <a:ext cx="2411144" cy="2192215"/>
          </a:xfrm>
          <a:prstGeom prst="rect">
            <a:avLst/>
          </a:prstGeom>
          <a:effectLst>
            <a:softEdge rad="63500"/>
          </a:effectLst>
        </p:spPr>
      </p:pic>
    </p:spTree>
    <p:extLst>
      <p:ext uri="{BB962C8B-B14F-4D97-AF65-F5344CB8AC3E}">
        <p14:creationId xmlns:p14="http://schemas.microsoft.com/office/powerpoint/2010/main" val="356289711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ABB9A-8381-E048-B51B-ADFD36312BC9}"/>
              </a:ext>
            </a:extLst>
          </p:cNvPr>
          <p:cNvSpPr>
            <a:spLocks noGrp="1"/>
          </p:cNvSpPr>
          <p:nvPr>
            <p:ph type="ctrTitle"/>
          </p:nvPr>
        </p:nvSpPr>
        <p:spPr>
          <a:xfrm>
            <a:off x="1524000" y="2487439"/>
            <a:ext cx="9144000" cy="1883121"/>
          </a:xfrm>
        </p:spPr>
        <p:txBody>
          <a:bodyPr>
            <a:normAutofit/>
          </a:bodyPr>
          <a:lstStyle/>
          <a:p>
            <a:pPr>
              <a:defRPr sz="6300" b="1"/>
            </a:pPr>
            <a:r>
              <a:t>Ulaşım Modları ve Seçimleri</a:t>
            </a:r>
            <a:endParaRPr lang="en-TR" sz="6300" b="1" dirty="0">
              <a:latin typeface="Myriad Pro" panose="020B0503030403020204" pitchFamily="34" charset="0"/>
            </a:endParaRPr>
          </a:p>
        </p:txBody>
      </p:sp>
    </p:spTree>
    <p:extLst>
      <p:ext uri="{BB962C8B-B14F-4D97-AF65-F5344CB8AC3E}">
        <p14:creationId xmlns:p14="http://schemas.microsoft.com/office/powerpoint/2010/main" val="362538411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TekstniOkvir 3">
            <a:extLst>
              <a:ext uri="{FF2B5EF4-FFF2-40B4-BE49-F238E27FC236}">
                <a16:creationId xmlns:a16="http://schemas.microsoft.com/office/drawing/2014/main" id="{CF5ED112-659E-11FA-5E1E-185D5C3E5BD8}"/>
              </a:ext>
            </a:extLst>
          </p:cNvPr>
          <p:cNvSpPr txBox="1"/>
          <p:nvPr/>
        </p:nvSpPr>
        <p:spPr>
          <a:xfrm>
            <a:off x="-99588" y="889996"/>
            <a:ext cx="5667470" cy="646331"/>
          </a:xfrm>
          <a:prstGeom prst="rect">
            <a:avLst/>
          </a:prstGeom>
          <a:noFill/>
        </p:spPr>
        <p:txBody>
          <a:bodyPr wrap="square">
            <a:spAutoFit/>
          </a:bodyPr>
          <a:lstStyle/>
          <a:p>
            <a:pPr algn="ctr">
              <a:defRPr sz="3600"/>
            </a:pPr>
            <a:r>
              <a:t>Toplu Taşıma Modları</a:t>
            </a:r>
            <a:endParaRPr lang="hr-HR" sz="3600" b="1" dirty="0">
              <a:ea typeface="MS Mincho" panose="02020609040205080304" pitchFamily="49" charset="-128"/>
              <a:cs typeface="Calibri" panose="020F0502020204030204" pitchFamily="34" charset="0"/>
            </a:endParaRPr>
          </a:p>
        </p:txBody>
      </p:sp>
      <p:sp>
        <p:nvSpPr>
          <p:cNvPr id="5" name="TextBox 4">
            <a:extLst>
              <a:ext uri="{FF2B5EF4-FFF2-40B4-BE49-F238E27FC236}">
                <a16:creationId xmlns:a16="http://schemas.microsoft.com/office/drawing/2014/main" id="{2835CA79-0D47-1D32-A2AF-3D25F607A047}"/>
              </a:ext>
            </a:extLst>
          </p:cNvPr>
          <p:cNvSpPr txBox="1"/>
          <p:nvPr/>
        </p:nvSpPr>
        <p:spPr>
          <a:xfrm>
            <a:off x="404389" y="1689910"/>
            <a:ext cx="7119039" cy="4278094"/>
          </a:xfrm>
          <a:prstGeom prst="rect">
            <a:avLst/>
          </a:prstGeom>
          <a:noFill/>
        </p:spPr>
        <p:txBody>
          <a:bodyPr wrap="square">
            <a:spAutoFit/>
          </a:bodyPr>
          <a:lstStyle/>
          <a:p>
            <a:pPr algn="just">
              <a:defRPr sz="1600"/>
            </a:pPr>
            <a:r>
              <a:t>Toplu taşıma modları, Ankara gibi şehirler için ulaşım planlamasının temel bileşenleridir. Bu modlar, şehir sakinleri için uygun fiyatlı ve rahat ulaşım seçenekleri sunmak, trafik sıkışıklığını azaltmak ve sürdürülebilir mobiliteyi teşvik etmek için tasarlanmıştır. Bu sunumda dikkate alınacak toplu taşıma modları otobüs, metro ve tramvay sistemlerini içermektedir.</a:t>
            </a:r>
          </a:p>
          <a:p>
            <a:pPr algn="just">
              <a:defRPr sz="1600"/>
            </a:pPr>
            <a:r>
              <a:t>Toplu taşıma modlarını seçmek ve tasarlamak için dikkate alınması gereken önemli hususlar şunlardır:</a:t>
            </a:r>
            <a:endParaRPr lang="hr-HR" sz="1600" dirty="0"/>
          </a:p>
          <a:p>
            <a:pPr algn="just"/>
            <a:endParaRPr lang="en-US" sz="1600" dirty="0"/>
          </a:p>
          <a:p>
            <a:pPr marL="285750" indent="-285750" algn="just">
              <a:buFont typeface="Arial" panose="020B0604020202020204" pitchFamily="34" charset="0"/>
              <a:buChar char="•"/>
              <a:defRPr sz="1600"/>
            </a:pPr>
            <a:r>
              <a:rPr b="1"/>
              <a:t>Hizmet sıklığı ve güvenilirliği: </a:t>
            </a:r>
            <a:r>
              <a:t>Yolcuları teşvik etmek için hizmetin sık ve güvenilir olmasını sağlamak</a:t>
            </a:r>
            <a:endParaRPr lang="hr-HR" sz="1600" dirty="0"/>
          </a:p>
          <a:p>
            <a:pPr marL="285750" indent="-285750" algn="just">
              <a:buFont typeface="Arial" panose="020B0604020202020204" pitchFamily="34" charset="0"/>
              <a:buChar char="•"/>
              <a:defRPr sz="1600"/>
            </a:pPr>
            <a:r>
              <a:rPr b="1"/>
              <a:t>Erişilebilirlik:</a:t>
            </a:r>
            <a:r>
              <a:t> Toplu taşımanın her yaştan ve yetenekten insan için erişilebilir olmasını sağlamak</a:t>
            </a:r>
            <a:endParaRPr lang="hr-HR" sz="1600" dirty="0"/>
          </a:p>
          <a:p>
            <a:pPr marL="285750" indent="-285750" algn="just">
              <a:buFont typeface="Arial" panose="020B0604020202020204" pitchFamily="34" charset="0"/>
              <a:buChar char="•"/>
              <a:defRPr sz="1600"/>
            </a:pPr>
            <a:r>
              <a:rPr b="1"/>
              <a:t>Diğer ulaşım modlarıyla entegrasyon: </a:t>
            </a:r>
            <a:r>
              <a:t>Kesintisiz ve hızlı bir seyahat deneyimi sağlamak için toplu taşımanın diğer ulaşım modlarıyla entegre olmasını sağlamak</a:t>
            </a:r>
            <a:endParaRPr lang="hr-HR" sz="1600" dirty="0"/>
          </a:p>
          <a:p>
            <a:pPr marL="285750" indent="-285750" algn="just">
              <a:buFont typeface="Arial" panose="020B0604020202020204" pitchFamily="34" charset="0"/>
              <a:buChar char="•"/>
            </a:pPr>
            <a:endParaRPr lang="en-US" sz="1600" dirty="0"/>
          </a:p>
          <a:p>
            <a:pPr algn="just">
              <a:defRPr sz="1600"/>
            </a:pPr>
            <a:r>
              <a:t>Toplu taşıma modlarının dikkatli seçilmesi ve tasarlanması ulaşım planlamacıları tüm şehir sakinleri için sürdürülebilir, verimli ve adil hareketliliği teşvik edebilir.</a:t>
            </a:r>
          </a:p>
        </p:txBody>
      </p:sp>
      <p:pic>
        <p:nvPicPr>
          <p:cNvPr id="8" name="Picture 7" descr="A picture containing cartoon, LEGO  Description automatically generated">
            <a:extLst>
              <a:ext uri="{FF2B5EF4-FFF2-40B4-BE49-F238E27FC236}">
                <a16:creationId xmlns:a16="http://schemas.microsoft.com/office/drawing/2014/main" id="{7943E746-0406-F0B6-4988-3EB6411AB492}"/>
              </a:ext>
            </a:extLst>
          </p:cNvPr>
          <p:cNvPicPr>
            <a:picLocks noChangeAspect="1"/>
          </p:cNvPicPr>
          <p:nvPr/>
        </p:nvPicPr>
        <p:blipFill>
          <a:blip r:embed="rId4"/>
          <a:stretch>
            <a:fillRect/>
          </a:stretch>
        </p:blipFill>
        <p:spPr>
          <a:xfrm>
            <a:off x="7957995" y="1104523"/>
            <a:ext cx="3829616" cy="3829616"/>
          </a:xfrm>
          <a:prstGeom prst="rect">
            <a:avLst/>
          </a:prstGeom>
        </p:spPr>
      </p:pic>
      <p:pic>
        <p:nvPicPr>
          <p:cNvPr id="10" name="Picture 9" descr="A picture containing cartoon, art, design, illustration  Description automatically generated">
            <a:extLst>
              <a:ext uri="{FF2B5EF4-FFF2-40B4-BE49-F238E27FC236}">
                <a16:creationId xmlns:a16="http://schemas.microsoft.com/office/drawing/2014/main" id="{AF7B3E69-EC12-74E4-1E89-F39E4BF2E600}"/>
              </a:ext>
            </a:extLst>
          </p:cNvPr>
          <p:cNvPicPr>
            <a:picLocks noChangeAspect="1"/>
          </p:cNvPicPr>
          <p:nvPr/>
        </p:nvPicPr>
        <p:blipFill>
          <a:blip r:embed="rId5"/>
          <a:stretch>
            <a:fillRect/>
          </a:stretch>
        </p:blipFill>
        <p:spPr>
          <a:xfrm>
            <a:off x="8139065" y="4719931"/>
            <a:ext cx="3163305" cy="1551333"/>
          </a:xfrm>
          <a:prstGeom prst="rect">
            <a:avLst/>
          </a:prstGeom>
          <a:effectLst>
            <a:softEdge rad="63500"/>
          </a:effectLst>
        </p:spPr>
      </p:pic>
    </p:spTree>
    <p:extLst>
      <p:ext uri="{BB962C8B-B14F-4D97-AF65-F5344CB8AC3E}">
        <p14:creationId xmlns:p14="http://schemas.microsoft.com/office/powerpoint/2010/main" val="89739170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TekstniOkvir 3">
            <a:extLst>
              <a:ext uri="{FF2B5EF4-FFF2-40B4-BE49-F238E27FC236}">
                <a16:creationId xmlns:a16="http://schemas.microsoft.com/office/drawing/2014/main" id="{CF5ED112-659E-11FA-5E1E-185D5C3E5BD8}"/>
              </a:ext>
            </a:extLst>
          </p:cNvPr>
          <p:cNvSpPr txBox="1"/>
          <p:nvPr/>
        </p:nvSpPr>
        <p:spPr>
          <a:xfrm>
            <a:off x="0" y="889996"/>
            <a:ext cx="5667470" cy="646331"/>
          </a:xfrm>
          <a:prstGeom prst="rect">
            <a:avLst/>
          </a:prstGeom>
          <a:noFill/>
        </p:spPr>
        <p:txBody>
          <a:bodyPr wrap="square">
            <a:spAutoFit/>
          </a:bodyPr>
          <a:lstStyle/>
          <a:p>
            <a:pPr algn="ctr">
              <a:defRPr sz="3600"/>
            </a:pPr>
            <a:r>
              <a:t>Özel Araçlar ve Bisikletler</a:t>
            </a:r>
            <a:endParaRPr lang="hr-HR" sz="3600" b="1" dirty="0">
              <a:ea typeface="MS Mincho" panose="02020609040205080304" pitchFamily="49" charset="-128"/>
              <a:cs typeface="Calibri" panose="020F0502020204030204" pitchFamily="34" charset="0"/>
            </a:endParaRPr>
          </a:p>
        </p:txBody>
      </p:sp>
      <p:sp>
        <p:nvSpPr>
          <p:cNvPr id="3" name="TextBox 2">
            <a:extLst>
              <a:ext uri="{FF2B5EF4-FFF2-40B4-BE49-F238E27FC236}">
                <a16:creationId xmlns:a16="http://schemas.microsoft.com/office/drawing/2014/main" id="{AA829437-4334-9426-6353-AF0F93FB945D}"/>
              </a:ext>
            </a:extLst>
          </p:cNvPr>
          <p:cNvSpPr txBox="1"/>
          <p:nvPr/>
        </p:nvSpPr>
        <p:spPr>
          <a:xfrm>
            <a:off x="5558828" y="1468441"/>
            <a:ext cx="6138248" cy="4770537"/>
          </a:xfrm>
          <a:prstGeom prst="rect">
            <a:avLst/>
          </a:prstGeom>
          <a:noFill/>
        </p:spPr>
        <p:txBody>
          <a:bodyPr wrap="square">
            <a:spAutoFit/>
          </a:bodyPr>
          <a:lstStyle/>
          <a:p>
            <a:pPr algn="just">
              <a:defRPr sz="1600"/>
            </a:pPr>
            <a:r>
              <a:t>Ankara'da özel araçlar arasında otomobiller ve motosikletler de bulunur ve bu araçlar yaygın bir şekilde kullanılmaktadır. Bisikletler özellikle kısa yolculuklar için bir ulaşım aracı olarak giderek daha popüler hale geliyor. Özel taşıt ve bisikletler daha fazla özgürlük ve rahatlık sağlarken aynı zamanda trafik sıkışıklığına katkıda bulunur ve olumsuz çevresel etkilere yol açabilir.</a:t>
            </a:r>
            <a:endParaRPr lang="hr-HR" sz="1600" dirty="0"/>
          </a:p>
          <a:p>
            <a:pPr algn="just"/>
            <a:endParaRPr lang="en-US" sz="1600" dirty="0"/>
          </a:p>
          <a:p>
            <a:pPr algn="just">
              <a:defRPr sz="1600"/>
            </a:pPr>
            <a:r>
              <a:t>Ankara'da özel taşıt bisikletleri tanıtmak için önemli hususlar şunlardır:</a:t>
            </a:r>
          </a:p>
          <a:p>
            <a:pPr marL="285750" indent="-285750" algn="just">
              <a:buFont typeface="Arial" panose="020B0604020202020204" pitchFamily="34" charset="0"/>
              <a:buChar char="•"/>
              <a:defRPr sz="1600"/>
            </a:pPr>
            <a:r>
              <a:t>Otopark yönetimi: Park politikalarının sürdürülebilir mobiliteyi teşvik etmek ve trafik sıkışıklığını azaltmak için tasarlanmasını sağlamak</a:t>
            </a:r>
            <a:endParaRPr lang="hr-HR" sz="1600" dirty="0"/>
          </a:p>
          <a:p>
            <a:pPr marL="285750" indent="-285750" algn="just">
              <a:buFont typeface="Arial" panose="020B0604020202020204" pitchFamily="34" charset="0"/>
              <a:buChar char="•"/>
              <a:defRPr sz="1600"/>
            </a:pPr>
            <a:r>
              <a:t>Altyapı Tasarımı Yol ve bisiklet şeridi tasarımlarının temel amacı, herkesin güvenli ve verimli bir şekilde seyahat etmesini sağlamaktır.</a:t>
            </a:r>
            <a:endParaRPr lang="hr-HR" sz="1600" dirty="0"/>
          </a:p>
          <a:p>
            <a:pPr marL="285750" indent="-285750" algn="just">
              <a:buFont typeface="Arial" panose="020B0604020202020204" pitchFamily="34" charset="0"/>
              <a:buChar char="•"/>
              <a:defRPr sz="1600"/>
            </a:pPr>
            <a:r>
              <a:t>Eğitim ve farkındalık faaliyetleri, insanlara sürdürülebilir ulaşım modlarının avantajları hakkında bilgi vermek ve davranış değişikliğini teşvik etmek için gerçekleştirilir.</a:t>
            </a:r>
            <a:endParaRPr lang="hr-HR" sz="1600" dirty="0"/>
          </a:p>
          <a:p>
            <a:pPr marL="285750" indent="-285750" algn="just">
              <a:buFont typeface="Arial" panose="020B0604020202020204" pitchFamily="34" charset="0"/>
              <a:buChar char="•"/>
            </a:pPr>
            <a:endParaRPr lang="en-US" sz="1600" dirty="0"/>
          </a:p>
          <a:p>
            <a:pPr algn="just">
              <a:defRPr sz="1600"/>
            </a:pPr>
            <a:r>
              <a:t>Ulaşım planlamacıları, bisiklet kullanımının yaygınlaştırılması ve özel araçların sürdürülebilir kullanımının teşvik edilmesiyle, trafik sıkışıklığını azaltabilir ve sürdürülebilir hareketliliği ön plana çıkarabilirler.</a:t>
            </a:r>
          </a:p>
        </p:txBody>
      </p:sp>
      <p:pic>
        <p:nvPicPr>
          <p:cNvPr id="7" name="Picture 6" descr="A group of people riding bicycles and cars  Description automatically generated with low confidence">
            <a:extLst>
              <a:ext uri="{FF2B5EF4-FFF2-40B4-BE49-F238E27FC236}">
                <a16:creationId xmlns:a16="http://schemas.microsoft.com/office/drawing/2014/main" id="{20539A8D-36AA-CE9C-F777-195F878C85F5}"/>
              </a:ext>
            </a:extLst>
          </p:cNvPr>
          <p:cNvPicPr>
            <a:picLocks noChangeAspect="1"/>
          </p:cNvPicPr>
          <p:nvPr/>
        </p:nvPicPr>
        <p:blipFill>
          <a:blip r:embed="rId4"/>
          <a:stretch>
            <a:fillRect/>
          </a:stretch>
        </p:blipFill>
        <p:spPr>
          <a:xfrm>
            <a:off x="454429" y="1842796"/>
            <a:ext cx="4758612" cy="3172408"/>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extLst>
      <p:ext uri="{BB962C8B-B14F-4D97-AF65-F5344CB8AC3E}">
        <p14:creationId xmlns:p14="http://schemas.microsoft.com/office/powerpoint/2010/main" val="175815446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TekstniOkvir 3">
            <a:extLst>
              <a:ext uri="{FF2B5EF4-FFF2-40B4-BE49-F238E27FC236}">
                <a16:creationId xmlns:a16="http://schemas.microsoft.com/office/drawing/2014/main" id="{CF5ED112-659E-11FA-5E1E-185D5C3E5BD8}"/>
              </a:ext>
            </a:extLst>
          </p:cNvPr>
          <p:cNvSpPr txBox="1"/>
          <p:nvPr/>
        </p:nvSpPr>
        <p:spPr>
          <a:xfrm>
            <a:off x="3064598" y="1421394"/>
            <a:ext cx="6062804" cy="1077218"/>
          </a:xfrm>
          <a:prstGeom prst="rect">
            <a:avLst/>
          </a:prstGeom>
          <a:noFill/>
        </p:spPr>
        <p:txBody>
          <a:bodyPr wrap="square">
            <a:spAutoFit/>
          </a:bodyPr>
          <a:lstStyle/>
          <a:p>
            <a:pPr algn="ctr">
              <a:defRPr sz="3200"/>
            </a:pPr>
            <a:r>
              <a:t>Yaya Altyapısı ve Paylaşımlı Hareketlilik</a:t>
            </a:r>
            <a:endParaRPr lang="hr-HR" sz="3200" b="1" dirty="0">
              <a:ea typeface="MS Mincho" panose="02020609040205080304" pitchFamily="49" charset="-128"/>
              <a:cs typeface="Calibri" panose="020F0502020204030204" pitchFamily="34" charset="0"/>
            </a:endParaRPr>
          </a:p>
        </p:txBody>
      </p:sp>
      <p:graphicFrame>
        <p:nvGraphicFramePr>
          <p:cNvPr id="6" name="Diagram 5">
            <a:extLst>
              <a:ext uri="{FF2B5EF4-FFF2-40B4-BE49-F238E27FC236}">
                <a16:creationId xmlns:a16="http://schemas.microsoft.com/office/drawing/2014/main" id="{D4B0FD18-B765-A2D2-CCD7-75401F8C2814}"/>
              </a:ext>
            </a:extLst>
          </p:cNvPr>
          <p:cNvGraphicFramePr/>
          <p:nvPr>
            <p:extLst>
              <p:ext uri="{D42A27DB-BD31-4B8C-83A1-F6EECF244321}">
                <p14:modId xmlns:p14="http://schemas.microsoft.com/office/powerpoint/2010/main" val="1874976284"/>
              </p:ext>
            </p:extLst>
          </p:nvPr>
        </p:nvGraphicFramePr>
        <p:xfrm>
          <a:off x="1868410" y="2088125"/>
          <a:ext cx="7598120" cy="403187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9761650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ekstniOkvir 3">
            <a:extLst>
              <a:ext uri="{FF2B5EF4-FFF2-40B4-BE49-F238E27FC236}">
                <a16:creationId xmlns:a16="http://schemas.microsoft.com/office/drawing/2014/main" id="{B55AD7CC-CF3D-9DF3-8143-60141D500B88}"/>
              </a:ext>
            </a:extLst>
          </p:cNvPr>
          <p:cNvSpPr txBox="1"/>
          <p:nvPr/>
        </p:nvSpPr>
        <p:spPr>
          <a:xfrm>
            <a:off x="-33102" y="1529875"/>
            <a:ext cx="6129102" cy="584775"/>
          </a:xfrm>
          <a:prstGeom prst="rect">
            <a:avLst/>
          </a:prstGeom>
          <a:noFill/>
        </p:spPr>
        <p:txBody>
          <a:bodyPr wrap="square">
            <a:spAutoFit/>
          </a:bodyPr>
          <a:lstStyle/>
          <a:p>
            <a:pPr algn="ctr">
              <a:defRPr sz="3200" b="1"/>
            </a:pPr>
            <a:r>
              <a:t>Ulaşım Planlama Süreci</a:t>
            </a:r>
            <a:endParaRPr lang="hr-HR" sz="3200" b="1" dirty="0">
              <a:ea typeface="MS Mincho" panose="02020609040205080304" pitchFamily="49" charset="-128"/>
              <a:cs typeface="Calibri" panose="020F0502020204030204" pitchFamily="34" charset="0"/>
            </a:endParaRPr>
          </a:p>
        </p:txBody>
      </p:sp>
      <p:sp>
        <p:nvSpPr>
          <p:cNvPr id="3" name="TextBox 2">
            <a:extLst>
              <a:ext uri="{FF2B5EF4-FFF2-40B4-BE49-F238E27FC236}">
                <a16:creationId xmlns:a16="http://schemas.microsoft.com/office/drawing/2014/main" id="{70D2498B-8279-A3D2-A595-211B3F535735}"/>
              </a:ext>
            </a:extLst>
          </p:cNvPr>
          <p:cNvSpPr txBox="1"/>
          <p:nvPr/>
        </p:nvSpPr>
        <p:spPr>
          <a:xfrm>
            <a:off x="6820783" y="2578193"/>
            <a:ext cx="4653481" cy="2585323"/>
          </a:xfrm>
          <a:prstGeom prst="rect">
            <a:avLst/>
          </a:prstGeom>
          <a:noFill/>
        </p:spPr>
        <p:txBody>
          <a:bodyPr wrap="square">
            <a:spAutoFit/>
          </a:bodyPr>
          <a:lstStyle/>
          <a:p>
            <a:pPr algn="just"/>
            <a:r>
              <a:rPr dirty="0" err="1"/>
              <a:t>Adım</a:t>
            </a:r>
            <a:r>
              <a:rPr dirty="0"/>
              <a:t> 2: </a:t>
            </a:r>
            <a:r>
              <a:rPr dirty="0" err="1"/>
              <a:t>Hedef</a:t>
            </a:r>
            <a:r>
              <a:rPr dirty="0"/>
              <a:t> </a:t>
            </a:r>
            <a:r>
              <a:rPr dirty="0" err="1"/>
              <a:t>Belirleme</a:t>
            </a:r>
            <a:r>
              <a:rPr dirty="0"/>
              <a:t> </a:t>
            </a:r>
            <a:r>
              <a:rPr dirty="0" err="1"/>
              <a:t>ve</a:t>
            </a:r>
            <a:r>
              <a:rPr dirty="0"/>
              <a:t> </a:t>
            </a:r>
            <a:r>
              <a:rPr dirty="0" err="1"/>
              <a:t>Vizyon</a:t>
            </a:r>
            <a:r>
              <a:rPr dirty="0"/>
              <a:t> </a:t>
            </a:r>
            <a:r>
              <a:rPr dirty="0" err="1"/>
              <a:t>Oluşturma</a:t>
            </a:r>
            <a:r>
              <a:rPr dirty="0"/>
              <a:t>:</a:t>
            </a:r>
          </a:p>
          <a:p>
            <a:pPr algn="just"/>
            <a:endParaRPr lang="en-US" dirty="0"/>
          </a:p>
          <a:p>
            <a:pPr marL="285750" indent="-285750" algn="just">
              <a:buFont typeface="Arial" panose="020B0604020202020204" pitchFamily="34" charset="0"/>
              <a:buChar char="•"/>
            </a:pPr>
            <a:r>
              <a:rPr dirty="0" err="1"/>
              <a:t>Şehirdeki</a:t>
            </a:r>
            <a:r>
              <a:rPr dirty="0"/>
              <a:t> </a:t>
            </a:r>
            <a:r>
              <a:rPr dirty="0" err="1"/>
              <a:t>sürdürülebilir</a:t>
            </a:r>
            <a:r>
              <a:rPr dirty="0"/>
              <a:t>, </a:t>
            </a:r>
            <a:r>
              <a:rPr dirty="0" err="1"/>
              <a:t>verimli</a:t>
            </a:r>
            <a:r>
              <a:rPr dirty="0"/>
              <a:t> </a:t>
            </a:r>
            <a:r>
              <a:rPr dirty="0" err="1"/>
              <a:t>ve</a:t>
            </a:r>
            <a:r>
              <a:rPr dirty="0"/>
              <a:t> </a:t>
            </a:r>
            <a:r>
              <a:rPr dirty="0" err="1"/>
              <a:t>erişilebilir</a:t>
            </a:r>
            <a:r>
              <a:rPr dirty="0"/>
              <a:t> </a:t>
            </a:r>
            <a:r>
              <a:rPr dirty="0" err="1"/>
              <a:t>ulaşımın</a:t>
            </a:r>
            <a:r>
              <a:rPr dirty="0"/>
              <a:t> </a:t>
            </a:r>
            <a:r>
              <a:rPr dirty="0" err="1"/>
              <a:t>vizyonunu</a:t>
            </a:r>
            <a:r>
              <a:rPr dirty="0"/>
              <a:t> </a:t>
            </a:r>
            <a:r>
              <a:rPr dirty="0" err="1"/>
              <a:t>temel</a:t>
            </a:r>
            <a:r>
              <a:rPr dirty="0"/>
              <a:t> </a:t>
            </a:r>
            <a:r>
              <a:rPr dirty="0" err="1"/>
              <a:t>alarak</a:t>
            </a:r>
            <a:r>
              <a:rPr dirty="0"/>
              <a:t> </a:t>
            </a:r>
            <a:r>
              <a:rPr dirty="0" err="1"/>
              <a:t>ulaşım</a:t>
            </a:r>
            <a:r>
              <a:rPr dirty="0"/>
              <a:t> </a:t>
            </a:r>
            <a:r>
              <a:rPr dirty="0" err="1"/>
              <a:t>planının</a:t>
            </a:r>
            <a:r>
              <a:rPr dirty="0"/>
              <a:t> </a:t>
            </a:r>
            <a:r>
              <a:rPr dirty="0" err="1"/>
              <a:t>hedefleri</a:t>
            </a:r>
            <a:r>
              <a:rPr dirty="0"/>
              <a:t> </a:t>
            </a:r>
            <a:r>
              <a:rPr dirty="0" err="1"/>
              <a:t>ve</a:t>
            </a:r>
            <a:r>
              <a:rPr dirty="0"/>
              <a:t> </a:t>
            </a:r>
            <a:r>
              <a:rPr dirty="0" err="1"/>
              <a:t>amaçları</a:t>
            </a:r>
            <a:r>
              <a:rPr dirty="0"/>
              <a:t> </a:t>
            </a:r>
            <a:r>
              <a:rPr dirty="0" err="1"/>
              <a:t>belirlenir</a:t>
            </a:r>
            <a:r>
              <a:rPr dirty="0"/>
              <a:t>.</a:t>
            </a:r>
            <a:endParaRPr lang="hr-HR" dirty="0"/>
          </a:p>
          <a:p>
            <a:pPr marL="285750" indent="-285750" algn="just">
              <a:buFont typeface="Arial" panose="020B0604020202020204" pitchFamily="34" charset="0"/>
              <a:buChar char="•"/>
            </a:pPr>
            <a:r>
              <a:rPr dirty="0" err="1"/>
              <a:t>Girdi</a:t>
            </a:r>
            <a:r>
              <a:rPr dirty="0"/>
              <a:t> </a:t>
            </a:r>
            <a:r>
              <a:rPr dirty="0" err="1"/>
              <a:t>toplamak</a:t>
            </a:r>
            <a:r>
              <a:rPr dirty="0"/>
              <a:t> </a:t>
            </a:r>
            <a:r>
              <a:rPr dirty="0" err="1"/>
              <a:t>ve</a:t>
            </a:r>
            <a:r>
              <a:rPr dirty="0"/>
              <a:t> </a:t>
            </a:r>
            <a:r>
              <a:rPr dirty="0" err="1"/>
              <a:t>ortak</a:t>
            </a:r>
            <a:r>
              <a:rPr dirty="0"/>
              <a:t> </a:t>
            </a:r>
            <a:r>
              <a:rPr dirty="0" err="1"/>
              <a:t>bir</a:t>
            </a:r>
            <a:r>
              <a:rPr dirty="0"/>
              <a:t> </a:t>
            </a:r>
            <a:r>
              <a:rPr dirty="0" err="1"/>
              <a:t>vizyon</a:t>
            </a:r>
            <a:r>
              <a:rPr dirty="0"/>
              <a:t> </a:t>
            </a:r>
            <a:r>
              <a:rPr dirty="0" err="1"/>
              <a:t>oluşturmak</a:t>
            </a:r>
            <a:r>
              <a:rPr dirty="0"/>
              <a:t> </a:t>
            </a:r>
            <a:r>
              <a:rPr dirty="0" err="1"/>
              <a:t>için</a:t>
            </a:r>
            <a:r>
              <a:rPr dirty="0"/>
              <a:t> </a:t>
            </a:r>
            <a:r>
              <a:rPr dirty="0" err="1"/>
              <a:t>paydaşlar</a:t>
            </a:r>
            <a:r>
              <a:rPr dirty="0"/>
              <a:t> </a:t>
            </a:r>
            <a:r>
              <a:rPr dirty="0" err="1"/>
              <a:t>ve</a:t>
            </a:r>
            <a:r>
              <a:rPr dirty="0"/>
              <a:t> </a:t>
            </a:r>
            <a:r>
              <a:rPr dirty="0" err="1"/>
              <a:t>halk</a:t>
            </a:r>
            <a:r>
              <a:rPr dirty="0"/>
              <a:t> </a:t>
            </a:r>
            <a:r>
              <a:rPr dirty="0" err="1"/>
              <a:t>dahil</a:t>
            </a:r>
            <a:r>
              <a:rPr dirty="0"/>
              <a:t> </a:t>
            </a:r>
            <a:r>
              <a:rPr dirty="0" err="1"/>
              <a:t>edilir</a:t>
            </a:r>
            <a:r>
              <a:rPr dirty="0"/>
              <a:t>.</a:t>
            </a:r>
          </a:p>
          <a:p>
            <a:pPr algn="just"/>
            <a:endParaRPr lang="en-US" dirty="0"/>
          </a:p>
        </p:txBody>
      </p:sp>
      <p:pic>
        <p:nvPicPr>
          <p:cNvPr id="4" name="Picture 3" descr="A person climbing a ladder to a target  Description automatically generated with medium confidence">
            <a:extLst>
              <a:ext uri="{FF2B5EF4-FFF2-40B4-BE49-F238E27FC236}">
                <a16:creationId xmlns:a16="http://schemas.microsoft.com/office/drawing/2014/main" id="{CC3732C3-171A-9F71-4F46-2884583E0F80}"/>
              </a:ext>
            </a:extLst>
          </p:cNvPr>
          <p:cNvPicPr>
            <a:picLocks noChangeAspect="1"/>
          </p:cNvPicPr>
          <p:nvPr/>
        </p:nvPicPr>
        <p:blipFill>
          <a:blip r:embed="rId4"/>
          <a:stretch>
            <a:fillRect/>
          </a:stretch>
        </p:blipFill>
        <p:spPr>
          <a:xfrm>
            <a:off x="717736" y="2104934"/>
            <a:ext cx="4267982" cy="3881580"/>
          </a:xfrm>
          <a:prstGeom prst="rect">
            <a:avLst/>
          </a:prstGeom>
          <a:effectLst>
            <a:softEdge rad="317500"/>
          </a:effectLst>
        </p:spPr>
      </p:pic>
    </p:spTree>
    <p:extLst>
      <p:ext uri="{BB962C8B-B14F-4D97-AF65-F5344CB8AC3E}">
        <p14:creationId xmlns:p14="http://schemas.microsoft.com/office/powerpoint/2010/main" val="47823982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ABB9A-8381-E048-B51B-ADFD36312BC9}"/>
              </a:ext>
            </a:extLst>
          </p:cNvPr>
          <p:cNvSpPr>
            <a:spLocks noGrp="1"/>
          </p:cNvSpPr>
          <p:nvPr>
            <p:ph type="ctrTitle"/>
          </p:nvPr>
        </p:nvSpPr>
        <p:spPr>
          <a:xfrm>
            <a:off x="1524000" y="2918611"/>
            <a:ext cx="9144000" cy="1020778"/>
          </a:xfrm>
        </p:spPr>
        <p:txBody>
          <a:bodyPr>
            <a:normAutofit fontScale="90000"/>
          </a:bodyPr>
          <a:lstStyle/>
          <a:p>
            <a:pPr>
              <a:defRPr sz="7000" b="1"/>
            </a:pPr>
            <a:r>
              <a:t>Otopark Yönetimi</a:t>
            </a:r>
            <a:endParaRPr lang="en-TR" sz="7000" b="1" dirty="0">
              <a:latin typeface="Myriad Pro" panose="020B0503030403020204" pitchFamily="34" charset="0"/>
            </a:endParaRPr>
          </a:p>
        </p:txBody>
      </p:sp>
    </p:spTree>
    <p:extLst>
      <p:ext uri="{BB962C8B-B14F-4D97-AF65-F5344CB8AC3E}">
        <p14:creationId xmlns:p14="http://schemas.microsoft.com/office/powerpoint/2010/main" val="420644379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2" name="Picture 1" descr="A picture containing car, land vehicle, vehicle, text  Description automatically generated">
            <a:extLst>
              <a:ext uri="{FF2B5EF4-FFF2-40B4-BE49-F238E27FC236}">
                <a16:creationId xmlns:a16="http://schemas.microsoft.com/office/drawing/2014/main" id="{BE73F1B8-DC32-6D2E-0913-676317FDE2B4}"/>
              </a:ext>
            </a:extLst>
          </p:cNvPr>
          <p:cNvPicPr>
            <a:picLocks noChangeAspect="1"/>
          </p:cNvPicPr>
          <p:nvPr/>
        </p:nvPicPr>
        <p:blipFill rotWithShape="1">
          <a:blip r:embed="rId4"/>
          <a:srcRect l="2359"/>
          <a:stretch/>
        </p:blipFill>
        <p:spPr>
          <a:xfrm>
            <a:off x="465233" y="1847460"/>
            <a:ext cx="5630767" cy="3993503"/>
          </a:xfrm>
          <a:prstGeom prst="rect">
            <a:avLst/>
          </a:prstGeom>
        </p:spPr>
      </p:pic>
      <p:sp>
        <p:nvSpPr>
          <p:cNvPr id="3" name="TekstniOkvir 3">
            <a:extLst>
              <a:ext uri="{FF2B5EF4-FFF2-40B4-BE49-F238E27FC236}">
                <a16:creationId xmlns:a16="http://schemas.microsoft.com/office/drawing/2014/main" id="{3C5D7264-4CEB-AC38-83E1-5D3981150C27}"/>
              </a:ext>
            </a:extLst>
          </p:cNvPr>
          <p:cNvSpPr txBox="1"/>
          <p:nvPr/>
        </p:nvSpPr>
        <p:spPr>
          <a:xfrm>
            <a:off x="7372989" y="654134"/>
            <a:ext cx="4532872" cy="1899912"/>
          </a:xfrm>
          <a:prstGeom prst="rect">
            <a:avLst/>
          </a:prstGeom>
        </p:spPr>
        <p:txBody>
          <a:bodyPr vert="horz" lIns="91440" tIns="45720" rIns="91440" bIns="45720" anchor="ctr">
            <a:normAutofit/>
          </a:bodyPr>
          <a:lstStyle/>
          <a:p>
            <a:pPr>
              <a:lnSpc>
                <a:spcPct val="90000"/>
              </a:lnSpc>
              <a:spcBef>
                <a:spcPct val="0"/>
              </a:spcBef>
              <a:spcAft>
                <a:spcPts val="600"/>
              </a:spcAft>
              <a:defRPr sz="3600" b="1">
                <a:latin typeface="+mj-lt"/>
                <a:ea typeface="+mj-ea"/>
                <a:cs typeface="+mj-cs"/>
              </a:defRPr>
            </a:pPr>
            <a:r>
              <a:t>Otopark Yönetim Stratejileri</a:t>
            </a:r>
          </a:p>
        </p:txBody>
      </p:sp>
      <p:graphicFrame>
        <p:nvGraphicFramePr>
          <p:cNvPr id="7" name="Diagram 6">
            <a:extLst>
              <a:ext uri="{FF2B5EF4-FFF2-40B4-BE49-F238E27FC236}">
                <a16:creationId xmlns:a16="http://schemas.microsoft.com/office/drawing/2014/main" id="{B4C196B3-9B27-D8E9-7CBB-143C8999884B}"/>
              </a:ext>
            </a:extLst>
          </p:cNvPr>
          <p:cNvGraphicFramePr/>
          <p:nvPr/>
        </p:nvGraphicFramePr>
        <p:xfrm>
          <a:off x="7270354" y="2339806"/>
          <a:ext cx="4456413" cy="374276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4077726047"/>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D94732D-473C-13B1-A4F4-2583957E337B}"/>
              </a:ext>
            </a:extLst>
          </p:cNvPr>
          <p:cNvSpPr/>
          <p:nvPr/>
        </p:nvSpPr>
        <p:spPr>
          <a:xfrm>
            <a:off x="6507411" y="2074148"/>
            <a:ext cx="1493454" cy="1819747"/>
          </a:xfrm>
          <a:prstGeom prst="rect">
            <a:avLst/>
          </a:prstGeom>
          <a:noFill/>
          <a:ln w="3810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10" name="Picture 9" descr="A person standing in front of a tablet  Description automatically generated with medium confidence">
            <a:extLst>
              <a:ext uri="{FF2B5EF4-FFF2-40B4-BE49-F238E27FC236}">
                <a16:creationId xmlns:a16="http://schemas.microsoft.com/office/drawing/2014/main" id="{9794E2F4-0392-F5A4-35F5-AB436E326935}"/>
              </a:ext>
            </a:extLst>
          </p:cNvPr>
          <p:cNvPicPr>
            <a:picLocks noChangeAspect="1"/>
          </p:cNvPicPr>
          <p:nvPr/>
        </p:nvPicPr>
        <p:blipFill rotWithShape="1">
          <a:blip r:embed="rId4"/>
          <a:srcRect r="1" b="3741"/>
          <a:stretch/>
        </p:blipFill>
        <p:spPr>
          <a:xfrm>
            <a:off x="8832813" y="2727730"/>
            <a:ext cx="3359187" cy="3233556"/>
          </a:xfrm>
          <a:custGeom>
            <a:avLst/>
            <a:gdLst/>
            <a:ahLst/>
            <a:cxnLst/>
            <a:rect l="l" t="t" r="r" b="b"/>
            <a:pathLst>
              <a:path w="4290741" h="4130271">
                <a:moveTo>
                  <a:pt x="2503809" y="0"/>
                </a:moveTo>
                <a:cubicBezTo>
                  <a:pt x="3157405" y="0"/>
                  <a:pt x="3752509" y="250434"/>
                  <a:pt x="4198398" y="660580"/>
                </a:cubicBezTo>
                <a:lnTo>
                  <a:pt x="4290741" y="751286"/>
                </a:lnTo>
                <a:lnTo>
                  <a:pt x="4290741" y="4130271"/>
                </a:lnTo>
                <a:lnTo>
                  <a:pt x="604508" y="4130271"/>
                </a:lnTo>
                <a:lnTo>
                  <a:pt x="461940" y="3953232"/>
                </a:lnTo>
                <a:cubicBezTo>
                  <a:pt x="171051" y="3544183"/>
                  <a:pt x="0" y="3043971"/>
                  <a:pt x="0" y="2503809"/>
                </a:cubicBezTo>
                <a:cubicBezTo>
                  <a:pt x="0" y="1120992"/>
                  <a:pt x="1120992" y="0"/>
                  <a:pt x="2503809" y="0"/>
                </a:cubicBezTo>
                <a:close/>
              </a:path>
            </a:pathLst>
          </a:custGeom>
        </p:spPr>
      </p:pic>
      <p:pic>
        <p:nvPicPr>
          <p:cNvPr id="11" name="Picture 10" descr="A picture containing screenshot, design  Description automatically generated">
            <a:extLst>
              <a:ext uri="{FF2B5EF4-FFF2-40B4-BE49-F238E27FC236}">
                <a16:creationId xmlns:a16="http://schemas.microsoft.com/office/drawing/2014/main" id="{414D42AB-9F62-A057-0F76-09CFF5DDA600}"/>
              </a:ext>
            </a:extLst>
          </p:cNvPr>
          <p:cNvPicPr>
            <a:picLocks noChangeAspect="1"/>
          </p:cNvPicPr>
          <p:nvPr/>
        </p:nvPicPr>
        <p:blipFill rotWithShape="1">
          <a:blip r:embed="rId5"/>
          <a:srcRect t="9683" r="-3" b="4846"/>
          <a:stretch/>
        </p:blipFill>
        <p:spPr>
          <a:xfrm>
            <a:off x="7025677" y="896714"/>
            <a:ext cx="2755241" cy="2354868"/>
          </a:xfrm>
          <a:custGeom>
            <a:avLst/>
            <a:gdLst/>
            <a:ahLst/>
            <a:cxnLst/>
            <a:rect l="l" t="t" r="r" b="b"/>
            <a:pathLst>
              <a:path w="3519312" h="3007909">
                <a:moveTo>
                  <a:pt x="519780" y="0"/>
                </a:moveTo>
                <a:lnTo>
                  <a:pt x="2999532" y="0"/>
                </a:lnTo>
                <a:lnTo>
                  <a:pt x="3003921" y="3989"/>
                </a:lnTo>
                <a:cubicBezTo>
                  <a:pt x="3322356" y="322424"/>
                  <a:pt x="3519312" y="762338"/>
                  <a:pt x="3519312" y="1248253"/>
                </a:cubicBezTo>
                <a:cubicBezTo>
                  <a:pt x="3519312" y="2220084"/>
                  <a:pt x="2731487" y="3007909"/>
                  <a:pt x="1759656" y="3007909"/>
                </a:cubicBezTo>
                <a:cubicBezTo>
                  <a:pt x="787826" y="3007909"/>
                  <a:pt x="0" y="2220084"/>
                  <a:pt x="0" y="1248253"/>
                </a:cubicBezTo>
                <a:cubicBezTo>
                  <a:pt x="0" y="762338"/>
                  <a:pt x="196957" y="322424"/>
                  <a:pt x="515392" y="3989"/>
                </a:cubicBezTo>
                <a:close/>
              </a:path>
            </a:pathLst>
          </a:custGeom>
        </p:spPr>
      </p:pic>
      <p:sp>
        <p:nvSpPr>
          <p:cNvPr id="3" name="TekstniOkvir 3">
            <a:extLst>
              <a:ext uri="{FF2B5EF4-FFF2-40B4-BE49-F238E27FC236}">
                <a16:creationId xmlns:a16="http://schemas.microsoft.com/office/drawing/2014/main" id="{3C5D7264-4CEB-AC38-83E1-5D3981150C27}"/>
              </a:ext>
            </a:extLst>
          </p:cNvPr>
          <p:cNvSpPr txBox="1"/>
          <p:nvPr/>
        </p:nvSpPr>
        <p:spPr>
          <a:xfrm>
            <a:off x="311287" y="454957"/>
            <a:ext cx="4532872" cy="1899912"/>
          </a:xfrm>
          <a:prstGeom prst="rect">
            <a:avLst/>
          </a:prstGeom>
        </p:spPr>
        <p:txBody>
          <a:bodyPr vert="horz" lIns="91440" tIns="45720" rIns="91440" bIns="45720" anchor="ctr">
            <a:normAutofit/>
          </a:bodyPr>
          <a:lstStyle/>
          <a:p>
            <a:pPr>
              <a:lnSpc>
                <a:spcPct val="90000"/>
              </a:lnSpc>
              <a:spcBef>
                <a:spcPct val="0"/>
              </a:spcBef>
              <a:spcAft>
                <a:spcPts val="600"/>
              </a:spcAft>
              <a:defRPr sz="3600" b="1" kern="1200">
                <a:solidFill>
                  <a:schemeClr val="tx1"/>
                </a:solidFill>
                <a:latin typeface="+mj-lt"/>
                <a:ea typeface="+mj-ea"/>
                <a:cs typeface="+mj-cs"/>
              </a:defRPr>
            </a:pPr>
            <a:r>
              <a:t>Otopark Arz ve Talep Analizi</a:t>
            </a:r>
          </a:p>
        </p:txBody>
      </p:sp>
      <p:graphicFrame>
        <p:nvGraphicFramePr>
          <p:cNvPr id="9" name="Diagram 8">
            <a:extLst>
              <a:ext uri="{FF2B5EF4-FFF2-40B4-BE49-F238E27FC236}">
                <a16:creationId xmlns:a16="http://schemas.microsoft.com/office/drawing/2014/main" id="{D7539640-E25C-55A4-DCCA-1DBD5A649F6C}"/>
              </a:ext>
            </a:extLst>
          </p:cNvPr>
          <p:cNvGraphicFramePr/>
          <p:nvPr>
            <p:extLst>
              <p:ext uri="{D42A27DB-BD31-4B8C-83A1-F6EECF244321}">
                <p14:modId xmlns:p14="http://schemas.microsoft.com/office/powerpoint/2010/main" val="1914958630"/>
              </p:ext>
            </p:extLst>
          </p:nvPr>
        </p:nvGraphicFramePr>
        <p:xfrm>
          <a:off x="711452" y="1410791"/>
          <a:ext cx="5092194" cy="4351338"/>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12" name="Arc 11">
            <a:extLst>
              <a:ext uri="{FF2B5EF4-FFF2-40B4-BE49-F238E27FC236}">
                <a16:creationId xmlns:a16="http://schemas.microsoft.com/office/drawing/2014/main" id="{E4B5AE6E-48F9-AF6D-EB74-491E4F602276}"/>
              </a:ext>
            </a:extLst>
          </p:cNvPr>
          <p:cNvSpPr/>
          <p:nvPr/>
        </p:nvSpPr>
        <p:spPr>
          <a:xfrm rot="16921815">
            <a:off x="8149158" y="2587134"/>
            <a:ext cx="5794209" cy="4992771"/>
          </a:xfrm>
          <a:prstGeom prst="arc">
            <a:avLst>
              <a:gd name="adj1" fmla="val 15665407"/>
              <a:gd name="adj2" fmla="val 20736512"/>
            </a:avLst>
          </a:prstGeom>
          <a:ln w="57150">
            <a:solidFill>
              <a:schemeClr val="accent4"/>
            </a:solidFill>
            <a:prstDash val="lgDash"/>
            <a:headEnd type="triangle" w="med" len="med"/>
            <a:tailEnd type="none" w="med" len="med"/>
          </a:ln>
        </p:spPr>
        <p:style>
          <a:lnRef idx="1">
            <a:schemeClr val="accent1"/>
          </a:lnRef>
          <a:fillRef idx="0">
            <a:schemeClr val="accent1"/>
          </a:fillRef>
          <a:effectRef idx="0">
            <a:schemeClr val="accent1"/>
          </a:effectRef>
          <a:fontRef idx="minor">
            <a:schemeClr val="tx1"/>
          </a:fontRef>
        </p:style>
        <p:txBody>
          <a:bodyPr anchor="ctr"/>
          <a:lstStyle/>
          <a:p>
            <a:pPr algn="ctr"/>
            <a:endParaRPr lang="en-US"/>
          </a:p>
        </p:txBody>
      </p:sp>
    </p:spTree>
    <p:extLst>
      <p:ext uri="{BB962C8B-B14F-4D97-AF65-F5344CB8AC3E}">
        <p14:creationId xmlns:p14="http://schemas.microsoft.com/office/powerpoint/2010/main" val="421081099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ekstniOkvir 3">
            <a:extLst>
              <a:ext uri="{FF2B5EF4-FFF2-40B4-BE49-F238E27FC236}">
                <a16:creationId xmlns:a16="http://schemas.microsoft.com/office/drawing/2014/main" id="{3C5D7264-4CEB-AC38-83E1-5D3981150C27}"/>
              </a:ext>
            </a:extLst>
          </p:cNvPr>
          <p:cNvSpPr txBox="1"/>
          <p:nvPr/>
        </p:nvSpPr>
        <p:spPr>
          <a:xfrm>
            <a:off x="208885" y="383546"/>
            <a:ext cx="4532872" cy="1899912"/>
          </a:xfrm>
          <a:prstGeom prst="rect">
            <a:avLst/>
          </a:prstGeom>
        </p:spPr>
        <p:txBody>
          <a:bodyPr vert="horz" lIns="91440" tIns="45720" rIns="91440" bIns="45720" anchor="ctr">
            <a:normAutofit/>
          </a:bodyPr>
          <a:lstStyle/>
          <a:p>
            <a:pPr>
              <a:lnSpc>
                <a:spcPct val="90000"/>
              </a:lnSpc>
              <a:spcBef>
                <a:spcPct val="0"/>
              </a:spcBef>
              <a:spcAft>
                <a:spcPts val="600"/>
              </a:spcAft>
              <a:defRPr sz="3600"/>
            </a:pPr>
            <a:r>
              <a:t>Otopark Standartları ve Yönergeleri</a:t>
            </a:r>
            <a:endParaRPr lang="en-US" sz="3600" b="1" dirty="0">
              <a:latin typeface="+mj-lt"/>
              <a:ea typeface="+mj-ea"/>
              <a:cs typeface="+mj-cs"/>
            </a:endParaRPr>
          </a:p>
        </p:txBody>
      </p:sp>
      <p:graphicFrame>
        <p:nvGraphicFramePr>
          <p:cNvPr id="8" name="Diagram 7">
            <a:extLst>
              <a:ext uri="{FF2B5EF4-FFF2-40B4-BE49-F238E27FC236}">
                <a16:creationId xmlns:a16="http://schemas.microsoft.com/office/drawing/2014/main" id="{63262DB4-4A04-E431-B887-DEED6CDE1F41}"/>
              </a:ext>
            </a:extLst>
          </p:cNvPr>
          <p:cNvGraphicFramePr/>
          <p:nvPr>
            <p:extLst>
              <p:ext uri="{D42A27DB-BD31-4B8C-83A1-F6EECF244321}">
                <p14:modId xmlns:p14="http://schemas.microsoft.com/office/powerpoint/2010/main" val="3138774008"/>
              </p:ext>
            </p:extLst>
          </p:nvPr>
        </p:nvGraphicFramePr>
        <p:xfrm>
          <a:off x="286140" y="1828799"/>
          <a:ext cx="6833118" cy="42252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0" name="Picture 9" descr="A person standing next to a phone  Description automatically generated with low confidence">
            <a:extLst>
              <a:ext uri="{FF2B5EF4-FFF2-40B4-BE49-F238E27FC236}">
                <a16:creationId xmlns:a16="http://schemas.microsoft.com/office/drawing/2014/main" id="{ACD7C24F-1166-D335-693B-571A4C592405}"/>
              </a:ext>
            </a:extLst>
          </p:cNvPr>
          <p:cNvPicPr>
            <a:picLocks noChangeAspect="1"/>
          </p:cNvPicPr>
          <p:nvPr/>
        </p:nvPicPr>
        <p:blipFill>
          <a:blip r:embed="rId9"/>
          <a:stretch>
            <a:fillRect/>
          </a:stretch>
        </p:blipFill>
        <p:spPr>
          <a:xfrm>
            <a:off x="4780634" y="3743945"/>
            <a:ext cx="2459921" cy="2459921"/>
          </a:xfrm>
          <a:prstGeom prst="rect">
            <a:avLst/>
          </a:prstGeom>
        </p:spPr>
      </p:pic>
      <p:pic>
        <p:nvPicPr>
          <p:cNvPr id="12" name="Picture 11" descr="A isometric view of a parking lot  Description automatically generated with low confidence">
            <a:extLst>
              <a:ext uri="{FF2B5EF4-FFF2-40B4-BE49-F238E27FC236}">
                <a16:creationId xmlns:a16="http://schemas.microsoft.com/office/drawing/2014/main" id="{2F886093-C9C7-47D7-8722-5C46589EEDAD}"/>
              </a:ext>
            </a:extLst>
          </p:cNvPr>
          <p:cNvPicPr>
            <a:picLocks noChangeAspect="1"/>
          </p:cNvPicPr>
          <p:nvPr/>
        </p:nvPicPr>
        <p:blipFill>
          <a:blip r:embed="rId10"/>
          <a:stretch>
            <a:fillRect/>
          </a:stretch>
        </p:blipFill>
        <p:spPr>
          <a:xfrm>
            <a:off x="8269683" y="1959215"/>
            <a:ext cx="3547756" cy="2948473"/>
          </a:xfrm>
          <a:prstGeom prst="rect">
            <a:avLst/>
          </a:prstGeom>
        </p:spPr>
      </p:pic>
    </p:spTree>
    <p:extLst>
      <p:ext uri="{BB962C8B-B14F-4D97-AF65-F5344CB8AC3E}">
        <p14:creationId xmlns:p14="http://schemas.microsoft.com/office/powerpoint/2010/main" val="36526418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ekstniOkvir 3">
            <a:extLst>
              <a:ext uri="{FF2B5EF4-FFF2-40B4-BE49-F238E27FC236}">
                <a16:creationId xmlns:a16="http://schemas.microsoft.com/office/drawing/2014/main" id="{3C5D7264-4CEB-AC38-83E1-5D3981150C27}"/>
              </a:ext>
            </a:extLst>
          </p:cNvPr>
          <p:cNvSpPr txBox="1"/>
          <p:nvPr/>
        </p:nvSpPr>
        <p:spPr>
          <a:xfrm>
            <a:off x="208885" y="383546"/>
            <a:ext cx="4532872" cy="1899912"/>
          </a:xfrm>
          <a:prstGeom prst="rect">
            <a:avLst/>
          </a:prstGeom>
        </p:spPr>
        <p:txBody>
          <a:bodyPr vert="horz" lIns="91440" tIns="45720" rIns="91440" bIns="45720" anchor="ctr">
            <a:normAutofit/>
          </a:bodyPr>
          <a:lstStyle/>
          <a:p>
            <a:pPr>
              <a:lnSpc>
                <a:spcPct val="90000"/>
              </a:lnSpc>
              <a:spcBef>
                <a:spcPct val="0"/>
              </a:spcBef>
              <a:spcAft>
                <a:spcPts val="600"/>
              </a:spcAft>
              <a:defRPr sz="3600"/>
            </a:pPr>
            <a:r>
              <a:t>Akıllı Park Sistemleri</a:t>
            </a:r>
            <a:endParaRPr lang="en-US" sz="3600" b="1" dirty="0">
              <a:latin typeface="+mj-lt"/>
              <a:ea typeface="+mj-ea"/>
              <a:cs typeface="+mj-cs"/>
            </a:endParaRPr>
          </a:p>
        </p:txBody>
      </p:sp>
      <p:graphicFrame>
        <p:nvGraphicFramePr>
          <p:cNvPr id="6" name="Diagram 5">
            <a:extLst>
              <a:ext uri="{FF2B5EF4-FFF2-40B4-BE49-F238E27FC236}">
                <a16:creationId xmlns:a16="http://schemas.microsoft.com/office/drawing/2014/main" id="{0C497749-1AA5-1D66-8B06-1973644BDE22}"/>
              </a:ext>
            </a:extLst>
          </p:cNvPr>
          <p:cNvGraphicFramePr/>
          <p:nvPr>
            <p:extLst>
              <p:ext uri="{D42A27DB-BD31-4B8C-83A1-F6EECF244321}">
                <p14:modId xmlns:p14="http://schemas.microsoft.com/office/powerpoint/2010/main" val="2359831733"/>
              </p:ext>
            </p:extLst>
          </p:nvPr>
        </p:nvGraphicFramePr>
        <p:xfrm>
          <a:off x="3211716" y="1774480"/>
          <a:ext cx="6674667" cy="459795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4" name="Diagram 13">
            <a:extLst>
              <a:ext uri="{FF2B5EF4-FFF2-40B4-BE49-F238E27FC236}">
                <a16:creationId xmlns:a16="http://schemas.microsoft.com/office/drawing/2014/main" id="{80CFC0B7-0969-ACBF-625C-F954493302E7}"/>
              </a:ext>
            </a:extLst>
          </p:cNvPr>
          <p:cNvGraphicFramePr/>
          <p:nvPr>
            <p:extLst>
              <p:ext uri="{D42A27DB-BD31-4B8C-83A1-F6EECF244321}">
                <p14:modId xmlns:p14="http://schemas.microsoft.com/office/powerpoint/2010/main" val="505954389"/>
              </p:ext>
            </p:extLst>
          </p:nvPr>
        </p:nvGraphicFramePr>
        <p:xfrm>
          <a:off x="348083" y="3030370"/>
          <a:ext cx="2724436" cy="2724436"/>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pic>
        <p:nvPicPr>
          <p:cNvPr id="13" name="Picture 12" descr="A person pointing at a car  Description automatically generated with low confidence">
            <a:extLst>
              <a:ext uri="{FF2B5EF4-FFF2-40B4-BE49-F238E27FC236}">
                <a16:creationId xmlns:a16="http://schemas.microsoft.com/office/drawing/2014/main" id="{76AF6B67-D01C-793C-640B-AD2DDE08E510}"/>
              </a:ext>
            </a:extLst>
          </p:cNvPr>
          <p:cNvPicPr>
            <a:picLocks noChangeAspect="1"/>
          </p:cNvPicPr>
          <p:nvPr/>
        </p:nvPicPr>
        <p:blipFill>
          <a:blip r:embed="rId14"/>
          <a:stretch>
            <a:fillRect/>
          </a:stretch>
        </p:blipFill>
        <p:spPr>
          <a:xfrm>
            <a:off x="8474043" y="1493822"/>
            <a:ext cx="3326771" cy="2217847"/>
          </a:xfrm>
          <a:prstGeom prst="rect">
            <a:avLst/>
          </a:prstGeom>
        </p:spPr>
      </p:pic>
      <p:sp>
        <p:nvSpPr>
          <p:cNvPr id="16" name="Rectangle 15">
            <a:extLst>
              <a:ext uri="{FF2B5EF4-FFF2-40B4-BE49-F238E27FC236}">
                <a16:creationId xmlns:a16="http://schemas.microsoft.com/office/drawing/2014/main" id="{E00CF797-0406-7020-3057-FFE5938EDDA6}"/>
              </a:ext>
            </a:extLst>
          </p:cNvPr>
          <p:cNvSpPr/>
          <p:nvPr/>
        </p:nvSpPr>
        <p:spPr>
          <a:xfrm rot="3162593">
            <a:off x="3495773" y="2238014"/>
            <a:ext cx="1303699" cy="652203"/>
          </a:xfrm>
          <a:prstGeom prst="rect">
            <a:avLst/>
          </a:prstGeom>
          <a:noFill/>
          <a:ln w="5715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19" name="Freeform: Shape 18">
            <a:extLst>
              <a:ext uri="{FF2B5EF4-FFF2-40B4-BE49-F238E27FC236}">
                <a16:creationId xmlns:a16="http://schemas.microsoft.com/office/drawing/2014/main" id="{879D8DE5-392B-68D1-8AAD-F894EAA193EA}"/>
              </a:ext>
            </a:extLst>
          </p:cNvPr>
          <p:cNvSpPr/>
          <p:nvPr/>
        </p:nvSpPr>
        <p:spPr>
          <a:xfrm>
            <a:off x="1068309" y="1383138"/>
            <a:ext cx="8999144" cy="2192981"/>
          </a:xfrm>
          <a:custGeom>
            <a:avLst/>
            <a:gdLst>
              <a:gd name="connsiteX0" fmla="*/ 8999144 w 8999144"/>
              <a:gd name="connsiteY0" fmla="*/ 2042 h 2192981"/>
              <a:gd name="connsiteX1" fmla="*/ 8999144 w 8999144"/>
              <a:gd name="connsiteY1" fmla="*/ 2042 h 2192981"/>
              <a:gd name="connsiteX2" fmla="*/ 7885568 w 8999144"/>
              <a:gd name="connsiteY2" fmla="*/ 29203 h 2192981"/>
              <a:gd name="connsiteX3" fmla="*/ 7722606 w 8999144"/>
              <a:gd name="connsiteY3" fmla="*/ 65416 h 2192981"/>
              <a:gd name="connsiteX4" fmla="*/ 7496269 w 8999144"/>
              <a:gd name="connsiteY4" fmla="*/ 128791 h 2192981"/>
              <a:gd name="connsiteX5" fmla="*/ 7306146 w 8999144"/>
              <a:gd name="connsiteY5" fmla="*/ 237432 h 2192981"/>
              <a:gd name="connsiteX6" fmla="*/ 7188451 w 8999144"/>
              <a:gd name="connsiteY6" fmla="*/ 373234 h 2192981"/>
              <a:gd name="connsiteX7" fmla="*/ 7116024 w 8999144"/>
              <a:gd name="connsiteY7" fmla="*/ 445662 h 2192981"/>
              <a:gd name="connsiteX8" fmla="*/ 7070756 w 8999144"/>
              <a:gd name="connsiteY8" fmla="*/ 527143 h 2192981"/>
              <a:gd name="connsiteX9" fmla="*/ 6907794 w 8999144"/>
              <a:gd name="connsiteY9" fmla="*/ 690106 h 2192981"/>
              <a:gd name="connsiteX10" fmla="*/ 6862527 w 8999144"/>
              <a:gd name="connsiteY10" fmla="*/ 726319 h 2192981"/>
              <a:gd name="connsiteX11" fmla="*/ 6636190 w 8999144"/>
              <a:gd name="connsiteY11" fmla="*/ 771587 h 2192981"/>
              <a:gd name="connsiteX12" fmla="*/ 6002447 w 8999144"/>
              <a:gd name="connsiteY12" fmla="*/ 762533 h 2192981"/>
              <a:gd name="connsiteX13" fmla="*/ 5911913 w 8999144"/>
              <a:gd name="connsiteY13" fmla="*/ 780640 h 2192981"/>
              <a:gd name="connsiteX14" fmla="*/ 5776111 w 8999144"/>
              <a:gd name="connsiteY14" fmla="*/ 825908 h 2192981"/>
              <a:gd name="connsiteX15" fmla="*/ 5160475 w 8999144"/>
              <a:gd name="connsiteY15" fmla="*/ 1097512 h 2192981"/>
              <a:gd name="connsiteX16" fmla="*/ 4988459 w 8999144"/>
              <a:gd name="connsiteY16" fmla="*/ 1224260 h 2192981"/>
              <a:gd name="connsiteX17" fmla="*/ 4399984 w 8999144"/>
              <a:gd name="connsiteY17" fmla="*/ 1604506 h 2192981"/>
              <a:gd name="connsiteX18" fmla="*/ 3947311 w 8999144"/>
              <a:gd name="connsiteY18" fmla="*/ 1966644 h 2192981"/>
              <a:gd name="connsiteX19" fmla="*/ 3748135 w 8999144"/>
              <a:gd name="connsiteY19" fmla="*/ 2084339 h 2192981"/>
              <a:gd name="connsiteX20" fmla="*/ 3413156 w 8999144"/>
              <a:gd name="connsiteY20" fmla="*/ 2165820 h 2192981"/>
              <a:gd name="connsiteX21" fmla="*/ 3060071 w 8999144"/>
              <a:gd name="connsiteY21" fmla="*/ 2192981 h 2192981"/>
              <a:gd name="connsiteX22" fmla="*/ 2869948 w 8999144"/>
              <a:gd name="connsiteY22" fmla="*/ 2165820 h 2192981"/>
              <a:gd name="connsiteX23" fmla="*/ 2254313 w 8999144"/>
              <a:gd name="connsiteY23" fmla="*/ 1785575 h 2192981"/>
              <a:gd name="connsiteX24" fmla="*/ 1819746 w 8999144"/>
              <a:gd name="connsiteY24" fmla="*/ 1369115 h 2192981"/>
              <a:gd name="connsiteX25" fmla="*/ 1520982 w 8999144"/>
              <a:gd name="connsiteY25" fmla="*/ 1106565 h 2192981"/>
              <a:gd name="connsiteX26" fmla="*/ 1077362 w 8999144"/>
              <a:gd name="connsiteY26" fmla="*/ 1025084 h 2192981"/>
              <a:gd name="connsiteX27" fmla="*/ 624689 w 8999144"/>
              <a:gd name="connsiteY27" fmla="*/ 979816 h 2192981"/>
              <a:gd name="connsiteX28" fmla="*/ 0 w 8999144"/>
              <a:gd name="connsiteY28" fmla="*/ 970763 h 21929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8999144" h="2192981">
                <a:moveTo>
                  <a:pt x="8999144" y="2042"/>
                </a:moveTo>
                <a:lnTo>
                  <a:pt x="8999144" y="2042"/>
                </a:lnTo>
                <a:cubicBezTo>
                  <a:pt x="8979478" y="2241"/>
                  <a:pt x="8169679" y="-11384"/>
                  <a:pt x="7885568" y="29203"/>
                </a:cubicBezTo>
                <a:cubicBezTo>
                  <a:pt x="7830482" y="37072"/>
                  <a:pt x="7776796" y="52772"/>
                  <a:pt x="7722606" y="65416"/>
                </a:cubicBezTo>
                <a:cubicBezTo>
                  <a:pt x="7672005" y="77223"/>
                  <a:pt x="7542032" y="109430"/>
                  <a:pt x="7496269" y="128791"/>
                </a:cubicBezTo>
                <a:cubicBezTo>
                  <a:pt x="7475379" y="137629"/>
                  <a:pt x="7338489" y="212020"/>
                  <a:pt x="7306146" y="237432"/>
                </a:cubicBezTo>
                <a:cubicBezTo>
                  <a:pt x="7250182" y="281403"/>
                  <a:pt x="7237063" y="318141"/>
                  <a:pt x="7188451" y="373234"/>
                </a:cubicBezTo>
                <a:cubicBezTo>
                  <a:pt x="7165861" y="398835"/>
                  <a:pt x="7136764" y="418541"/>
                  <a:pt x="7116024" y="445662"/>
                </a:cubicBezTo>
                <a:cubicBezTo>
                  <a:pt x="7097150" y="470343"/>
                  <a:pt x="7087991" y="501291"/>
                  <a:pt x="7070756" y="527143"/>
                </a:cubicBezTo>
                <a:cubicBezTo>
                  <a:pt x="7009847" y="618507"/>
                  <a:pt x="6998115" y="616720"/>
                  <a:pt x="6907794" y="690106"/>
                </a:cubicBezTo>
                <a:cubicBezTo>
                  <a:pt x="6892797" y="702291"/>
                  <a:pt x="6881273" y="721632"/>
                  <a:pt x="6862527" y="726319"/>
                </a:cubicBezTo>
                <a:cubicBezTo>
                  <a:pt x="6691159" y="769161"/>
                  <a:pt x="6767138" y="757036"/>
                  <a:pt x="6636190" y="771587"/>
                </a:cubicBezTo>
                <a:cubicBezTo>
                  <a:pt x="6428439" y="763440"/>
                  <a:pt x="6212213" y="740833"/>
                  <a:pt x="6002447" y="762533"/>
                </a:cubicBezTo>
                <a:cubicBezTo>
                  <a:pt x="5971835" y="765700"/>
                  <a:pt x="5941871" y="773591"/>
                  <a:pt x="5911913" y="780640"/>
                </a:cubicBezTo>
                <a:cubicBezTo>
                  <a:pt x="5866138" y="791411"/>
                  <a:pt x="5819359" y="807956"/>
                  <a:pt x="5776111" y="825908"/>
                </a:cubicBezTo>
                <a:cubicBezTo>
                  <a:pt x="5741239" y="840383"/>
                  <a:pt x="5270252" y="1032169"/>
                  <a:pt x="5160475" y="1097512"/>
                </a:cubicBezTo>
                <a:cubicBezTo>
                  <a:pt x="5099274" y="1133941"/>
                  <a:pt x="5048547" y="1186022"/>
                  <a:pt x="4988459" y="1224260"/>
                </a:cubicBezTo>
                <a:cubicBezTo>
                  <a:pt x="4570637" y="1490146"/>
                  <a:pt x="4665419" y="1385912"/>
                  <a:pt x="4399984" y="1604506"/>
                </a:cubicBezTo>
                <a:cubicBezTo>
                  <a:pt x="4189878" y="1777535"/>
                  <a:pt x="4241754" y="1770348"/>
                  <a:pt x="3947311" y="1966644"/>
                </a:cubicBezTo>
                <a:cubicBezTo>
                  <a:pt x="3902127" y="1996767"/>
                  <a:pt x="3806642" y="2066911"/>
                  <a:pt x="3748135" y="2084339"/>
                </a:cubicBezTo>
                <a:cubicBezTo>
                  <a:pt x="3638002" y="2117145"/>
                  <a:pt x="3527639" y="2155865"/>
                  <a:pt x="3413156" y="2165820"/>
                </a:cubicBezTo>
                <a:cubicBezTo>
                  <a:pt x="3156729" y="2188118"/>
                  <a:pt x="3274463" y="2179581"/>
                  <a:pt x="3060071" y="2192981"/>
                </a:cubicBezTo>
                <a:cubicBezTo>
                  <a:pt x="2996697" y="2183927"/>
                  <a:pt x="2930337" y="2187068"/>
                  <a:pt x="2869948" y="2165820"/>
                </a:cubicBezTo>
                <a:cubicBezTo>
                  <a:pt x="2642863" y="2085920"/>
                  <a:pt x="2434056" y="1941497"/>
                  <a:pt x="2254313" y="1785575"/>
                </a:cubicBezTo>
                <a:cubicBezTo>
                  <a:pt x="2102756" y="1654104"/>
                  <a:pt x="1963749" y="1508819"/>
                  <a:pt x="1819746" y="1369115"/>
                </a:cubicBezTo>
                <a:cubicBezTo>
                  <a:pt x="1734958" y="1286858"/>
                  <a:pt x="1634357" y="1163253"/>
                  <a:pt x="1520982" y="1106565"/>
                </a:cubicBezTo>
                <a:cubicBezTo>
                  <a:pt x="1429957" y="1061053"/>
                  <a:pt x="1101873" y="1027968"/>
                  <a:pt x="1077362" y="1025084"/>
                </a:cubicBezTo>
                <a:cubicBezTo>
                  <a:pt x="926757" y="1007366"/>
                  <a:pt x="775938" y="990750"/>
                  <a:pt x="624689" y="979816"/>
                </a:cubicBezTo>
                <a:cubicBezTo>
                  <a:pt x="453938" y="967473"/>
                  <a:pt x="167562" y="970763"/>
                  <a:pt x="0" y="970763"/>
                </a:cubicBezTo>
              </a:path>
            </a:pathLst>
          </a:custGeom>
          <a:noFill/>
          <a:ln w="38100">
            <a:solidFill>
              <a:schemeClr val="accent4"/>
            </a:solidFill>
            <a:prstDash val="dash"/>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Tree>
    <p:extLst>
      <p:ext uri="{BB962C8B-B14F-4D97-AF65-F5344CB8AC3E}">
        <p14:creationId xmlns:p14="http://schemas.microsoft.com/office/powerpoint/2010/main" val="377669749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ekstniOkvir 3">
            <a:extLst>
              <a:ext uri="{FF2B5EF4-FFF2-40B4-BE49-F238E27FC236}">
                <a16:creationId xmlns:a16="http://schemas.microsoft.com/office/drawing/2014/main" id="{3C5D7264-4CEB-AC38-83E1-5D3981150C27}"/>
              </a:ext>
            </a:extLst>
          </p:cNvPr>
          <p:cNvSpPr txBox="1"/>
          <p:nvPr/>
        </p:nvSpPr>
        <p:spPr>
          <a:xfrm>
            <a:off x="208885" y="691363"/>
            <a:ext cx="11723582" cy="1899912"/>
          </a:xfrm>
          <a:prstGeom prst="rect">
            <a:avLst/>
          </a:prstGeom>
        </p:spPr>
        <p:txBody>
          <a:bodyPr vert="horz" lIns="91440" tIns="45720" rIns="91440" bIns="45720" anchor="ctr">
            <a:normAutofit/>
          </a:bodyPr>
          <a:lstStyle/>
          <a:p>
            <a:pPr>
              <a:lnSpc>
                <a:spcPct val="90000"/>
              </a:lnSpc>
              <a:spcBef>
                <a:spcPct val="0"/>
              </a:spcBef>
              <a:spcAft>
                <a:spcPts val="600"/>
              </a:spcAft>
              <a:defRPr sz="3600"/>
            </a:pPr>
            <a:r>
              <a:t>Yayalar ve Bisikletçiler için Otopark Tasarımı ve Yönetimi</a:t>
            </a:r>
            <a:endParaRPr lang="en-US" sz="3600" b="1" dirty="0">
              <a:latin typeface="+mj-lt"/>
              <a:ea typeface="+mj-ea"/>
              <a:cs typeface="+mj-cs"/>
            </a:endParaRPr>
          </a:p>
        </p:txBody>
      </p:sp>
      <p:pic>
        <p:nvPicPr>
          <p:cNvPr id="8" name="Picture 7" descr="A picture containing wheel, tire, bicycle, transport  Description automatically generated">
            <a:extLst>
              <a:ext uri="{FF2B5EF4-FFF2-40B4-BE49-F238E27FC236}">
                <a16:creationId xmlns:a16="http://schemas.microsoft.com/office/drawing/2014/main" id="{A2274F84-8A8C-E77D-F698-B47DAC70DF31}"/>
              </a:ext>
            </a:extLst>
          </p:cNvPr>
          <p:cNvPicPr>
            <a:picLocks noChangeAspect="1"/>
          </p:cNvPicPr>
          <p:nvPr/>
        </p:nvPicPr>
        <p:blipFill>
          <a:blip r:embed="rId4"/>
          <a:stretch>
            <a:fillRect/>
          </a:stretch>
        </p:blipFill>
        <p:spPr>
          <a:xfrm>
            <a:off x="208885" y="2361533"/>
            <a:ext cx="3227861" cy="3227861"/>
          </a:xfrm>
          <a:prstGeom prst="rect">
            <a:avLst/>
          </a:prstGeom>
        </p:spPr>
      </p:pic>
      <p:pic>
        <p:nvPicPr>
          <p:cNvPr id="10" name="Picture 9" descr="A isometric illustration of bicycles and scooters  Description automatically generated with low confidence">
            <a:extLst>
              <a:ext uri="{FF2B5EF4-FFF2-40B4-BE49-F238E27FC236}">
                <a16:creationId xmlns:a16="http://schemas.microsoft.com/office/drawing/2014/main" id="{7B3D2132-FDFD-C5F0-3E66-27FD39BEAF4E}"/>
              </a:ext>
            </a:extLst>
          </p:cNvPr>
          <p:cNvPicPr>
            <a:picLocks noChangeAspect="1"/>
          </p:cNvPicPr>
          <p:nvPr/>
        </p:nvPicPr>
        <p:blipFill>
          <a:blip r:embed="rId5"/>
          <a:stretch>
            <a:fillRect/>
          </a:stretch>
        </p:blipFill>
        <p:spPr>
          <a:xfrm>
            <a:off x="8555549" y="2131790"/>
            <a:ext cx="3636451" cy="3227861"/>
          </a:xfrm>
          <a:prstGeom prst="rect">
            <a:avLst/>
          </a:prstGeom>
        </p:spPr>
      </p:pic>
      <p:graphicFrame>
        <p:nvGraphicFramePr>
          <p:cNvPr id="15" name="Diagram 14">
            <a:extLst>
              <a:ext uri="{FF2B5EF4-FFF2-40B4-BE49-F238E27FC236}">
                <a16:creationId xmlns:a16="http://schemas.microsoft.com/office/drawing/2014/main" id="{984EC269-CD94-3210-2970-3C27167EC121}"/>
              </a:ext>
            </a:extLst>
          </p:cNvPr>
          <p:cNvGraphicFramePr/>
          <p:nvPr>
            <p:extLst>
              <p:ext uri="{D42A27DB-BD31-4B8C-83A1-F6EECF244321}">
                <p14:modId xmlns:p14="http://schemas.microsoft.com/office/powerpoint/2010/main" val="3113834172"/>
              </p:ext>
            </p:extLst>
          </p:nvPr>
        </p:nvGraphicFramePr>
        <p:xfrm>
          <a:off x="3636452" y="1970766"/>
          <a:ext cx="4659564" cy="3600986"/>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355081622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ekstniOkvir 3">
            <a:extLst>
              <a:ext uri="{FF2B5EF4-FFF2-40B4-BE49-F238E27FC236}">
                <a16:creationId xmlns:a16="http://schemas.microsoft.com/office/drawing/2014/main" id="{3C5D7264-4CEB-AC38-83E1-5D3981150C27}"/>
              </a:ext>
            </a:extLst>
          </p:cNvPr>
          <p:cNvSpPr txBox="1"/>
          <p:nvPr/>
        </p:nvSpPr>
        <p:spPr>
          <a:xfrm>
            <a:off x="208885" y="691363"/>
            <a:ext cx="2977935" cy="5448114"/>
          </a:xfrm>
          <a:prstGeom prst="rect">
            <a:avLst/>
          </a:prstGeom>
        </p:spPr>
        <p:txBody>
          <a:bodyPr vert="horz" lIns="91440" tIns="45720" rIns="91440" bIns="45720" anchor="ctr">
            <a:normAutofit/>
          </a:bodyPr>
          <a:lstStyle/>
          <a:p>
            <a:pPr>
              <a:lnSpc>
                <a:spcPct val="90000"/>
              </a:lnSpc>
              <a:spcBef>
                <a:spcPct val="0"/>
              </a:spcBef>
              <a:spcAft>
                <a:spcPts val="600"/>
              </a:spcAft>
              <a:defRPr sz="3200"/>
            </a:pPr>
            <a:r>
              <a:t>Otopark uygulama ve yönetim teknolojisi</a:t>
            </a:r>
            <a:endParaRPr lang="en-US" sz="3200" b="1" dirty="0">
              <a:latin typeface="+mj-lt"/>
              <a:ea typeface="+mj-ea"/>
              <a:cs typeface="+mj-cs"/>
            </a:endParaRPr>
          </a:p>
        </p:txBody>
      </p:sp>
      <p:graphicFrame>
        <p:nvGraphicFramePr>
          <p:cNvPr id="5" name="Diagram 4">
            <a:extLst>
              <a:ext uri="{FF2B5EF4-FFF2-40B4-BE49-F238E27FC236}">
                <a16:creationId xmlns:a16="http://schemas.microsoft.com/office/drawing/2014/main" id="{C9EFC7E1-F611-0355-2EC7-D9723C245918}"/>
              </a:ext>
            </a:extLst>
          </p:cNvPr>
          <p:cNvGraphicFramePr/>
          <p:nvPr>
            <p:extLst>
              <p:ext uri="{D42A27DB-BD31-4B8C-83A1-F6EECF244321}">
                <p14:modId xmlns:p14="http://schemas.microsoft.com/office/powerpoint/2010/main" val="3624148488"/>
              </p:ext>
            </p:extLst>
          </p:nvPr>
        </p:nvGraphicFramePr>
        <p:xfrm>
          <a:off x="2480649" y="1568727"/>
          <a:ext cx="6955324" cy="419955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6" descr="A picture containing screenshot, table, design  Description automatically generated">
            <a:extLst>
              <a:ext uri="{FF2B5EF4-FFF2-40B4-BE49-F238E27FC236}">
                <a16:creationId xmlns:a16="http://schemas.microsoft.com/office/drawing/2014/main" id="{FF6F5031-13DB-F155-0AFC-6FDE54DC133A}"/>
              </a:ext>
            </a:extLst>
          </p:cNvPr>
          <p:cNvPicPr>
            <a:picLocks noChangeAspect="1"/>
          </p:cNvPicPr>
          <p:nvPr/>
        </p:nvPicPr>
        <p:blipFill>
          <a:blip r:embed="rId9"/>
          <a:stretch>
            <a:fillRect/>
          </a:stretch>
        </p:blipFill>
        <p:spPr>
          <a:xfrm>
            <a:off x="7868215" y="1500803"/>
            <a:ext cx="3947311" cy="3947311"/>
          </a:xfrm>
          <a:prstGeom prst="rect">
            <a:avLst/>
          </a:prstGeom>
          <a:effectLst>
            <a:softEdge rad="317500"/>
          </a:effectLst>
        </p:spPr>
      </p:pic>
      <p:sp>
        <p:nvSpPr>
          <p:cNvPr id="9" name="Freeform: Shape 8">
            <a:extLst>
              <a:ext uri="{FF2B5EF4-FFF2-40B4-BE49-F238E27FC236}">
                <a16:creationId xmlns:a16="http://schemas.microsoft.com/office/drawing/2014/main" id="{84DAB0A8-DDC5-FCB9-B154-4586BF51D8F0}"/>
              </a:ext>
            </a:extLst>
          </p:cNvPr>
          <p:cNvSpPr/>
          <p:nvPr/>
        </p:nvSpPr>
        <p:spPr>
          <a:xfrm>
            <a:off x="3431263" y="1158844"/>
            <a:ext cx="7613965" cy="4626320"/>
          </a:xfrm>
          <a:custGeom>
            <a:avLst/>
            <a:gdLst>
              <a:gd name="connsiteX0" fmla="*/ 4888872 w 7613965"/>
              <a:gd name="connsiteY0" fmla="*/ 0 h 4626320"/>
              <a:gd name="connsiteX1" fmla="*/ 4888872 w 7613965"/>
              <a:gd name="connsiteY1" fmla="*/ 0 h 4626320"/>
              <a:gd name="connsiteX2" fmla="*/ 4562947 w 7613965"/>
              <a:gd name="connsiteY2" fmla="*/ 126748 h 4626320"/>
              <a:gd name="connsiteX3" fmla="*/ 4372824 w 7613965"/>
              <a:gd name="connsiteY3" fmla="*/ 208229 h 4626320"/>
              <a:gd name="connsiteX4" fmla="*/ 4173648 w 7613965"/>
              <a:gd name="connsiteY4" fmla="*/ 371192 h 4626320"/>
              <a:gd name="connsiteX5" fmla="*/ 4074060 w 7613965"/>
              <a:gd name="connsiteY5" fmla="*/ 443619 h 4626320"/>
              <a:gd name="connsiteX6" fmla="*/ 3974472 w 7613965"/>
              <a:gd name="connsiteY6" fmla="*/ 461726 h 4626320"/>
              <a:gd name="connsiteX7" fmla="*/ 3494638 w 7613965"/>
              <a:gd name="connsiteY7" fmla="*/ 561314 h 4626320"/>
              <a:gd name="connsiteX8" fmla="*/ 3404103 w 7613965"/>
              <a:gd name="connsiteY8" fmla="*/ 561314 h 4626320"/>
              <a:gd name="connsiteX9" fmla="*/ 2317687 w 7613965"/>
              <a:gd name="connsiteY9" fmla="*/ 461726 h 4626320"/>
              <a:gd name="connsiteX10" fmla="*/ 1991763 w 7613965"/>
              <a:gd name="connsiteY10" fmla="*/ 479833 h 4626320"/>
              <a:gd name="connsiteX11" fmla="*/ 1348967 w 7613965"/>
              <a:gd name="connsiteY11" fmla="*/ 425512 h 4626320"/>
              <a:gd name="connsiteX12" fmla="*/ 1095470 w 7613965"/>
              <a:gd name="connsiteY12" fmla="*/ 416459 h 4626320"/>
              <a:gd name="connsiteX13" fmla="*/ 615636 w 7613965"/>
              <a:gd name="connsiteY13" fmla="*/ 506994 h 4626320"/>
              <a:gd name="connsiteX14" fmla="*/ 398353 w 7613965"/>
              <a:gd name="connsiteY14" fmla="*/ 561314 h 4626320"/>
              <a:gd name="connsiteX15" fmla="*/ 253497 w 7613965"/>
              <a:gd name="connsiteY15" fmla="*/ 624689 h 4626320"/>
              <a:gd name="connsiteX16" fmla="*/ 81482 w 7613965"/>
              <a:gd name="connsiteY16" fmla="*/ 796705 h 4626320"/>
              <a:gd name="connsiteX17" fmla="*/ 9054 w 7613965"/>
              <a:gd name="connsiteY17" fmla="*/ 1059255 h 4626320"/>
              <a:gd name="connsiteX18" fmla="*/ 45268 w 7613965"/>
              <a:gd name="connsiteY18" fmla="*/ 1466661 h 4626320"/>
              <a:gd name="connsiteX19" fmla="*/ 126749 w 7613965"/>
              <a:gd name="connsiteY19" fmla="*/ 1765425 h 4626320"/>
              <a:gd name="connsiteX20" fmla="*/ 162963 w 7613965"/>
              <a:gd name="connsiteY20" fmla="*/ 1946495 h 4626320"/>
              <a:gd name="connsiteX21" fmla="*/ 181070 w 7613965"/>
              <a:gd name="connsiteY21" fmla="*/ 2218099 h 4626320"/>
              <a:gd name="connsiteX22" fmla="*/ 172016 w 7613965"/>
              <a:gd name="connsiteY22" fmla="*/ 2716039 h 4626320"/>
              <a:gd name="connsiteX23" fmla="*/ 36214 w 7613965"/>
              <a:gd name="connsiteY23" fmla="*/ 3286407 h 4626320"/>
              <a:gd name="connsiteX24" fmla="*/ 0 w 7613965"/>
              <a:gd name="connsiteY24" fmla="*/ 3494637 h 4626320"/>
              <a:gd name="connsiteX25" fmla="*/ 36214 w 7613965"/>
              <a:gd name="connsiteY25" fmla="*/ 3784348 h 4626320"/>
              <a:gd name="connsiteX26" fmla="*/ 262551 w 7613965"/>
              <a:gd name="connsiteY26" fmla="*/ 4191754 h 4626320"/>
              <a:gd name="connsiteX27" fmla="*/ 1195058 w 7613965"/>
              <a:gd name="connsiteY27" fmla="*/ 4562946 h 4626320"/>
              <a:gd name="connsiteX28" fmla="*/ 2037030 w 7613965"/>
              <a:gd name="connsiteY28" fmla="*/ 4581053 h 4626320"/>
              <a:gd name="connsiteX29" fmla="*/ 4028792 w 7613965"/>
              <a:gd name="connsiteY29" fmla="*/ 4381877 h 4626320"/>
              <a:gd name="connsiteX30" fmla="*/ 4789284 w 7613965"/>
              <a:gd name="connsiteY30" fmla="*/ 4427144 h 4626320"/>
              <a:gd name="connsiteX31" fmla="*/ 6446068 w 7613965"/>
              <a:gd name="connsiteY31" fmla="*/ 4472411 h 4626320"/>
              <a:gd name="connsiteX32" fmla="*/ 6509442 w 7613965"/>
              <a:gd name="connsiteY32" fmla="*/ 4481465 h 4626320"/>
              <a:gd name="connsiteX33" fmla="*/ 7613965 w 7613965"/>
              <a:gd name="connsiteY33" fmla="*/ 4626320 h 46263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7613965" h="4626320">
                <a:moveTo>
                  <a:pt x="4888872" y="0"/>
                </a:moveTo>
                <a:lnTo>
                  <a:pt x="4888872" y="0"/>
                </a:lnTo>
                <a:lnTo>
                  <a:pt x="4562947" y="126748"/>
                </a:lnTo>
                <a:cubicBezTo>
                  <a:pt x="4499007" y="152548"/>
                  <a:pt x="4431216" y="171564"/>
                  <a:pt x="4372824" y="208229"/>
                </a:cubicBezTo>
                <a:cubicBezTo>
                  <a:pt x="4300176" y="253846"/>
                  <a:pt x="4243024" y="320737"/>
                  <a:pt x="4173648" y="371192"/>
                </a:cubicBezTo>
                <a:cubicBezTo>
                  <a:pt x="4140452" y="395334"/>
                  <a:pt x="4110773" y="425262"/>
                  <a:pt x="4074060" y="443619"/>
                </a:cubicBezTo>
                <a:cubicBezTo>
                  <a:pt x="4035227" y="463035"/>
                  <a:pt x="4009872" y="461726"/>
                  <a:pt x="3974472" y="461726"/>
                </a:cubicBezTo>
                <a:lnTo>
                  <a:pt x="3494638" y="561314"/>
                </a:lnTo>
                <a:lnTo>
                  <a:pt x="3404103" y="561314"/>
                </a:lnTo>
                <a:lnTo>
                  <a:pt x="2317687" y="461726"/>
                </a:lnTo>
                <a:lnTo>
                  <a:pt x="1991763" y="479833"/>
                </a:lnTo>
                <a:cubicBezTo>
                  <a:pt x="1751838" y="475128"/>
                  <a:pt x="1595013" y="443603"/>
                  <a:pt x="1348967" y="425512"/>
                </a:cubicBezTo>
                <a:cubicBezTo>
                  <a:pt x="1264642" y="419312"/>
                  <a:pt x="1179969" y="419477"/>
                  <a:pt x="1095470" y="416459"/>
                </a:cubicBezTo>
                <a:cubicBezTo>
                  <a:pt x="879795" y="452405"/>
                  <a:pt x="840838" y="456005"/>
                  <a:pt x="615636" y="506994"/>
                </a:cubicBezTo>
                <a:cubicBezTo>
                  <a:pt x="542822" y="523480"/>
                  <a:pt x="469354" y="538239"/>
                  <a:pt x="398353" y="561314"/>
                </a:cubicBezTo>
                <a:cubicBezTo>
                  <a:pt x="348229" y="577604"/>
                  <a:pt x="301782" y="603564"/>
                  <a:pt x="253497" y="624689"/>
                </a:cubicBezTo>
                <a:cubicBezTo>
                  <a:pt x="224147" y="651371"/>
                  <a:pt x="105040" y="753213"/>
                  <a:pt x="81482" y="796705"/>
                </a:cubicBezTo>
                <a:cubicBezTo>
                  <a:pt x="46656" y="860998"/>
                  <a:pt x="24382" y="987722"/>
                  <a:pt x="9054" y="1059255"/>
                </a:cubicBezTo>
                <a:cubicBezTo>
                  <a:pt x="12065" y="1102911"/>
                  <a:pt x="26511" y="1383107"/>
                  <a:pt x="45268" y="1466661"/>
                </a:cubicBezTo>
                <a:cubicBezTo>
                  <a:pt x="67878" y="1567380"/>
                  <a:pt x="106505" y="1664204"/>
                  <a:pt x="126749" y="1765425"/>
                </a:cubicBezTo>
                <a:lnTo>
                  <a:pt x="162963" y="1946495"/>
                </a:lnTo>
                <a:cubicBezTo>
                  <a:pt x="167256" y="2002308"/>
                  <a:pt x="181070" y="2172659"/>
                  <a:pt x="181070" y="2218099"/>
                </a:cubicBezTo>
                <a:cubicBezTo>
                  <a:pt x="181070" y="2384106"/>
                  <a:pt x="181099" y="2550280"/>
                  <a:pt x="172016" y="2716039"/>
                </a:cubicBezTo>
                <a:cubicBezTo>
                  <a:pt x="163310" y="2874932"/>
                  <a:pt x="52981" y="3189996"/>
                  <a:pt x="36214" y="3286407"/>
                </a:cubicBezTo>
                <a:lnTo>
                  <a:pt x="0" y="3494637"/>
                </a:lnTo>
                <a:cubicBezTo>
                  <a:pt x="12071" y="3591207"/>
                  <a:pt x="1912" y="3693271"/>
                  <a:pt x="36214" y="3784348"/>
                </a:cubicBezTo>
                <a:cubicBezTo>
                  <a:pt x="90969" y="3929731"/>
                  <a:pt x="161180" y="4074033"/>
                  <a:pt x="262551" y="4191754"/>
                </a:cubicBezTo>
                <a:cubicBezTo>
                  <a:pt x="506496" y="4475045"/>
                  <a:pt x="838665" y="4527083"/>
                  <a:pt x="1195058" y="4562946"/>
                </a:cubicBezTo>
                <a:cubicBezTo>
                  <a:pt x="1474370" y="4591053"/>
                  <a:pt x="1756373" y="4575017"/>
                  <a:pt x="2037030" y="4581053"/>
                </a:cubicBezTo>
                <a:cubicBezTo>
                  <a:pt x="2686813" y="4498238"/>
                  <a:pt x="3373780" y="4394848"/>
                  <a:pt x="4028792" y="4381877"/>
                </a:cubicBezTo>
                <a:cubicBezTo>
                  <a:pt x="4282688" y="4376849"/>
                  <a:pt x="4535708" y="4413437"/>
                  <a:pt x="4789284" y="4427144"/>
                </a:cubicBezTo>
                <a:cubicBezTo>
                  <a:pt x="5546682" y="4468085"/>
                  <a:pt x="5511235" y="4456700"/>
                  <a:pt x="6446068" y="4472411"/>
                </a:cubicBezTo>
                <a:lnTo>
                  <a:pt x="6509442" y="4481465"/>
                </a:lnTo>
                <a:lnTo>
                  <a:pt x="7613965" y="4626320"/>
                </a:lnTo>
              </a:path>
            </a:pathLst>
          </a:custGeom>
          <a:noFill/>
          <a:ln w="28575">
            <a:solidFill>
              <a:srgbClr val="92D050"/>
            </a:solidFill>
            <a:prstDash val="lgDash"/>
            <a:headEnd type="arrow" w="med" len="med"/>
            <a:tailEnd type="arrow"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Tree>
    <p:extLst>
      <p:ext uri="{BB962C8B-B14F-4D97-AF65-F5344CB8AC3E}">
        <p14:creationId xmlns:p14="http://schemas.microsoft.com/office/powerpoint/2010/main" val="146449811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ABB9A-8381-E048-B51B-ADFD36312BC9}"/>
              </a:ext>
            </a:extLst>
          </p:cNvPr>
          <p:cNvSpPr>
            <a:spLocks noGrp="1"/>
          </p:cNvSpPr>
          <p:nvPr>
            <p:ph type="ctrTitle"/>
          </p:nvPr>
        </p:nvSpPr>
        <p:spPr>
          <a:xfrm>
            <a:off x="1524000" y="2629749"/>
            <a:ext cx="9144000" cy="1598502"/>
          </a:xfrm>
        </p:spPr>
        <p:txBody>
          <a:bodyPr>
            <a:noAutofit/>
          </a:bodyPr>
          <a:lstStyle/>
          <a:p>
            <a:pPr>
              <a:defRPr b="1"/>
            </a:pPr>
            <a:r>
              <a:t>Ulaşım Planlamasında Kentsel Planlama ve Arazi Kullanımı</a:t>
            </a:r>
            <a:endParaRPr lang="en-TR" b="1" dirty="0">
              <a:latin typeface="Myriad Pro" panose="020B0503030403020204" pitchFamily="34" charset="0"/>
            </a:endParaRPr>
          </a:p>
        </p:txBody>
      </p:sp>
    </p:spTree>
    <p:extLst>
      <p:ext uri="{BB962C8B-B14F-4D97-AF65-F5344CB8AC3E}">
        <p14:creationId xmlns:p14="http://schemas.microsoft.com/office/powerpoint/2010/main" val="1893294922"/>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10" name="Diagram 9">
            <a:extLst>
              <a:ext uri="{FF2B5EF4-FFF2-40B4-BE49-F238E27FC236}">
                <a16:creationId xmlns:a16="http://schemas.microsoft.com/office/drawing/2014/main" id="{3FD0ACB4-9033-7B07-58F5-C1208CC46DE6}"/>
              </a:ext>
            </a:extLst>
          </p:cNvPr>
          <p:cNvGraphicFramePr/>
          <p:nvPr>
            <p:extLst>
              <p:ext uri="{D42A27DB-BD31-4B8C-83A1-F6EECF244321}">
                <p14:modId xmlns:p14="http://schemas.microsoft.com/office/powerpoint/2010/main" val="509559851"/>
              </p:ext>
            </p:extLst>
          </p:nvPr>
        </p:nvGraphicFramePr>
        <p:xfrm>
          <a:off x="810286" y="1168329"/>
          <a:ext cx="6129196" cy="55092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extBox 3">
            <a:extLst>
              <a:ext uri="{FF2B5EF4-FFF2-40B4-BE49-F238E27FC236}">
                <a16:creationId xmlns:a16="http://schemas.microsoft.com/office/drawing/2014/main" id="{CC803874-36B0-C9C1-1ED3-8395B8FBBEFE}"/>
              </a:ext>
            </a:extLst>
          </p:cNvPr>
          <p:cNvSpPr txBox="1"/>
          <p:nvPr/>
        </p:nvSpPr>
        <p:spPr>
          <a:xfrm>
            <a:off x="0" y="1279236"/>
            <a:ext cx="8859569" cy="584775"/>
          </a:xfrm>
          <a:prstGeom prst="rect">
            <a:avLst/>
          </a:prstGeom>
          <a:noFill/>
        </p:spPr>
        <p:txBody>
          <a:bodyPr wrap="square">
            <a:spAutoFit/>
          </a:bodyPr>
          <a:lstStyle/>
          <a:p>
            <a:pPr>
              <a:defRPr sz="3200"/>
            </a:pPr>
            <a:r>
              <a:t>Ulaşım Planlamasında Kentsel Planlama ve Arazi Kullanımı</a:t>
            </a:r>
          </a:p>
        </p:txBody>
      </p:sp>
      <p:pic>
        <p:nvPicPr>
          <p:cNvPr id="12" name="Picture 11" descr="A picture containing aerial, aerial photography, bird's-eye view, urban design  Description automatically generated">
            <a:extLst>
              <a:ext uri="{FF2B5EF4-FFF2-40B4-BE49-F238E27FC236}">
                <a16:creationId xmlns:a16="http://schemas.microsoft.com/office/drawing/2014/main" id="{E87C0364-296E-05CE-A6E3-0020CD37E3CD}"/>
              </a:ext>
            </a:extLst>
          </p:cNvPr>
          <p:cNvPicPr>
            <a:picLocks noChangeAspect="1"/>
          </p:cNvPicPr>
          <p:nvPr/>
        </p:nvPicPr>
        <p:blipFill>
          <a:blip r:embed="rId9"/>
          <a:stretch>
            <a:fillRect/>
          </a:stretch>
        </p:blipFill>
        <p:spPr>
          <a:xfrm>
            <a:off x="7973785" y="3570793"/>
            <a:ext cx="3582956" cy="2388637"/>
          </a:xfrm>
          <a:prstGeom prst="rect">
            <a:avLst/>
          </a:prstGeom>
        </p:spPr>
      </p:pic>
      <p:pic>
        <p:nvPicPr>
          <p:cNvPr id="14" name="Picture 13" descr="A picture containing map, child art, drawing, stationery  Description automatically generated">
            <a:extLst>
              <a:ext uri="{FF2B5EF4-FFF2-40B4-BE49-F238E27FC236}">
                <a16:creationId xmlns:a16="http://schemas.microsoft.com/office/drawing/2014/main" id="{0D38A6EB-712B-EEE2-C6C0-9AEAD24FF945}"/>
              </a:ext>
            </a:extLst>
          </p:cNvPr>
          <p:cNvPicPr>
            <a:picLocks noChangeAspect="1"/>
          </p:cNvPicPr>
          <p:nvPr/>
        </p:nvPicPr>
        <p:blipFill>
          <a:blip r:embed="rId10"/>
          <a:stretch>
            <a:fillRect/>
          </a:stretch>
        </p:blipFill>
        <p:spPr>
          <a:xfrm>
            <a:off x="4142792" y="4300243"/>
            <a:ext cx="2488780" cy="1659187"/>
          </a:xfrm>
          <a:prstGeom prst="rect">
            <a:avLst/>
          </a:prstGeom>
        </p:spPr>
      </p:pic>
      <p:pic>
        <p:nvPicPr>
          <p:cNvPr id="16" name="Picture 15">
            <a:extLst>
              <a:ext uri="{FF2B5EF4-FFF2-40B4-BE49-F238E27FC236}">
                <a16:creationId xmlns:a16="http://schemas.microsoft.com/office/drawing/2014/main" id="{96F68E33-9D53-585C-6F2C-FED61E9DA271}"/>
              </a:ext>
            </a:extLst>
          </p:cNvPr>
          <p:cNvPicPr>
            <a:picLocks noChangeAspect="1"/>
          </p:cNvPicPr>
          <p:nvPr/>
        </p:nvPicPr>
        <p:blipFill>
          <a:blip r:embed="rId11"/>
          <a:stretch>
            <a:fillRect/>
          </a:stretch>
        </p:blipFill>
        <p:spPr>
          <a:xfrm>
            <a:off x="7586295" y="1864011"/>
            <a:ext cx="4167119" cy="1521904"/>
          </a:xfrm>
          <a:prstGeom prst="rect">
            <a:avLst/>
          </a:prstGeom>
        </p:spPr>
      </p:pic>
    </p:spTree>
    <p:extLst>
      <p:ext uri="{BB962C8B-B14F-4D97-AF65-F5344CB8AC3E}">
        <p14:creationId xmlns:p14="http://schemas.microsoft.com/office/powerpoint/2010/main" val="268292820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C803874-36B0-C9C1-1ED3-8395B8FBBEFE}"/>
              </a:ext>
            </a:extLst>
          </p:cNvPr>
          <p:cNvSpPr txBox="1"/>
          <p:nvPr/>
        </p:nvSpPr>
        <p:spPr>
          <a:xfrm>
            <a:off x="1149792" y="1511438"/>
            <a:ext cx="6726724" cy="1077218"/>
          </a:xfrm>
          <a:prstGeom prst="rect">
            <a:avLst/>
          </a:prstGeom>
          <a:noFill/>
        </p:spPr>
        <p:txBody>
          <a:bodyPr wrap="square">
            <a:spAutoFit/>
          </a:bodyPr>
          <a:lstStyle/>
          <a:p>
            <a:pPr>
              <a:defRPr sz="3200"/>
            </a:pPr>
            <a:r>
              <a:t>Ulaşım Planlamasında Kentsel Planlama ve Arazi Kullanımının Önemi</a:t>
            </a:r>
          </a:p>
        </p:txBody>
      </p:sp>
      <p:graphicFrame>
        <p:nvGraphicFramePr>
          <p:cNvPr id="9" name="Diagram 8">
            <a:extLst>
              <a:ext uri="{FF2B5EF4-FFF2-40B4-BE49-F238E27FC236}">
                <a16:creationId xmlns:a16="http://schemas.microsoft.com/office/drawing/2014/main" id="{8279BFDC-7F7B-660B-5743-F6F70165BFD8}"/>
              </a:ext>
            </a:extLst>
          </p:cNvPr>
          <p:cNvGraphicFramePr/>
          <p:nvPr>
            <p:extLst>
              <p:ext uri="{D42A27DB-BD31-4B8C-83A1-F6EECF244321}">
                <p14:modId xmlns:p14="http://schemas.microsoft.com/office/powerpoint/2010/main" val="1965625988"/>
              </p:ext>
            </p:extLst>
          </p:nvPr>
        </p:nvGraphicFramePr>
        <p:xfrm>
          <a:off x="259195" y="2781967"/>
          <a:ext cx="8292973" cy="317240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5" descr="A picture containing LEGO, playground  Description automatically generated">
            <a:extLst>
              <a:ext uri="{FF2B5EF4-FFF2-40B4-BE49-F238E27FC236}">
                <a16:creationId xmlns:a16="http://schemas.microsoft.com/office/drawing/2014/main" id="{FA4E5D70-ED18-F93B-357D-1AF8E4F0B7D6}"/>
              </a:ext>
            </a:extLst>
          </p:cNvPr>
          <p:cNvPicPr>
            <a:picLocks noChangeAspect="1"/>
          </p:cNvPicPr>
          <p:nvPr/>
        </p:nvPicPr>
        <p:blipFill>
          <a:blip r:embed="rId9"/>
          <a:stretch>
            <a:fillRect/>
          </a:stretch>
        </p:blipFill>
        <p:spPr>
          <a:xfrm>
            <a:off x="175666" y="4368171"/>
            <a:ext cx="1464889" cy="1464889"/>
          </a:xfrm>
          <a:prstGeom prst="rect">
            <a:avLst/>
          </a:prstGeom>
        </p:spPr>
      </p:pic>
      <p:pic>
        <p:nvPicPr>
          <p:cNvPr id="13" name="Picture 12" descr="A picture containing screenshot, LEGO, design  Description automatically generated">
            <a:extLst>
              <a:ext uri="{FF2B5EF4-FFF2-40B4-BE49-F238E27FC236}">
                <a16:creationId xmlns:a16="http://schemas.microsoft.com/office/drawing/2014/main" id="{D2E9FA25-36C1-A8BA-8847-1690E10F349A}"/>
              </a:ext>
            </a:extLst>
          </p:cNvPr>
          <p:cNvPicPr>
            <a:picLocks noChangeAspect="1"/>
          </p:cNvPicPr>
          <p:nvPr/>
        </p:nvPicPr>
        <p:blipFill>
          <a:blip r:embed="rId10"/>
          <a:stretch>
            <a:fillRect/>
          </a:stretch>
        </p:blipFill>
        <p:spPr>
          <a:xfrm>
            <a:off x="8425544" y="1021233"/>
            <a:ext cx="2840607" cy="2602610"/>
          </a:xfrm>
          <a:prstGeom prst="rect">
            <a:avLst/>
          </a:prstGeom>
          <a:effectLst>
            <a:softEdge rad="317500"/>
          </a:effectLst>
        </p:spPr>
      </p:pic>
    </p:spTree>
    <p:extLst>
      <p:ext uri="{BB962C8B-B14F-4D97-AF65-F5344CB8AC3E}">
        <p14:creationId xmlns:p14="http://schemas.microsoft.com/office/powerpoint/2010/main" val="6177829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ekstniOkvir 3">
            <a:extLst>
              <a:ext uri="{FF2B5EF4-FFF2-40B4-BE49-F238E27FC236}">
                <a16:creationId xmlns:a16="http://schemas.microsoft.com/office/drawing/2014/main" id="{C1A4B6EF-92E5-DF33-3D2C-52C9D93BA179}"/>
              </a:ext>
            </a:extLst>
          </p:cNvPr>
          <p:cNvSpPr txBox="1"/>
          <p:nvPr/>
        </p:nvSpPr>
        <p:spPr>
          <a:xfrm>
            <a:off x="-33102" y="1474891"/>
            <a:ext cx="6129102" cy="584775"/>
          </a:xfrm>
          <a:prstGeom prst="rect">
            <a:avLst/>
          </a:prstGeom>
          <a:noFill/>
        </p:spPr>
        <p:txBody>
          <a:bodyPr wrap="square">
            <a:spAutoFit/>
          </a:bodyPr>
          <a:lstStyle/>
          <a:p>
            <a:pPr algn="ctr">
              <a:defRPr sz="3200"/>
            </a:pPr>
            <a:r>
              <a:t>Ulaşım Planlama Süreci</a:t>
            </a:r>
            <a:endParaRPr lang="hr-HR" sz="3200" b="1" dirty="0">
              <a:ea typeface="MS Mincho" panose="02020609040205080304" pitchFamily="49" charset="-128"/>
              <a:cs typeface="Calibri" panose="020F0502020204030204" pitchFamily="34" charset="0"/>
            </a:endParaRPr>
          </a:p>
        </p:txBody>
      </p:sp>
      <p:sp>
        <p:nvSpPr>
          <p:cNvPr id="3" name="Rectangle 6">
            <a:extLst>
              <a:ext uri="{FF2B5EF4-FFF2-40B4-BE49-F238E27FC236}">
                <a16:creationId xmlns:a16="http://schemas.microsoft.com/office/drawing/2014/main" id="{39F4CD4C-5FEF-E3F5-5CEF-E076D36D39F5}"/>
              </a:ext>
            </a:extLst>
          </p:cNvPr>
          <p:cNvSpPr>
            <a:spLocks noChangeArrowheads="1"/>
          </p:cNvSpPr>
          <p:nvPr/>
        </p:nvSpPr>
        <p:spPr bwMode="auto">
          <a:xfrm>
            <a:off x="615731" y="2822248"/>
            <a:ext cx="4740040" cy="2585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tabLst/>
              <a:defRPr altLang="en-US" sz="1800">
                <a:ln>
                  <a:noFill/>
                </a:ln>
                <a:solidFill>
                  <a:schemeClr val="tx1"/>
                </a:solidFill>
                <a:effectLst/>
              </a:defRPr>
            </a:pPr>
            <a:r>
              <a:rPr dirty="0" err="1"/>
              <a:t>Adım</a:t>
            </a:r>
            <a:r>
              <a:rPr dirty="0"/>
              <a:t> 3: </a:t>
            </a:r>
            <a:r>
              <a:rPr dirty="0" err="1"/>
              <a:t>Ağ</a:t>
            </a:r>
            <a:r>
              <a:rPr dirty="0"/>
              <a:t> </a:t>
            </a:r>
            <a:r>
              <a:rPr dirty="0" err="1"/>
              <a:t>ve</a:t>
            </a:r>
            <a:r>
              <a:rPr dirty="0"/>
              <a:t> </a:t>
            </a:r>
            <a:r>
              <a:rPr dirty="0" err="1"/>
              <a:t>Altyapı</a:t>
            </a:r>
            <a:r>
              <a:rPr dirty="0"/>
              <a:t> </a:t>
            </a:r>
            <a:r>
              <a:rPr dirty="0" err="1"/>
              <a:t>Planlaması</a:t>
            </a:r>
            <a:endParaRPr kumimoji="0" lang="hr-HR" altLang="en-US" sz="1800" b="0" i="0" u="none" strike="noStrike" cap="none" normalizeH="0" baseline="0" dirty="0">
              <a:ln>
                <a:noFill/>
              </a:ln>
              <a:solidFill>
                <a:schemeClr val="tx1"/>
              </a:solidFill>
              <a:effectLst/>
            </a:endParaRPr>
          </a:p>
          <a:p>
            <a:pPr marL="0" marR="0" lvl="0" indent="0" algn="just" defTabSz="914400" rtl="0" eaLnBrk="0" fontAlgn="base" latinLnBrk="0" hangingPunct="0">
              <a:lnSpc>
                <a:spcPct val="100000"/>
              </a:lnSpc>
              <a:spcBef>
                <a:spcPct val="0"/>
              </a:spcBef>
              <a:spcAft>
                <a:spcPct val="0"/>
              </a:spcAft>
              <a:buClrTx/>
              <a:buSzTx/>
              <a:tabLst/>
            </a:pPr>
            <a:endParaRPr kumimoji="0" lang="en-US" altLang="en-US" sz="1800" b="0" i="0" u="none" strike="noStrike" cap="none" normalizeH="0" baseline="0" dirty="0">
              <a:ln>
                <a:noFill/>
              </a:ln>
              <a:solidFill>
                <a:schemeClr val="tx1"/>
              </a:solidFill>
              <a:effectLst/>
            </a:endParaRPr>
          </a:p>
          <a:p>
            <a:pPr marL="285750" marR="0" lvl="0" indent="-285750" algn="just" defTabSz="914400" rtl="0" eaLnBrk="0" fontAlgn="base" latinLnBrk="0" hangingPunct="0">
              <a:lnSpc>
                <a:spcPct val="100000"/>
              </a:lnSpc>
              <a:spcBef>
                <a:spcPct val="0"/>
              </a:spcBef>
              <a:spcAft>
                <a:spcPct val="0"/>
              </a:spcAft>
              <a:buClrTx/>
              <a:buSzTx/>
              <a:buFont typeface="Arial" panose="020B0604020202020204" pitchFamily="34" charset="0"/>
              <a:buChar char="•"/>
              <a:tabLst/>
              <a:defRPr altLang="en-US" sz="1800">
                <a:ln>
                  <a:noFill/>
                </a:ln>
                <a:solidFill>
                  <a:schemeClr val="tx1"/>
                </a:solidFill>
                <a:effectLst/>
              </a:defRPr>
            </a:pPr>
            <a:r>
              <a:rPr dirty="0" err="1"/>
              <a:t>Yol</a:t>
            </a:r>
            <a:r>
              <a:rPr dirty="0"/>
              <a:t> </a:t>
            </a:r>
            <a:r>
              <a:rPr dirty="0" err="1"/>
              <a:t>ağları</a:t>
            </a:r>
            <a:r>
              <a:rPr dirty="0"/>
              <a:t>, </a:t>
            </a:r>
            <a:r>
              <a:rPr dirty="0" err="1"/>
              <a:t>toplu</a:t>
            </a:r>
            <a:r>
              <a:rPr dirty="0"/>
              <a:t> </a:t>
            </a:r>
            <a:r>
              <a:rPr dirty="0" err="1"/>
              <a:t>taşıma</a:t>
            </a:r>
            <a:r>
              <a:rPr dirty="0"/>
              <a:t> </a:t>
            </a:r>
            <a:r>
              <a:rPr dirty="0" err="1"/>
              <a:t>rotaları</a:t>
            </a:r>
            <a:r>
              <a:rPr dirty="0"/>
              <a:t>, </a:t>
            </a:r>
            <a:r>
              <a:rPr dirty="0" err="1"/>
              <a:t>bisiklet</a:t>
            </a:r>
            <a:r>
              <a:rPr dirty="0"/>
              <a:t> </a:t>
            </a:r>
            <a:r>
              <a:rPr lang="tr-TR" dirty="0"/>
              <a:t>ve yaya </a:t>
            </a:r>
            <a:r>
              <a:rPr dirty="0" err="1"/>
              <a:t>altyapısı</a:t>
            </a:r>
            <a:r>
              <a:rPr lang="tr-TR" dirty="0"/>
              <a:t>nı </a:t>
            </a:r>
            <a:r>
              <a:rPr dirty="0" err="1"/>
              <a:t>içeren</a:t>
            </a:r>
            <a:r>
              <a:rPr dirty="0"/>
              <a:t> </a:t>
            </a:r>
            <a:r>
              <a:rPr dirty="0" err="1"/>
              <a:t>bir</a:t>
            </a:r>
            <a:r>
              <a:rPr dirty="0"/>
              <a:t> </a:t>
            </a:r>
            <a:r>
              <a:rPr dirty="0" err="1"/>
              <a:t>ulaşım</a:t>
            </a:r>
            <a:r>
              <a:rPr dirty="0"/>
              <a:t> </a:t>
            </a:r>
            <a:r>
              <a:rPr dirty="0" err="1"/>
              <a:t>ağı</a:t>
            </a:r>
            <a:r>
              <a:rPr dirty="0"/>
              <a:t> </a:t>
            </a:r>
            <a:r>
              <a:rPr dirty="0" err="1"/>
              <a:t>planı</a:t>
            </a:r>
            <a:r>
              <a:rPr dirty="0"/>
              <a:t> </a:t>
            </a:r>
            <a:r>
              <a:rPr dirty="0" err="1"/>
              <a:t>hazırlanır</a:t>
            </a:r>
            <a:r>
              <a:rPr dirty="0"/>
              <a:t>.</a:t>
            </a:r>
            <a:endParaRPr kumimoji="0" lang="hr-HR" altLang="en-US" sz="1800" b="0" i="0" u="none" strike="noStrike" cap="none" normalizeH="0" baseline="0" dirty="0">
              <a:ln>
                <a:noFill/>
              </a:ln>
              <a:solidFill>
                <a:schemeClr val="tx1"/>
              </a:solidFill>
              <a:effectLst/>
            </a:endParaRPr>
          </a:p>
          <a:p>
            <a:pPr marL="285750" marR="0" lvl="0" indent="-285750" algn="just" defTabSz="914400" rtl="0" eaLnBrk="0" fontAlgn="base" latinLnBrk="0" hangingPunct="0">
              <a:lnSpc>
                <a:spcPct val="100000"/>
              </a:lnSpc>
              <a:spcBef>
                <a:spcPct val="0"/>
              </a:spcBef>
              <a:spcAft>
                <a:spcPct val="0"/>
              </a:spcAft>
              <a:buClrTx/>
              <a:buSzTx/>
              <a:buFont typeface="Arial" panose="020B0604020202020204" pitchFamily="34" charset="0"/>
              <a:buChar char="•"/>
              <a:tabLst/>
              <a:defRPr altLang="en-US" sz="1800">
                <a:ln>
                  <a:noFill/>
                </a:ln>
                <a:solidFill>
                  <a:schemeClr val="tx1"/>
                </a:solidFill>
                <a:effectLst/>
              </a:defRPr>
            </a:pPr>
            <a:r>
              <a:rPr dirty="0" err="1"/>
              <a:t>Gelecekteki</a:t>
            </a:r>
            <a:r>
              <a:rPr dirty="0"/>
              <a:t> </a:t>
            </a:r>
            <a:r>
              <a:rPr dirty="0" err="1"/>
              <a:t>talep</a:t>
            </a:r>
            <a:r>
              <a:rPr dirty="0"/>
              <a:t> </a:t>
            </a:r>
            <a:r>
              <a:rPr dirty="0" err="1"/>
              <a:t>kapasite</a:t>
            </a:r>
            <a:r>
              <a:rPr dirty="0"/>
              <a:t> </a:t>
            </a:r>
            <a:r>
              <a:rPr dirty="0" err="1"/>
              <a:t>kısıtlamaları</a:t>
            </a:r>
            <a:r>
              <a:rPr dirty="0"/>
              <a:t> </a:t>
            </a:r>
            <a:r>
              <a:rPr dirty="0" err="1"/>
              <a:t>ve</a:t>
            </a:r>
            <a:r>
              <a:rPr dirty="0"/>
              <a:t> </a:t>
            </a:r>
            <a:r>
              <a:rPr dirty="0" err="1"/>
              <a:t>arazi</a:t>
            </a:r>
            <a:r>
              <a:rPr dirty="0"/>
              <a:t> </a:t>
            </a:r>
            <a:r>
              <a:rPr dirty="0" err="1"/>
              <a:t>kullanım</a:t>
            </a:r>
            <a:r>
              <a:rPr dirty="0"/>
              <a:t> </a:t>
            </a:r>
            <a:r>
              <a:rPr dirty="0" err="1"/>
              <a:t>planlaması</a:t>
            </a:r>
            <a:r>
              <a:rPr dirty="0"/>
              <a:t> </a:t>
            </a:r>
            <a:r>
              <a:rPr dirty="0" err="1"/>
              <a:t>ile</a:t>
            </a:r>
            <a:r>
              <a:rPr dirty="0"/>
              <a:t> </a:t>
            </a:r>
            <a:r>
              <a:rPr dirty="0" err="1"/>
              <a:t>entegrasyon</a:t>
            </a:r>
            <a:r>
              <a:rPr dirty="0"/>
              <a:t> </a:t>
            </a:r>
            <a:r>
              <a:rPr dirty="0" err="1"/>
              <a:t>göz</a:t>
            </a:r>
            <a:r>
              <a:rPr dirty="0"/>
              <a:t> </a:t>
            </a:r>
            <a:r>
              <a:rPr dirty="0" err="1"/>
              <a:t>önünde</a:t>
            </a:r>
            <a:r>
              <a:rPr dirty="0"/>
              <a:t> </a:t>
            </a:r>
            <a:r>
              <a:rPr dirty="0" err="1"/>
              <a:t>bulundurulur</a:t>
            </a:r>
            <a:r>
              <a:rPr dirty="0"/>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endParaRPr>
          </a:p>
        </p:txBody>
      </p:sp>
      <p:pic>
        <p:nvPicPr>
          <p:cNvPr id="4" name="Picture 3" descr="A map of a city  Description automatically generated with low confidence">
            <a:extLst>
              <a:ext uri="{FF2B5EF4-FFF2-40B4-BE49-F238E27FC236}">
                <a16:creationId xmlns:a16="http://schemas.microsoft.com/office/drawing/2014/main" id="{E50EE29F-5D03-5AD0-68B7-1DAE681002E0}"/>
              </a:ext>
            </a:extLst>
          </p:cNvPr>
          <p:cNvPicPr>
            <a:picLocks noChangeAspect="1"/>
          </p:cNvPicPr>
          <p:nvPr/>
        </p:nvPicPr>
        <p:blipFill>
          <a:blip r:embed="rId4"/>
          <a:stretch>
            <a:fillRect/>
          </a:stretch>
        </p:blipFill>
        <p:spPr>
          <a:xfrm>
            <a:off x="7041505" y="1399592"/>
            <a:ext cx="4646645" cy="4646645"/>
          </a:xfrm>
          <a:prstGeom prst="snip2DiagRect">
            <a:avLst>
              <a:gd name="adj1" fmla="val 0"/>
              <a:gd name="adj2" fmla="val 23088"/>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8275184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C803874-36B0-C9C1-1ED3-8395B8FBBEFE}"/>
              </a:ext>
            </a:extLst>
          </p:cNvPr>
          <p:cNvSpPr txBox="1"/>
          <p:nvPr/>
        </p:nvSpPr>
        <p:spPr>
          <a:xfrm>
            <a:off x="362139" y="1212674"/>
            <a:ext cx="7170343" cy="584775"/>
          </a:xfrm>
          <a:prstGeom prst="rect">
            <a:avLst/>
          </a:prstGeom>
          <a:noFill/>
        </p:spPr>
        <p:txBody>
          <a:bodyPr wrap="square">
            <a:spAutoFit/>
          </a:bodyPr>
          <a:lstStyle/>
          <a:p>
            <a:pPr>
              <a:defRPr sz="3200"/>
            </a:pPr>
            <a:r>
              <a:rPr dirty="0"/>
              <a:t>Kentsel </a:t>
            </a:r>
            <a:r>
              <a:rPr dirty="0" err="1"/>
              <a:t>Planlama</a:t>
            </a:r>
            <a:r>
              <a:rPr dirty="0"/>
              <a:t> </a:t>
            </a:r>
            <a:r>
              <a:rPr dirty="0" err="1"/>
              <a:t>ve</a:t>
            </a:r>
            <a:r>
              <a:rPr dirty="0"/>
              <a:t> </a:t>
            </a:r>
            <a:r>
              <a:rPr dirty="0" err="1"/>
              <a:t>Arazi</a:t>
            </a:r>
            <a:r>
              <a:rPr dirty="0"/>
              <a:t> </a:t>
            </a:r>
            <a:r>
              <a:rPr dirty="0" err="1"/>
              <a:t>Kullanımı</a:t>
            </a:r>
            <a:r>
              <a:rPr dirty="0"/>
              <a:t> </a:t>
            </a:r>
            <a:r>
              <a:rPr dirty="0" err="1"/>
              <a:t>Örnekleri</a:t>
            </a:r>
            <a:endParaRPr dirty="0"/>
          </a:p>
        </p:txBody>
      </p:sp>
      <p:graphicFrame>
        <p:nvGraphicFramePr>
          <p:cNvPr id="5" name="Diagram 4">
            <a:extLst>
              <a:ext uri="{FF2B5EF4-FFF2-40B4-BE49-F238E27FC236}">
                <a16:creationId xmlns:a16="http://schemas.microsoft.com/office/drawing/2014/main" id="{9E43047C-F26E-2B3A-3F3C-4A54C21D784C}"/>
              </a:ext>
            </a:extLst>
          </p:cNvPr>
          <p:cNvGraphicFramePr/>
          <p:nvPr>
            <p:extLst>
              <p:ext uri="{D42A27DB-BD31-4B8C-83A1-F6EECF244321}">
                <p14:modId xmlns:p14="http://schemas.microsoft.com/office/powerpoint/2010/main" val="772922748"/>
              </p:ext>
            </p:extLst>
          </p:nvPr>
        </p:nvGraphicFramePr>
        <p:xfrm>
          <a:off x="809153" y="1918032"/>
          <a:ext cx="7510982" cy="389025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8" name="Picture 7" descr="A picture containing text, screenshot, design  Description automatically generated">
            <a:extLst>
              <a:ext uri="{FF2B5EF4-FFF2-40B4-BE49-F238E27FC236}">
                <a16:creationId xmlns:a16="http://schemas.microsoft.com/office/drawing/2014/main" id="{700424F3-5423-18F6-A9C2-E49AE3B6E2C4}"/>
              </a:ext>
            </a:extLst>
          </p:cNvPr>
          <p:cNvPicPr>
            <a:picLocks noChangeAspect="1"/>
          </p:cNvPicPr>
          <p:nvPr/>
        </p:nvPicPr>
        <p:blipFill>
          <a:blip r:embed="rId9"/>
          <a:stretch>
            <a:fillRect/>
          </a:stretch>
        </p:blipFill>
        <p:spPr>
          <a:xfrm>
            <a:off x="8401417" y="1416868"/>
            <a:ext cx="3535543" cy="4815982"/>
          </a:xfrm>
          <a:prstGeom prst="rect">
            <a:avLst/>
          </a:prstGeom>
          <a:effectLst>
            <a:softEdge rad="317500"/>
          </a:effectLst>
        </p:spPr>
      </p:pic>
      <p:sp>
        <p:nvSpPr>
          <p:cNvPr id="10" name="Freeform: Shape 9">
            <a:extLst>
              <a:ext uri="{FF2B5EF4-FFF2-40B4-BE49-F238E27FC236}">
                <a16:creationId xmlns:a16="http://schemas.microsoft.com/office/drawing/2014/main" id="{DED0880A-4FB3-12FD-8BD9-E609A3990911}"/>
              </a:ext>
            </a:extLst>
          </p:cNvPr>
          <p:cNvSpPr/>
          <p:nvPr/>
        </p:nvSpPr>
        <p:spPr>
          <a:xfrm>
            <a:off x="4753069" y="1416868"/>
            <a:ext cx="4734963" cy="4593329"/>
          </a:xfrm>
          <a:custGeom>
            <a:avLst/>
            <a:gdLst>
              <a:gd name="connsiteX0" fmla="*/ 5305331 w 5305331"/>
              <a:gd name="connsiteY0" fmla="*/ 9052 h 4092165"/>
              <a:gd name="connsiteX1" fmla="*/ 5305331 w 5305331"/>
              <a:gd name="connsiteY1" fmla="*/ 9052 h 4092165"/>
              <a:gd name="connsiteX2" fmla="*/ 4572000 w 5305331"/>
              <a:gd name="connsiteY2" fmla="*/ 18106 h 4092165"/>
              <a:gd name="connsiteX3" fmla="*/ 4472412 w 5305331"/>
              <a:gd name="connsiteY3" fmla="*/ 54320 h 4092165"/>
              <a:gd name="connsiteX4" fmla="*/ 4372824 w 5305331"/>
              <a:gd name="connsiteY4" fmla="*/ 135801 h 4092165"/>
              <a:gd name="connsiteX5" fmla="*/ 4282290 w 5305331"/>
              <a:gd name="connsiteY5" fmla="*/ 253496 h 4092165"/>
              <a:gd name="connsiteX6" fmla="*/ 4227969 w 5305331"/>
              <a:gd name="connsiteY6" fmla="*/ 362137 h 4092165"/>
              <a:gd name="connsiteX7" fmla="*/ 4128381 w 5305331"/>
              <a:gd name="connsiteY7" fmla="*/ 688062 h 4092165"/>
              <a:gd name="connsiteX8" fmla="*/ 4110274 w 5305331"/>
              <a:gd name="connsiteY8" fmla="*/ 905345 h 4092165"/>
              <a:gd name="connsiteX9" fmla="*/ 4137434 w 5305331"/>
              <a:gd name="connsiteY9" fmla="*/ 1285591 h 4092165"/>
              <a:gd name="connsiteX10" fmla="*/ 4110274 w 5305331"/>
              <a:gd name="connsiteY10" fmla="*/ 2209044 h 4092165"/>
              <a:gd name="connsiteX11" fmla="*/ 3865830 w 5305331"/>
              <a:gd name="connsiteY11" fmla="*/ 3078177 h 4092165"/>
              <a:gd name="connsiteX12" fmla="*/ 3630440 w 5305331"/>
              <a:gd name="connsiteY12" fmla="*/ 3567064 h 4092165"/>
              <a:gd name="connsiteX13" fmla="*/ 3132499 w 5305331"/>
              <a:gd name="connsiteY13" fmla="*/ 3883935 h 4092165"/>
              <a:gd name="connsiteX14" fmla="*/ 2815628 w 5305331"/>
              <a:gd name="connsiteY14" fmla="*/ 3965417 h 4092165"/>
              <a:gd name="connsiteX15" fmla="*/ 2390115 w 5305331"/>
              <a:gd name="connsiteY15" fmla="*/ 4092165 h 4092165"/>
              <a:gd name="connsiteX16" fmla="*/ 1964602 w 5305331"/>
              <a:gd name="connsiteY16" fmla="*/ 4074058 h 4092165"/>
              <a:gd name="connsiteX17" fmla="*/ 1792587 w 5305331"/>
              <a:gd name="connsiteY17" fmla="*/ 4046898 h 4092165"/>
              <a:gd name="connsiteX18" fmla="*/ 1611517 w 5305331"/>
              <a:gd name="connsiteY18" fmla="*/ 4010684 h 4092165"/>
              <a:gd name="connsiteX19" fmla="*/ 1149791 w 5305331"/>
              <a:gd name="connsiteY19" fmla="*/ 3838668 h 4092165"/>
              <a:gd name="connsiteX20" fmla="*/ 869133 w 5305331"/>
              <a:gd name="connsiteY20" fmla="*/ 3657599 h 4092165"/>
              <a:gd name="connsiteX21" fmla="*/ 516048 w 5305331"/>
              <a:gd name="connsiteY21" fmla="*/ 3458423 h 4092165"/>
              <a:gd name="connsiteX22" fmla="*/ 226337 w 5305331"/>
              <a:gd name="connsiteY22" fmla="*/ 3313567 h 4092165"/>
              <a:gd name="connsiteX23" fmla="*/ 172016 w 5305331"/>
              <a:gd name="connsiteY23" fmla="*/ 3277353 h 4092165"/>
              <a:gd name="connsiteX24" fmla="*/ 27161 w 5305331"/>
              <a:gd name="connsiteY24" fmla="*/ 3141551 h 4092165"/>
              <a:gd name="connsiteX25" fmla="*/ 0 w 5305331"/>
              <a:gd name="connsiteY25" fmla="*/ 3132498 h 4092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5305331" h="4092165">
                <a:moveTo>
                  <a:pt x="5305331" y="9052"/>
                </a:moveTo>
                <a:lnTo>
                  <a:pt x="5305331" y="9052"/>
                </a:lnTo>
                <a:cubicBezTo>
                  <a:pt x="5061918" y="3520"/>
                  <a:pt x="4815035" y="-12273"/>
                  <a:pt x="4572000" y="18106"/>
                </a:cubicBezTo>
                <a:cubicBezTo>
                  <a:pt x="4536950" y="22487"/>
                  <a:pt x="4505608" y="42249"/>
                  <a:pt x="4472412" y="54320"/>
                </a:cubicBezTo>
                <a:cubicBezTo>
                  <a:pt x="4439216" y="81480"/>
                  <a:pt x="4402439" y="104775"/>
                  <a:pt x="4372824" y="135801"/>
                </a:cubicBezTo>
                <a:cubicBezTo>
                  <a:pt x="4338648" y="171604"/>
                  <a:pt x="4308971" y="211807"/>
                  <a:pt x="4282290" y="253496"/>
                </a:cubicBezTo>
                <a:cubicBezTo>
                  <a:pt x="4260465" y="287598"/>
                  <a:pt x="4243745" y="324849"/>
                  <a:pt x="4227969" y="362137"/>
                </a:cubicBezTo>
                <a:cubicBezTo>
                  <a:pt x="4182464" y="469693"/>
                  <a:pt x="4159365" y="574454"/>
                  <a:pt x="4128381" y="688062"/>
                </a:cubicBezTo>
                <a:cubicBezTo>
                  <a:pt x="4122345" y="760490"/>
                  <a:pt x="4111889" y="832684"/>
                  <a:pt x="4110274" y="905345"/>
                </a:cubicBezTo>
                <a:cubicBezTo>
                  <a:pt x="4107988" y="1008206"/>
                  <a:pt x="4127727" y="1183670"/>
                  <a:pt x="4137434" y="1285591"/>
                </a:cubicBezTo>
                <a:cubicBezTo>
                  <a:pt x="4128381" y="1593409"/>
                  <a:pt x="4134568" y="1902053"/>
                  <a:pt x="4110274" y="2209044"/>
                </a:cubicBezTo>
                <a:cubicBezTo>
                  <a:pt x="4093938" y="2415469"/>
                  <a:pt x="3916291" y="2945144"/>
                  <a:pt x="3865830" y="3078177"/>
                </a:cubicBezTo>
                <a:cubicBezTo>
                  <a:pt x="3799130" y="3254023"/>
                  <a:pt x="3754155" y="3419294"/>
                  <a:pt x="3630440" y="3567064"/>
                </a:cubicBezTo>
                <a:cubicBezTo>
                  <a:pt x="3509508" y="3711510"/>
                  <a:pt x="3300174" y="3820753"/>
                  <a:pt x="3132499" y="3883935"/>
                </a:cubicBezTo>
                <a:cubicBezTo>
                  <a:pt x="3030444" y="3922391"/>
                  <a:pt x="2919252" y="3931415"/>
                  <a:pt x="2815628" y="3965417"/>
                </a:cubicBezTo>
                <a:cubicBezTo>
                  <a:pt x="2378999" y="4108686"/>
                  <a:pt x="2718523" y="4055675"/>
                  <a:pt x="2390115" y="4092165"/>
                </a:cubicBezTo>
                <a:cubicBezTo>
                  <a:pt x="2248277" y="4086129"/>
                  <a:pt x="2106162" y="4084782"/>
                  <a:pt x="1964602" y="4074058"/>
                </a:cubicBezTo>
                <a:cubicBezTo>
                  <a:pt x="1906719" y="4069673"/>
                  <a:pt x="1849723" y="4057153"/>
                  <a:pt x="1792587" y="4046898"/>
                </a:cubicBezTo>
                <a:cubicBezTo>
                  <a:pt x="1732003" y="4036024"/>
                  <a:pt x="1671156" y="4025911"/>
                  <a:pt x="1611517" y="4010684"/>
                </a:cubicBezTo>
                <a:cubicBezTo>
                  <a:pt x="1440626" y="3967052"/>
                  <a:pt x="1303755" y="3925447"/>
                  <a:pt x="1149791" y="3838668"/>
                </a:cubicBezTo>
                <a:cubicBezTo>
                  <a:pt x="1052803" y="3784002"/>
                  <a:pt x="964600" y="3714879"/>
                  <a:pt x="869133" y="3657599"/>
                </a:cubicBezTo>
                <a:cubicBezTo>
                  <a:pt x="753260" y="3588075"/>
                  <a:pt x="635187" y="3522188"/>
                  <a:pt x="516048" y="3458423"/>
                </a:cubicBezTo>
                <a:cubicBezTo>
                  <a:pt x="420856" y="3407475"/>
                  <a:pt x="316173" y="3373457"/>
                  <a:pt x="226337" y="3313567"/>
                </a:cubicBezTo>
                <a:cubicBezTo>
                  <a:pt x="208230" y="3301496"/>
                  <a:pt x="188334" y="3291751"/>
                  <a:pt x="172016" y="3277353"/>
                </a:cubicBezTo>
                <a:cubicBezTo>
                  <a:pt x="142348" y="3251175"/>
                  <a:pt x="74683" y="3171252"/>
                  <a:pt x="27161" y="3141551"/>
                </a:cubicBezTo>
                <a:cubicBezTo>
                  <a:pt x="19068" y="3136493"/>
                  <a:pt x="9054" y="3135516"/>
                  <a:pt x="0" y="3132498"/>
                </a:cubicBezTo>
              </a:path>
            </a:pathLst>
          </a:custGeom>
          <a:noFill/>
          <a:ln w="76200">
            <a:solidFill>
              <a:schemeClr val="accent4"/>
            </a:solidFill>
            <a:prstDash val="dashDot"/>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dirty="0"/>
          </a:p>
        </p:txBody>
      </p:sp>
      <p:sp>
        <p:nvSpPr>
          <p:cNvPr id="11" name="L-Shape 10">
            <a:extLst>
              <a:ext uri="{FF2B5EF4-FFF2-40B4-BE49-F238E27FC236}">
                <a16:creationId xmlns:a16="http://schemas.microsoft.com/office/drawing/2014/main" id="{5BEFC49F-4608-AA29-B68E-981AA99A3097}"/>
              </a:ext>
            </a:extLst>
          </p:cNvPr>
          <p:cNvSpPr/>
          <p:nvPr/>
        </p:nvSpPr>
        <p:spPr>
          <a:xfrm rot="5400000">
            <a:off x="3268301" y="4049734"/>
            <a:ext cx="2037029" cy="1800336"/>
          </a:xfrm>
          <a:prstGeom prst="corner">
            <a:avLst/>
          </a:prstGeom>
          <a:noFill/>
          <a:ln w="571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Tree>
    <p:extLst>
      <p:ext uri="{BB962C8B-B14F-4D97-AF65-F5344CB8AC3E}">
        <p14:creationId xmlns:p14="http://schemas.microsoft.com/office/powerpoint/2010/main" val="359655706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ABB9A-8381-E048-B51B-ADFD36312BC9}"/>
              </a:ext>
            </a:extLst>
          </p:cNvPr>
          <p:cNvSpPr>
            <a:spLocks noGrp="1"/>
          </p:cNvSpPr>
          <p:nvPr>
            <p:ph type="ctrTitle"/>
          </p:nvPr>
        </p:nvSpPr>
        <p:spPr>
          <a:xfrm>
            <a:off x="1524000" y="2980712"/>
            <a:ext cx="9144000" cy="896575"/>
          </a:xfrm>
        </p:spPr>
        <p:txBody>
          <a:bodyPr>
            <a:noAutofit/>
          </a:bodyPr>
          <a:lstStyle/>
          <a:p>
            <a:pPr>
              <a:defRPr b="1"/>
            </a:pPr>
            <a:r>
              <a:t>Şehir Lojistiği </a:t>
            </a:r>
            <a:endParaRPr lang="en-TR" b="1" dirty="0">
              <a:latin typeface="Myriad Pro" panose="020B0503030403020204" pitchFamily="34" charset="0"/>
            </a:endParaRPr>
          </a:p>
        </p:txBody>
      </p:sp>
    </p:spTree>
    <p:extLst>
      <p:ext uri="{BB962C8B-B14F-4D97-AF65-F5344CB8AC3E}">
        <p14:creationId xmlns:p14="http://schemas.microsoft.com/office/powerpoint/2010/main" val="4049285923"/>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C803874-36B0-C9C1-1ED3-8395B8FBBEFE}"/>
              </a:ext>
            </a:extLst>
          </p:cNvPr>
          <p:cNvSpPr txBox="1"/>
          <p:nvPr/>
        </p:nvSpPr>
        <p:spPr>
          <a:xfrm>
            <a:off x="362139" y="1212674"/>
            <a:ext cx="7170343" cy="584775"/>
          </a:xfrm>
          <a:prstGeom prst="rect">
            <a:avLst/>
          </a:prstGeom>
          <a:noFill/>
        </p:spPr>
        <p:txBody>
          <a:bodyPr wrap="square">
            <a:spAutoFit/>
          </a:bodyPr>
          <a:lstStyle/>
          <a:p>
            <a:pPr>
              <a:defRPr sz="3200"/>
            </a:pPr>
            <a:r>
              <a:t>Şehir Lojistiğine Giriş</a:t>
            </a:r>
          </a:p>
        </p:txBody>
      </p:sp>
      <p:sp>
        <p:nvSpPr>
          <p:cNvPr id="3" name="TextBox 2">
            <a:extLst>
              <a:ext uri="{FF2B5EF4-FFF2-40B4-BE49-F238E27FC236}">
                <a16:creationId xmlns:a16="http://schemas.microsoft.com/office/drawing/2014/main" id="{CD77BF12-410B-4DFC-DEB9-60A3D4A418DD}"/>
              </a:ext>
            </a:extLst>
          </p:cNvPr>
          <p:cNvSpPr txBox="1"/>
          <p:nvPr/>
        </p:nvSpPr>
        <p:spPr>
          <a:xfrm>
            <a:off x="559052" y="2040936"/>
            <a:ext cx="4936401" cy="3539430"/>
          </a:xfrm>
          <a:prstGeom prst="rect">
            <a:avLst/>
          </a:prstGeom>
          <a:noFill/>
        </p:spPr>
        <p:txBody>
          <a:bodyPr wrap="square">
            <a:spAutoFit/>
          </a:bodyPr>
          <a:lstStyle/>
          <a:p>
            <a:pPr algn="just">
              <a:defRPr sz="1600"/>
            </a:pPr>
            <a:r>
              <a:rPr dirty="0" err="1"/>
              <a:t>Şehir</a:t>
            </a:r>
            <a:r>
              <a:rPr dirty="0"/>
              <a:t> </a:t>
            </a:r>
            <a:r>
              <a:rPr dirty="0" err="1"/>
              <a:t>lojistiği</a:t>
            </a:r>
            <a:r>
              <a:rPr dirty="0"/>
              <a:t>, </a:t>
            </a:r>
            <a:r>
              <a:rPr dirty="0" err="1"/>
              <a:t>kentsel</a:t>
            </a:r>
            <a:r>
              <a:rPr dirty="0"/>
              <a:t> </a:t>
            </a:r>
            <a:r>
              <a:rPr dirty="0" err="1"/>
              <a:t>bölgelerdeki</a:t>
            </a:r>
            <a:r>
              <a:rPr dirty="0"/>
              <a:t> mal </a:t>
            </a:r>
            <a:r>
              <a:rPr dirty="0" err="1"/>
              <a:t>hareketinin</a:t>
            </a:r>
            <a:r>
              <a:rPr dirty="0"/>
              <a:t> </a:t>
            </a:r>
            <a:r>
              <a:rPr dirty="0" err="1"/>
              <a:t>planlanması</a:t>
            </a:r>
            <a:r>
              <a:rPr dirty="0"/>
              <a:t>, </a:t>
            </a:r>
            <a:r>
              <a:rPr dirty="0" err="1"/>
              <a:t>yönetimi</a:t>
            </a:r>
            <a:r>
              <a:rPr dirty="0"/>
              <a:t> </a:t>
            </a:r>
            <a:r>
              <a:rPr dirty="0" err="1"/>
              <a:t>ve</a:t>
            </a:r>
            <a:r>
              <a:rPr dirty="0"/>
              <a:t> </a:t>
            </a:r>
            <a:r>
              <a:rPr dirty="0" err="1"/>
              <a:t>koordinasyonunu</a:t>
            </a:r>
            <a:r>
              <a:rPr dirty="0"/>
              <a:t> </a:t>
            </a:r>
            <a:r>
              <a:rPr dirty="0" err="1"/>
              <a:t>içeren</a:t>
            </a:r>
            <a:r>
              <a:rPr dirty="0"/>
              <a:t> </a:t>
            </a:r>
            <a:r>
              <a:rPr dirty="0" err="1"/>
              <a:t>bir</a:t>
            </a:r>
            <a:r>
              <a:rPr dirty="0"/>
              <a:t> </a:t>
            </a:r>
            <a:r>
              <a:rPr dirty="0" err="1"/>
              <a:t>süreçtir</a:t>
            </a:r>
            <a:r>
              <a:rPr dirty="0"/>
              <a:t>. Bu </a:t>
            </a:r>
            <a:r>
              <a:rPr dirty="0" err="1"/>
              <a:t>süreç</a:t>
            </a:r>
            <a:r>
              <a:rPr dirty="0"/>
              <a:t> son </a:t>
            </a:r>
            <a:r>
              <a:rPr dirty="0" err="1"/>
              <a:t>kullanıcılara</a:t>
            </a:r>
            <a:r>
              <a:rPr dirty="0"/>
              <a:t> son </a:t>
            </a:r>
            <a:r>
              <a:rPr dirty="0" err="1"/>
              <a:t>kilometrede</a:t>
            </a:r>
            <a:r>
              <a:rPr dirty="0"/>
              <a:t> </a:t>
            </a:r>
            <a:r>
              <a:rPr dirty="0" err="1"/>
              <a:t>teslimatını</a:t>
            </a:r>
            <a:r>
              <a:rPr dirty="0"/>
              <a:t> da </a:t>
            </a:r>
            <a:r>
              <a:rPr dirty="0" err="1"/>
              <a:t>kapsar</a:t>
            </a:r>
            <a:r>
              <a:rPr dirty="0"/>
              <a:t>. </a:t>
            </a:r>
            <a:r>
              <a:rPr dirty="0" err="1"/>
              <a:t>Ekonomik</a:t>
            </a:r>
            <a:r>
              <a:rPr dirty="0"/>
              <a:t> </a:t>
            </a:r>
            <a:r>
              <a:rPr dirty="0" err="1"/>
              <a:t>büyümenin</a:t>
            </a:r>
            <a:r>
              <a:rPr dirty="0"/>
              <a:t> </a:t>
            </a:r>
            <a:r>
              <a:rPr dirty="0" err="1"/>
              <a:t>sürdürülmesi</a:t>
            </a:r>
            <a:r>
              <a:rPr dirty="0"/>
              <a:t>, </a:t>
            </a:r>
            <a:r>
              <a:rPr dirty="0" err="1"/>
              <a:t>sürdürülebilir</a:t>
            </a:r>
            <a:r>
              <a:rPr dirty="0"/>
              <a:t> </a:t>
            </a:r>
            <a:r>
              <a:rPr dirty="0" err="1"/>
              <a:t>kalkınmanın</a:t>
            </a:r>
            <a:r>
              <a:rPr dirty="0"/>
              <a:t> </a:t>
            </a:r>
            <a:r>
              <a:rPr dirty="0" err="1"/>
              <a:t>sağlanması</a:t>
            </a:r>
            <a:r>
              <a:rPr dirty="0"/>
              <a:t> </a:t>
            </a:r>
            <a:r>
              <a:rPr dirty="0" err="1"/>
              <a:t>ve</a:t>
            </a:r>
            <a:r>
              <a:rPr dirty="0"/>
              <a:t> </a:t>
            </a:r>
            <a:r>
              <a:rPr dirty="0" err="1"/>
              <a:t>kent</a:t>
            </a:r>
            <a:r>
              <a:rPr dirty="0"/>
              <a:t> </a:t>
            </a:r>
            <a:r>
              <a:rPr dirty="0" err="1"/>
              <a:t>sakinlerinin</a:t>
            </a:r>
            <a:r>
              <a:rPr dirty="0"/>
              <a:t> </a:t>
            </a:r>
            <a:r>
              <a:rPr dirty="0" err="1"/>
              <a:t>yaşam</a:t>
            </a:r>
            <a:r>
              <a:rPr dirty="0"/>
              <a:t> </a:t>
            </a:r>
            <a:r>
              <a:rPr dirty="0" err="1"/>
              <a:t>kalitesinin</a:t>
            </a:r>
            <a:r>
              <a:rPr dirty="0"/>
              <a:t> </a:t>
            </a:r>
            <a:r>
              <a:rPr dirty="0" err="1"/>
              <a:t>iyileştirilmesi</a:t>
            </a:r>
            <a:r>
              <a:rPr dirty="0"/>
              <a:t> </a:t>
            </a:r>
            <a:r>
              <a:rPr dirty="0" err="1"/>
              <a:t>hayati</a:t>
            </a:r>
            <a:r>
              <a:rPr dirty="0"/>
              <a:t> </a:t>
            </a:r>
            <a:r>
              <a:rPr dirty="0" err="1"/>
              <a:t>bir</a:t>
            </a:r>
            <a:r>
              <a:rPr dirty="0"/>
              <a:t> </a:t>
            </a:r>
            <a:r>
              <a:rPr dirty="0" err="1"/>
              <a:t>değere</a:t>
            </a:r>
            <a:r>
              <a:rPr dirty="0"/>
              <a:t> </a:t>
            </a:r>
            <a:r>
              <a:rPr dirty="0" err="1"/>
              <a:t>sahiptir</a:t>
            </a:r>
            <a:r>
              <a:rPr dirty="0"/>
              <a:t>. </a:t>
            </a:r>
            <a:endParaRPr lang="hr-HR" sz="1600" dirty="0"/>
          </a:p>
          <a:p>
            <a:pPr algn="just"/>
            <a:endParaRPr lang="hr-HR" sz="1600" dirty="0"/>
          </a:p>
          <a:p>
            <a:pPr algn="just">
              <a:defRPr sz="1600"/>
            </a:pPr>
            <a:r>
              <a:rPr dirty="0" err="1"/>
              <a:t>Ancak</a:t>
            </a:r>
            <a:r>
              <a:rPr dirty="0"/>
              <a:t>, </a:t>
            </a:r>
            <a:r>
              <a:rPr dirty="0" err="1"/>
              <a:t>şehir</a:t>
            </a:r>
            <a:r>
              <a:rPr dirty="0"/>
              <a:t> </a:t>
            </a:r>
            <a:r>
              <a:rPr dirty="0" err="1"/>
              <a:t>lojistiği</a:t>
            </a:r>
            <a:r>
              <a:rPr dirty="0"/>
              <a:t> </a:t>
            </a:r>
            <a:r>
              <a:rPr dirty="0" err="1"/>
              <a:t>bir</a:t>
            </a:r>
            <a:r>
              <a:rPr dirty="0"/>
              <a:t> dizi </a:t>
            </a:r>
            <a:r>
              <a:rPr dirty="0" err="1"/>
              <a:t>zorlukla</a:t>
            </a:r>
            <a:r>
              <a:rPr dirty="0"/>
              <a:t> </a:t>
            </a:r>
            <a:r>
              <a:rPr dirty="0" err="1"/>
              <a:t>mücadele</a:t>
            </a:r>
            <a:r>
              <a:rPr dirty="0"/>
              <a:t> </a:t>
            </a:r>
            <a:r>
              <a:rPr dirty="0" err="1"/>
              <a:t>etmek</a:t>
            </a:r>
            <a:r>
              <a:rPr dirty="0"/>
              <a:t> </a:t>
            </a:r>
            <a:r>
              <a:rPr dirty="0" err="1"/>
              <a:t>zorundadır</a:t>
            </a:r>
            <a:r>
              <a:rPr dirty="0"/>
              <a:t>. Bu </a:t>
            </a:r>
            <a:r>
              <a:rPr dirty="0" err="1"/>
              <a:t>zorluklar</a:t>
            </a:r>
            <a:r>
              <a:rPr dirty="0"/>
              <a:t> </a:t>
            </a:r>
            <a:r>
              <a:rPr dirty="0" err="1"/>
              <a:t>arasında</a:t>
            </a:r>
            <a:r>
              <a:rPr dirty="0"/>
              <a:t> </a:t>
            </a:r>
            <a:r>
              <a:rPr dirty="0" err="1"/>
              <a:t>trafik</a:t>
            </a:r>
            <a:r>
              <a:rPr dirty="0"/>
              <a:t> </a:t>
            </a:r>
            <a:r>
              <a:rPr dirty="0" err="1"/>
              <a:t>tıkanıklığı</a:t>
            </a:r>
            <a:r>
              <a:rPr dirty="0"/>
              <a:t>, </a:t>
            </a:r>
            <a:r>
              <a:rPr dirty="0" err="1"/>
              <a:t>yeterli</a:t>
            </a:r>
            <a:r>
              <a:rPr dirty="0"/>
              <a:t> </a:t>
            </a:r>
            <a:r>
              <a:rPr dirty="0" err="1"/>
              <a:t>ulaşım</a:t>
            </a:r>
            <a:r>
              <a:rPr dirty="0"/>
              <a:t> </a:t>
            </a:r>
            <a:r>
              <a:rPr dirty="0" err="1"/>
              <a:t>altyapısının</a:t>
            </a:r>
            <a:r>
              <a:rPr dirty="0"/>
              <a:t> </a:t>
            </a:r>
            <a:r>
              <a:rPr dirty="0" err="1"/>
              <a:t>eksikliği</a:t>
            </a:r>
            <a:r>
              <a:rPr dirty="0"/>
              <a:t>, </a:t>
            </a:r>
            <a:r>
              <a:rPr dirty="0" err="1"/>
              <a:t>yetersiz</a:t>
            </a:r>
            <a:r>
              <a:rPr dirty="0"/>
              <a:t> </a:t>
            </a:r>
            <a:r>
              <a:rPr dirty="0" err="1"/>
              <a:t>lojistik</a:t>
            </a:r>
            <a:r>
              <a:rPr dirty="0"/>
              <a:t> </a:t>
            </a:r>
            <a:r>
              <a:rPr dirty="0" err="1"/>
              <a:t>tesisler</a:t>
            </a:r>
            <a:r>
              <a:rPr dirty="0"/>
              <a:t> </a:t>
            </a:r>
            <a:r>
              <a:rPr dirty="0" err="1"/>
              <a:t>ve</a:t>
            </a:r>
            <a:r>
              <a:rPr dirty="0"/>
              <a:t> </a:t>
            </a:r>
            <a:r>
              <a:rPr dirty="0" err="1"/>
              <a:t>hızla</a:t>
            </a:r>
            <a:r>
              <a:rPr dirty="0"/>
              <a:t> </a:t>
            </a:r>
            <a:r>
              <a:rPr dirty="0" err="1"/>
              <a:t>artan</a:t>
            </a:r>
            <a:r>
              <a:rPr dirty="0"/>
              <a:t> e-</a:t>
            </a:r>
            <a:r>
              <a:rPr dirty="0" err="1"/>
              <a:t>ticaret</a:t>
            </a:r>
            <a:r>
              <a:rPr dirty="0"/>
              <a:t> </a:t>
            </a:r>
            <a:r>
              <a:rPr dirty="0" err="1"/>
              <a:t>teslimat</a:t>
            </a:r>
            <a:r>
              <a:rPr dirty="0"/>
              <a:t> </a:t>
            </a:r>
            <a:r>
              <a:rPr dirty="0" err="1"/>
              <a:t>talepleri</a:t>
            </a:r>
            <a:r>
              <a:rPr dirty="0"/>
              <a:t> </a:t>
            </a:r>
            <a:r>
              <a:rPr dirty="0" err="1"/>
              <a:t>yer</a:t>
            </a:r>
            <a:r>
              <a:rPr dirty="0"/>
              <a:t> </a:t>
            </a:r>
            <a:r>
              <a:rPr dirty="0" err="1"/>
              <a:t>almaktadır</a:t>
            </a:r>
            <a:r>
              <a:rPr dirty="0"/>
              <a:t>. Bu </a:t>
            </a:r>
            <a:r>
              <a:rPr dirty="0" err="1"/>
              <a:t>zorlukların</a:t>
            </a:r>
            <a:r>
              <a:rPr dirty="0"/>
              <a:t> </a:t>
            </a:r>
            <a:r>
              <a:rPr dirty="0" err="1"/>
              <a:t>üstesinden</a:t>
            </a:r>
            <a:r>
              <a:rPr dirty="0"/>
              <a:t> </a:t>
            </a:r>
            <a:r>
              <a:rPr dirty="0" err="1"/>
              <a:t>gelmek</a:t>
            </a:r>
            <a:r>
              <a:rPr dirty="0"/>
              <a:t> </a:t>
            </a:r>
            <a:r>
              <a:rPr dirty="0" err="1"/>
              <a:t>için</a:t>
            </a:r>
            <a:r>
              <a:rPr dirty="0"/>
              <a:t> </a:t>
            </a:r>
            <a:r>
              <a:rPr dirty="0" err="1"/>
              <a:t>şehir</a:t>
            </a:r>
            <a:r>
              <a:rPr dirty="0"/>
              <a:t> </a:t>
            </a:r>
            <a:r>
              <a:rPr dirty="0" err="1"/>
              <a:t>lojistiği</a:t>
            </a:r>
            <a:r>
              <a:rPr dirty="0"/>
              <a:t>, </a:t>
            </a:r>
            <a:r>
              <a:rPr dirty="0" err="1"/>
              <a:t>ulaşım</a:t>
            </a:r>
            <a:r>
              <a:rPr dirty="0"/>
              <a:t> </a:t>
            </a:r>
            <a:r>
              <a:rPr dirty="0" err="1"/>
              <a:t>modları</a:t>
            </a:r>
            <a:r>
              <a:rPr dirty="0"/>
              <a:t>, </a:t>
            </a:r>
            <a:r>
              <a:rPr dirty="0" err="1"/>
              <a:t>yük</a:t>
            </a:r>
            <a:r>
              <a:rPr dirty="0"/>
              <a:t> </a:t>
            </a:r>
            <a:r>
              <a:rPr dirty="0" err="1"/>
              <a:t>merkezleri</a:t>
            </a:r>
            <a:r>
              <a:rPr dirty="0"/>
              <a:t>, </a:t>
            </a:r>
            <a:r>
              <a:rPr dirty="0" err="1"/>
              <a:t>lojistik</a:t>
            </a:r>
            <a:r>
              <a:rPr dirty="0"/>
              <a:t> </a:t>
            </a:r>
            <a:r>
              <a:rPr dirty="0" err="1"/>
              <a:t>merkezler</a:t>
            </a:r>
            <a:r>
              <a:rPr dirty="0"/>
              <a:t>, </a:t>
            </a:r>
            <a:r>
              <a:rPr dirty="0" err="1"/>
              <a:t>şehir</a:t>
            </a:r>
            <a:r>
              <a:rPr dirty="0"/>
              <a:t> </a:t>
            </a:r>
            <a:r>
              <a:rPr dirty="0" err="1"/>
              <a:t>planlaması</a:t>
            </a:r>
            <a:r>
              <a:rPr dirty="0"/>
              <a:t> </a:t>
            </a:r>
            <a:r>
              <a:rPr dirty="0" err="1"/>
              <a:t>ve</a:t>
            </a:r>
            <a:r>
              <a:rPr dirty="0"/>
              <a:t> </a:t>
            </a:r>
            <a:r>
              <a:rPr dirty="0" err="1"/>
              <a:t>bilgi</a:t>
            </a:r>
            <a:r>
              <a:rPr dirty="0"/>
              <a:t> </a:t>
            </a:r>
            <a:r>
              <a:rPr dirty="0" err="1"/>
              <a:t>teknolojisi</a:t>
            </a:r>
            <a:r>
              <a:rPr dirty="0"/>
              <a:t> </a:t>
            </a:r>
            <a:r>
              <a:rPr dirty="0" err="1"/>
              <a:t>gibi</a:t>
            </a:r>
            <a:r>
              <a:rPr dirty="0"/>
              <a:t> </a:t>
            </a:r>
            <a:r>
              <a:rPr dirty="0" err="1"/>
              <a:t>birkaç</a:t>
            </a:r>
            <a:r>
              <a:rPr dirty="0"/>
              <a:t> </a:t>
            </a:r>
            <a:r>
              <a:rPr dirty="0" err="1"/>
              <a:t>temel</a:t>
            </a:r>
            <a:r>
              <a:rPr dirty="0"/>
              <a:t> </a:t>
            </a:r>
            <a:r>
              <a:rPr dirty="0" err="1"/>
              <a:t>bileşeni</a:t>
            </a:r>
            <a:r>
              <a:rPr dirty="0"/>
              <a:t> </a:t>
            </a:r>
            <a:r>
              <a:rPr dirty="0" err="1"/>
              <a:t>içermektedir</a:t>
            </a:r>
            <a:r>
              <a:rPr dirty="0"/>
              <a:t>.</a:t>
            </a:r>
          </a:p>
        </p:txBody>
      </p:sp>
      <p:pic>
        <p:nvPicPr>
          <p:cNvPr id="7" name="Picture 6" descr="A picture containing screenshot, design  Description automatically generated">
            <a:extLst>
              <a:ext uri="{FF2B5EF4-FFF2-40B4-BE49-F238E27FC236}">
                <a16:creationId xmlns:a16="http://schemas.microsoft.com/office/drawing/2014/main" id="{05409D9A-D4F3-680D-9F12-2C60FCA8F8ED}"/>
              </a:ext>
            </a:extLst>
          </p:cNvPr>
          <p:cNvPicPr>
            <a:picLocks noChangeAspect="1"/>
          </p:cNvPicPr>
          <p:nvPr/>
        </p:nvPicPr>
        <p:blipFill>
          <a:blip r:embed="rId4"/>
          <a:stretch>
            <a:fillRect/>
          </a:stretch>
        </p:blipFill>
        <p:spPr>
          <a:xfrm>
            <a:off x="6717888" y="1850074"/>
            <a:ext cx="4404049" cy="4404049"/>
          </a:xfrm>
          <a:prstGeom prst="rect">
            <a:avLst/>
          </a:prstGeom>
        </p:spPr>
      </p:pic>
      <p:sp>
        <p:nvSpPr>
          <p:cNvPr id="9" name="Freeform: Shape 8">
            <a:extLst>
              <a:ext uri="{FF2B5EF4-FFF2-40B4-BE49-F238E27FC236}">
                <a16:creationId xmlns:a16="http://schemas.microsoft.com/office/drawing/2014/main" id="{5CF31F28-1FD9-526C-E661-81E2C95C5BCD}"/>
              </a:ext>
            </a:extLst>
          </p:cNvPr>
          <p:cNvSpPr/>
          <p:nvPr/>
        </p:nvSpPr>
        <p:spPr>
          <a:xfrm>
            <a:off x="205273" y="1744824"/>
            <a:ext cx="5262466" cy="261258"/>
          </a:xfrm>
          <a:custGeom>
            <a:avLst/>
            <a:gdLst>
              <a:gd name="connsiteX0" fmla="*/ 335903 w 5262466"/>
              <a:gd name="connsiteY0" fmla="*/ 167952 h 261258"/>
              <a:gd name="connsiteX1" fmla="*/ 335903 w 5262466"/>
              <a:gd name="connsiteY1" fmla="*/ 167952 h 261258"/>
              <a:gd name="connsiteX2" fmla="*/ 615821 w 5262466"/>
              <a:gd name="connsiteY2" fmla="*/ 186613 h 261258"/>
              <a:gd name="connsiteX3" fmla="*/ 961054 w 5262466"/>
              <a:gd name="connsiteY3" fmla="*/ 223935 h 261258"/>
              <a:gd name="connsiteX4" fmla="*/ 1352939 w 5262466"/>
              <a:gd name="connsiteY4" fmla="*/ 242596 h 261258"/>
              <a:gd name="connsiteX5" fmla="*/ 2313992 w 5262466"/>
              <a:gd name="connsiteY5" fmla="*/ 233266 h 261258"/>
              <a:gd name="connsiteX6" fmla="*/ 2705878 w 5262466"/>
              <a:gd name="connsiteY6" fmla="*/ 177282 h 261258"/>
              <a:gd name="connsiteX7" fmla="*/ 3069772 w 5262466"/>
              <a:gd name="connsiteY7" fmla="*/ 130629 h 261258"/>
              <a:gd name="connsiteX8" fmla="*/ 3722915 w 5262466"/>
              <a:gd name="connsiteY8" fmla="*/ 93307 h 261258"/>
              <a:gd name="connsiteX9" fmla="*/ 4618654 w 5262466"/>
              <a:gd name="connsiteY9" fmla="*/ 121298 h 261258"/>
              <a:gd name="connsiteX10" fmla="*/ 5262466 w 5262466"/>
              <a:gd name="connsiteY10" fmla="*/ 205274 h 261258"/>
              <a:gd name="connsiteX11" fmla="*/ 4329405 w 5262466"/>
              <a:gd name="connsiteY11" fmla="*/ 214605 h 261258"/>
              <a:gd name="connsiteX12" fmla="*/ 3359021 w 5262466"/>
              <a:gd name="connsiteY12" fmla="*/ 158621 h 261258"/>
              <a:gd name="connsiteX13" fmla="*/ 2696547 w 5262466"/>
              <a:gd name="connsiteY13" fmla="*/ 111968 h 261258"/>
              <a:gd name="connsiteX14" fmla="*/ 2295331 w 5262466"/>
              <a:gd name="connsiteY14" fmla="*/ 121298 h 261258"/>
              <a:gd name="connsiteX15" fmla="*/ 1548882 w 5262466"/>
              <a:gd name="connsiteY15" fmla="*/ 102637 h 261258"/>
              <a:gd name="connsiteX16" fmla="*/ 942392 w 5262466"/>
              <a:gd name="connsiteY16" fmla="*/ 139960 h 261258"/>
              <a:gd name="connsiteX17" fmla="*/ 681135 w 5262466"/>
              <a:gd name="connsiteY17" fmla="*/ 167952 h 261258"/>
              <a:gd name="connsiteX18" fmla="*/ 0 w 5262466"/>
              <a:gd name="connsiteY18" fmla="*/ 186613 h 261258"/>
              <a:gd name="connsiteX19" fmla="*/ 2985796 w 5262466"/>
              <a:gd name="connsiteY19" fmla="*/ 186613 h 261258"/>
              <a:gd name="connsiteX20" fmla="*/ 3377682 w 5262466"/>
              <a:gd name="connsiteY20" fmla="*/ 158621 h 261258"/>
              <a:gd name="connsiteX21" fmla="*/ 4124131 w 5262466"/>
              <a:gd name="connsiteY21" fmla="*/ 139960 h 261258"/>
              <a:gd name="connsiteX22" fmla="*/ 4702629 w 5262466"/>
              <a:gd name="connsiteY22" fmla="*/ 177282 h 261258"/>
              <a:gd name="connsiteX23" fmla="*/ 3844213 w 5262466"/>
              <a:gd name="connsiteY23" fmla="*/ 186613 h 261258"/>
              <a:gd name="connsiteX24" fmla="*/ 2929813 w 5262466"/>
              <a:gd name="connsiteY24" fmla="*/ 177282 h 261258"/>
              <a:gd name="connsiteX25" fmla="*/ 1950098 w 5262466"/>
              <a:gd name="connsiteY25" fmla="*/ 158621 h 261258"/>
              <a:gd name="connsiteX26" fmla="*/ 1306286 w 5262466"/>
              <a:gd name="connsiteY26" fmla="*/ 167952 h 261258"/>
              <a:gd name="connsiteX27" fmla="*/ 961054 w 5262466"/>
              <a:gd name="connsiteY27" fmla="*/ 186613 h 261258"/>
              <a:gd name="connsiteX28" fmla="*/ 522515 w 5262466"/>
              <a:gd name="connsiteY28" fmla="*/ 195943 h 261258"/>
              <a:gd name="connsiteX29" fmla="*/ 261258 w 5262466"/>
              <a:gd name="connsiteY29" fmla="*/ 205274 h 261258"/>
              <a:gd name="connsiteX30" fmla="*/ 186613 w 5262466"/>
              <a:gd name="connsiteY30" fmla="*/ 111968 h 261258"/>
              <a:gd name="connsiteX31" fmla="*/ 1324947 w 5262466"/>
              <a:gd name="connsiteY31" fmla="*/ 214605 h 261258"/>
              <a:gd name="connsiteX32" fmla="*/ 2481943 w 5262466"/>
              <a:gd name="connsiteY32" fmla="*/ 261258 h 261258"/>
              <a:gd name="connsiteX33" fmla="*/ 4152123 w 5262466"/>
              <a:gd name="connsiteY33" fmla="*/ 223935 h 261258"/>
              <a:gd name="connsiteX34" fmla="*/ 5178490 w 5262466"/>
              <a:gd name="connsiteY34" fmla="*/ 158621 h 261258"/>
              <a:gd name="connsiteX35" fmla="*/ 4114800 w 5262466"/>
              <a:gd name="connsiteY35" fmla="*/ 111968 h 261258"/>
              <a:gd name="connsiteX36" fmla="*/ 3135086 w 5262466"/>
              <a:gd name="connsiteY36" fmla="*/ 55984 h 261258"/>
              <a:gd name="connsiteX37" fmla="*/ 2481943 w 5262466"/>
              <a:gd name="connsiteY37" fmla="*/ 46654 h 261258"/>
              <a:gd name="connsiteX38" fmla="*/ 2024743 w 5262466"/>
              <a:gd name="connsiteY38" fmla="*/ 18662 h 261258"/>
              <a:gd name="connsiteX39" fmla="*/ 1306286 w 5262466"/>
              <a:gd name="connsiteY39" fmla="*/ 0 h 261258"/>
              <a:gd name="connsiteX40" fmla="*/ 895739 w 5262466"/>
              <a:gd name="connsiteY40" fmla="*/ 37323 h 261258"/>
              <a:gd name="connsiteX41" fmla="*/ 746449 w 5262466"/>
              <a:gd name="connsiteY41" fmla="*/ 83976 h 261258"/>
              <a:gd name="connsiteX42" fmla="*/ 522515 w 5262466"/>
              <a:gd name="connsiteY42" fmla="*/ 195943 h 261258"/>
              <a:gd name="connsiteX43" fmla="*/ 391886 w 5262466"/>
              <a:gd name="connsiteY43" fmla="*/ 223935 h 261258"/>
              <a:gd name="connsiteX44" fmla="*/ 139960 w 5262466"/>
              <a:gd name="connsiteY44" fmla="*/ 233266 h 261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5262466" h="261258">
                <a:moveTo>
                  <a:pt x="335903" y="167952"/>
                </a:moveTo>
                <a:lnTo>
                  <a:pt x="335903" y="167952"/>
                </a:lnTo>
                <a:cubicBezTo>
                  <a:pt x="429209" y="174172"/>
                  <a:pt x="522681" y="178272"/>
                  <a:pt x="615821" y="186613"/>
                </a:cubicBezTo>
                <a:cubicBezTo>
                  <a:pt x="731108" y="196937"/>
                  <a:pt x="845638" y="215169"/>
                  <a:pt x="961054" y="223935"/>
                </a:cubicBezTo>
                <a:cubicBezTo>
                  <a:pt x="1091455" y="233839"/>
                  <a:pt x="1222311" y="236376"/>
                  <a:pt x="1352939" y="242596"/>
                </a:cubicBezTo>
                <a:lnTo>
                  <a:pt x="2313992" y="233266"/>
                </a:lnTo>
                <a:cubicBezTo>
                  <a:pt x="2445793" y="226903"/>
                  <a:pt x="2575123" y="195039"/>
                  <a:pt x="2705878" y="177282"/>
                </a:cubicBezTo>
                <a:cubicBezTo>
                  <a:pt x="2827056" y="160826"/>
                  <a:pt x="2947896" y="140692"/>
                  <a:pt x="3069772" y="130629"/>
                </a:cubicBezTo>
                <a:cubicBezTo>
                  <a:pt x="3287102" y="112684"/>
                  <a:pt x="3722915" y="93307"/>
                  <a:pt x="3722915" y="93307"/>
                </a:cubicBezTo>
                <a:cubicBezTo>
                  <a:pt x="3990798" y="98267"/>
                  <a:pt x="4344483" y="99934"/>
                  <a:pt x="4618654" y="121298"/>
                </a:cubicBezTo>
                <a:cubicBezTo>
                  <a:pt x="4823787" y="137283"/>
                  <a:pt x="5058885" y="175336"/>
                  <a:pt x="5262466" y="205274"/>
                </a:cubicBezTo>
                <a:cubicBezTo>
                  <a:pt x="4951446" y="208384"/>
                  <a:pt x="4640348" y="222226"/>
                  <a:pt x="4329405" y="214605"/>
                </a:cubicBezTo>
                <a:cubicBezTo>
                  <a:pt x="4005503" y="206666"/>
                  <a:pt x="3682339" y="179616"/>
                  <a:pt x="3359021" y="158621"/>
                </a:cubicBezTo>
                <a:cubicBezTo>
                  <a:pt x="2364805" y="94061"/>
                  <a:pt x="3242174" y="137948"/>
                  <a:pt x="2696547" y="111968"/>
                </a:cubicBezTo>
                <a:cubicBezTo>
                  <a:pt x="2562808" y="115078"/>
                  <a:pt x="2429101" y="122386"/>
                  <a:pt x="2295331" y="121298"/>
                </a:cubicBezTo>
                <a:cubicBezTo>
                  <a:pt x="2046445" y="119274"/>
                  <a:pt x="1548882" y="102637"/>
                  <a:pt x="1548882" y="102637"/>
                </a:cubicBezTo>
                <a:lnTo>
                  <a:pt x="942392" y="139960"/>
                </a:lnTo>
                <a:cubicBezTo>
                  <a:pt x="855055" y="146534"/>
                  <a:pt x="768417" y="160679"/>
                  <a:pt x="681135" y="167952"/>
                </a:cubicBezTo>
                <a:cubicBezTo>
                  <a:pt x="511511" y="182087"/>
                  <a:pt x="75927" y="185180"/>
                  <a:pt x="0" y="186613"/>
                </a:cubicBezTo>
                <a:cubicBezTo>
                  <a:pt x="1290208" y="222956"/>
                  <a:pt x="954898" y="221508"/>
                  <a:pt x="2985796" y="186613"/>
                </a:cubicBezTo>
                <a:cubicBezTo>
                  <a:pt x="3116738" y="184363"/>
                  <a:pt x="3246830" y="163984"/>
                  <a:pt x="3377682" y="158621"/>
                </a:cubicBezTo>
                <a:cubicBezTo>
                  <a:pt x="3626367" y="148429"/>
                  <a:pt x="4124131" y="139960"/>
                  <a:pt x="4124131" y="139960"/>
                </a:cubicBezTo>
                <a:cubicBezTo>
                  <a:pt x="4316964" y="152401"/>
                  <a:pt x="4893233" y="145515"/>
                  <a:pt x="4702629" y="177282"/>
                </a:cubicBezTo>
                <a:cubicBezTo>
                  <a:pt x="4420367" y="224326"/>
                  <a:pt x="4130369" y="186613"/>
                  <a:pt x="3844213" y="186613"/>
                </a:cubicBezTo>
                <a:cubicBezTo>
                  <a:pt x="3539397" y="186613"/>
                  <a:pt x="3234606" y="180976"/>
                  <a:pt x="2929813" y="177282"/>
                </a:cubicBezTo>
                <a:lnTo>
                  <a:pt x="1950098" y="158621"/>
                </a:lnTo>
                <a:lnTo>
                  <a:pt x="1306286" y="167952"/>
                </a:lnTo>
                <a:cubicBezTo>
                  <a:pt x="1191087" y="171212"/>
                  <a:pt x="1076226" y="182500"/>
                  <a:pt x="961054" y="186613"/>
                </a:cubicBezTo>
                <a:cubicBezTo>
                  <a:pt x="814934" y="191831"/>
                  <a:pt x="668695" y="192833"/>
                  <a:pt x="522515" y="195943"/>
                </a:cubicBezTo>
                <a:cubicBezTo>
                  <a:pt x="451265" y="207818"/>
                  <a:pt x="329846" y="236710"/>
                  <a:pt x="261258" y="205274"/>
                </a:cubicBezTo>
                <a:cubicBezTo>
                  <a:pt x="225050" y="188679"/>
                  <a:pt x="146784" y="111619"/>
                  <a:pt x="186613" y="111968"/>
                </a:cubicBezTo>
                <a:cubicBezTo>
                  <a:pt x="567582" y="115310"/>
                  <a:pt x="944866" y="188393"/>
                  <a:pt x="1324947" y="214605"/>
                </a:cubicBezTo>
                <a:cubicBezTo>
                  <a:pt x="2070933" y="266052"/>
                  <a:pt x="1685323" y="249187"/>
                  <a:pt x="2481943" y="261258"/>
                </a:cubicBezTo>
                <a:lnTo>
                  <a:pt x="4152123" y="223935"/>
                </a:lnTo>
                <a:cubicBezTo>
                  <a:pt x="4494689" y="210896"/>
                  <a:pt x="5178490" y="158621"/>
                  <a:pt x="5178490" y="158621"/>
                </a:cubicBezTo>
                <a:cubicBezTo>
                  <a:pt x="4659972" y="143806"/>
                  <a:pt x="4838747" y="151313"/>
                  <a:pt x="4114800" y="111968"/>
                </a:cubicBezTo>
                <a:lnTo>
                  <a:pt x="3135086" y="55984"/>
                </a:lnTo>
                <a:cubicBezTo>
                  <a:pt x="2917523" y="47282"/>
                  <a:pt x="2699657" y="49764"/>
                  <a:pt x="2481943" y="46654"/>
                </a:cubicBezTo>
                <a:cubicBezTo>
                  <a:pt x="2329543" y="37323"/>
                  <a:pt x="2177308" y="24716"/>
                  <a:pt x="2024743" y="18662"/>
                </a:cubicBezTo>
                <a:cubicBezTo>
                  <a:pt x="1785365" y="9163"/>
                  <a:pt x="1306286" y="0"/>
                  <a:pt x="1306286" y="0"/>
                </a:cubicBezTo>
                <a:cubicBezTo>
                  <a:pt x="1112368" y="6926"/>
                  <a:pt x="1062154" y="-4281"/>
                  <a:pt x="895739" y="37323"/>
                </a:cubicBezTo>
                <a:cubicBezTo>
                  <a:pt x="845159" y="49968"/>
                  <a:pt x="794529" y="63813"/>
                  <a:pt x="746449" y="83976"/>
                </a:cubicBezTo>
                <a:cubicBezTo>
                  <a:pt x="692126" y="106757"/>
                  <a:pt x="589535" y="175546"/>
                  <a:pt x="522515" y="195943"/>
                </a:cubicBezTo>
                <a:cubicBezTo>
                  <a:pt x="479913" y="208909"/>
                  <a:pt x="436112" y="218732"/>
                  <a:pt x="391886" y="223935"/>
                </a:cubicBezTo>
                <a:cubicBezTo>
                  <a:pt x="303332" y="234353"/>
                  <a:pt x="225677" y="233266"/>
                  <a:pt x="139960" y="233266"/>
                </a:cubicBezTo>
              </a:path>
            </a:pathLst>
          </a:custGeom>
          <a:noFill/>
          <a:ln w="381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12" name="Arrow: Right 11">
            <a:extLst>
              <a:ext uri="{FF2B5EF4-FFF2-40B4-BE49-F238E27FC236}">
                <a16:creationId xmlns:a16="http://schemas.microsoft.com/office/drawing/2014/main" id="{41C3CFFF-3E64-CA10-956E-D3E86EEAC135}"/>
              </a:ext>
            </a:extLst>
          </p:cNvPr>
          <p:cNvSpPr/>
          <p:nvPr/>
        </p:nvSpPr>
        <p:spPr>
          <a:xfrm rot="8486641">
            <a:off x="6643671" y="1432460"/>
            <a:ext cx="2091351" cy="1216952"/>
          </a:xfrm>
          <a:prstGeom prst="rightArrow">
            <a:avLst/>
          </a:prstGeom>
          <a:solidFill>
            <a:srgbClr val="92D050"/>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Tree>
    <p:extLst>
      <p:ext uri="{BB962C8B-B14F-4D97-AF65-F5344CB8AC3E}">
        <p14:creationId xmlns:p14="http://schemas.microsoft.com/office/powerpoint/2010/main" val="359545885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C803874-36B0-C9C1-1ED3-8395B8FBBEFE}"/>
              </a:ext>
            </a:extLst>
          </p:cNvPr>
          <p:cNvSpPr txBox="1"/>
          <p:nvPr/>
        </p:nvSpPr>
        <p:spPr>
          <a:xfrm>
            <a:off x="362140" y="950124"/>
            <a:ext cx="2806574" cy="1569660"/>
          </a:xfrm>
          <a:prstGeom prst="rect">
            <a:avLst/>
          </a:prstGeom>
          <a:noFill/>
        </p:spPr>
        <p:txBody>
          <a:bodyPr wrap="square">
            <a:spAutoFit/>
          </a:bodyPr>
          <a:lstStyle/>
          <a:p>
            <a:pPr>
              <a:defRPr sz="3200"/>
            </a:pPr>
            <a:r>
              <a:t>Şehir Lojistiği için Ulaşım Planlaması</a:t>
            </a:r>
            <a:endParaRPr lang="en-US" sz="3200" dirty="0"/>
          </a:p>
        </p:txBody>
      </p:sp>
      <p:graphicFrame>
        <p:nvGraphicFramePr>
          <p:cNvPr id="10" name="Diagram 9">
            <a:extLst>
              <a:ext uri="{FF2B5EF4-FFF2-40B4-BE49-F238E27FC236}">
                <a16:creationId xmlns:a16="http://schemas.microsoft.com/office/drawing/2014/main" id="{84C4C158-7859-2232-6160-6B0802590243}"/>
              </a:ext>
            </a:extLst>
          </p:cNvPr>
          <p:cNvGraphicFramePr/>
          <p:nvPr>
            <p:extLst>
              <p:ext uri="{D42A27DB-BD31-4B8C-83A1-F6EECF244321}">
                <p14:modId xmlns:p14="http://schemas.microsoft.com/office/powerpoint/2010/main" val="2643405690"/>
              </p:ext>
            </p:extLst>
          </p:nvPr>
        </p:nvGraphicFramePr>
        <p:xfrm>
          <a:off x="2762583" y="1430448"/>
          <a:ext cx="6666833" cy="483201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5" name="Picture 14" descr="A person sitting next to a truck  Description automatically generated with low confidence">
            <a:extLst>
              <a:ext uri="{FF2B5EF4-FFF2-40B4-BE49-F238E27FC236}">
                <a16:creationId xmlns:a16="http://schemas.microsoft.com/office/drawing/2014/main" id="{7E5C4800-FAC0-ACA9-3067-83AA0DF489D9}"/>
              </a:ext>
            </a:extLst>
          </p:cNvPr>
          <p:cNvPicPr>
            <a:picLocks noChangeAspect="1"/>
          </p:cNvPicPr>
          <p:nvPr/>
        </p:nvPicPr>
        <p:blipFill>
          <a:blip r:embed="rId9"/>
          <a:stretch>
            <a:fillRect/>
          </a:stretch>
        </p:blipFill>
        <p:spPr>
          <a:xfrm>
            <a:off x="8689910" y="1765494"/>
            <a:ext cx="3429000" cy="3429000"/>
          </a:xfrm>
          <a:prstGeom prst="rect">
            <a:avLst/>
          </a:prstGeom>
        </p:spPr>
      </p:pic>
      <p:sp>
        <p:nvSpPr>
          <p:cNvPr id="16" name="Freeform: Shape 15">
            <a:extLst>
              <a:ext uri="{FF2B5EF4-FFF2-40B4-BE49-F238E27FC236}">
                <a16:creationId xmlns:a16="http://schemas.microsoft.com/office/drawing/2014/main" id="{396B9118-8023-18B0-E8C5-42E026CA1C26}"/>
              </a:ext>
            </a:extLst>
          </p:cNvPr>
          <p:cNvSpPr/>
          <p:nvPr/>
        </p:nvSpPr>
        <p:spPr>
          <a:xfrm>
            <a:off x="295593" y="1380931"/>
            <a:ext cx="4705615" cy="4534706"/>
          </a:xfrm>
          <a:custGeom>
            <a:avLst/>
            <a:gdLst>
              <a:gd name="connsiteX0" fmla="*/ 4705615 w 4705615"/>
              <a:gd name="connsiteY0" fmla="*/ 0 h 4534706"/>
              <a:gd name="connsiteX1" fmla="*/ 4705615 w 4705615"/>
              <a:gd name="connsiteY1" fmla="*/ 0 h 4534706"/>
              <a:gd name="connsiteX2" fmla="*/ 3697909 w 4705615"/>
              <a:gd name="connsiteY2" fmla="*/ 569167 h 4534706"/>
              <a:gd name="connsiteX3" fmla="*/ 3268701 w 4705615"/>
              <a:gd name="connsiteY3" fmla="*/ 802432 h 4534706"/>
              <a:gd name="connsiteX4" fmla="*/ 2951460 w 4705615"/>
              <a:gd name="connsiteY4" fmla="*/ 1073020 h 4534706"/>
              <a:gd name="connsiteX5" fmla="*/ 2400954 w 4705615"/>
              <a:gd name="connsiteY5" fmla="*/ 1632857 h 4534706"/>
              <a:gd name="connsiteX6" fmla="*/ 2111705 w 4705615"/>
              <a:gd name="connsiteY6" fmla="*/ 1791477 h 4534706"/>
              <a:gd name="connsiteX7" fmla="*/ 1505215 w 4705615"/>
              <a:gd name="connsiteY7" fmla="*/ 1968759 h 4534706"/>
              <a:gd name="connsiteX8" fmla="*/ 1215966 w 4705615"/>
              <a:gd name="connsiteY8" fmla="*/ 2043404 h 4534706"/>
              <a:gd name="connsiteX9" fmla="*/ 282905 w 4705615"/>
              <a:gd name="connsiteY9" fmla="*/ 2939142 h 4534706"/>
              <a:gd name="connsiteX10" fmla="*/ 40309 w 4705615"/>
              <a:gd name="connsiteY10" fmla="*/ 3321698 h 4534706"/>
              <a:gd name="connsiteX11" fmla="*/ 2987 w 4705615"/>
              <a:gd name="connsiteY11" fmla="*/ 3610947 h 4534706"/>
              <a:gd name="connsiteX12" fmla="*/ 124285 w 4705615"/>
              <a:gd name="connsiteY12" fmla="*/ 3900196 h 4534706"/>
              <a:gd name="connsiteX13" fmla="*/ 1020023 w 4705615"/>
              <a:gd name="connsiteY13" fmla="*/ 4404049 h 4534706"/>
              <a:gd name="connsiteX14" fmla="*/ 1878440 w 4705615"/>
              <a:gd name="connsiteY14" fmla="*/ 4497355 h 4534706"/>
              <a:gd name="connsiteX15" fmla="*/ 2820831 w 4705615"/>
              <a:gd name="connsiteY15" fmla="*/ 4525347 h 4534706"/>
              <a:gd name="connsiteX16" fmla="*/ 3893852 w 4705615"/>
              <a:gd name="connsiteY16" fmla="*/ 4534677 h 453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705615" h="4534706">
                <a:moveTo>
                  <a:pt x="4705615" y="0"/>
                </a:moveTo>
                <a:lnTo>
                  <a:pt x="4705615" y="0"/>
                </a:lnTo>
                <a:lnTo>
                  <a:pt x="3697909" y="569167"/>
                </a:lnTo>
                <a:cubicBezTo>
                  <a:pt x="3555742" y="648559"/>
                  <a:pt x="3392590" y="696762"/>
                  <a:pt x="3268701" y="802432"/>
                </a:cubicBezTo>
                <a:cubicBezTo>
                  <a:pt x="3162954" y="892628"/>
                  <a:pt x="3051875" y="976924"/>
                  <a:pt x="2951460" y="1073020"/>
                </a:cubicBezTo>
                <a:cubicBezTo>
                  <a:pt x="2762375" y="1253973"/>
                  <a:pt x="2630433" y="1507014"/>
                  <a:pt x="2400954" y="1632857"/>
                </a:cubicBezTo>
                <a:cubicBezTo>
                  <a:pt x="2304538" y="1685730"/>
                  <a:pt x="2211642" y="1745604"/>
                  <a:pt x="2111705" y="1791477"/>
                </a:cubicBezTo>
                <a:cubicBezTo>
                  <a:pt x="1866892" y="1903850"/>
                  <a:pt x="1771426" y="1904223"/>
                  <a:pt x="1505215" y="1968759"/>
                </a:cubicBezTo>
                <a:cubicBezTo>
                  <a:pt x="1408443" y="1992219"/>
                  <a:pt x="1312382" y="2018522"/>
                  <a:pt x="1215966" y="2043404"/>
                </a:cubicBezTo>
                <a:cubicBezTo>
                  <a:pt x="879048" y="2305451"/>
                  <a:pt x="509610" y="2581645"/>
                  <a:pt x="282905" y="2939142"/>
                </a:cubicBezTo>
                <a:lnTo>
                  <a:pt x="40309" y="3321698"/>
                </a:lnTo>
                <a:cubicBezTo>
                  <a:pt x="27868" y="3418114"/>
                  <a:pt x="-10979" y="3514740"/>
                  <a:pt x="2987" y="3610947"/>
                </a:cubicBezTo>
                <a:cubicBezTo>
                  <a:pt x="18006" y="3714414"/>
                  <a:pt x="60727" y="3817182"/>
                  <a:pt x="124285" y="3900196"/>
                </a:cubicBezTo>
                <a:cubicBezTo>
                  <a:pt x="364152" y="4213492"/>
                  <a:pt x="631539" y="4324819"/>
                  <a:pt x="1020023" y="4404049"/>
                </a:cubicBezTo>
                <a:cubicBezTo>
                  <a:pt x="1302042" y="4461566"/>
                  <a:pt x="1591266" y="4478012"/>
                  <a:pt x="1878440" y="4497355"/>
                </a:cubicBezTo>
                <a:cubicBezTo>
                  <a:pt x="2191998" y="4518476"/>
                  <a:pt x="2506634" y="4518626"/>
                  <a:pt x="2820831" y="4525347"/>
                </a:cubicBezTo>
                <a:cubicBezTo>
                  <a:pt x="3306039" y="4535726"/>
                  <a:pt x="3493143" y="4534677"/>
                  <a:pt x="3893852" y="4534677"/>
                </a:cubicBezTo>
              </a:path>
            </a:pathLst>
          </a:custGeom>
          <a:noFill/>
          <a:ln w="57150">
            <a:solidFill>
              <a:schemeClr val="accent4"/>
            </a:solidFill>
            <a:prstDash val="lgDashDot"/>
            <a:headEnd type="triangl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dirty="0"/>
          </a:p>
        </p:txBody>
      </p:sp>
      <p:sp>
        <p:nvSpPr>
          <p:cNvPr id="17" name="Oval 16">
            <a:extLst>
              <a:ext uri="{FF2B5EF4-FFF2-40B4-BE49-F238E27FC236}">
                <a16:creationId xmlns:a16="http://schemas.microsoft.com/office/drawing/2014/main" id="{96E78090-DF6D-495B-C678-A538F5D15CA2}"/>
              </a:ext>
            </a:extLst>
          </p:cNvPr>
          <p:cNvSpPr/>
          <p:nvPr/>
        </p:nvSpPr>
        <p:spPr>
          <a:xfrm>
            <a:off x="950614" y="2706986"/>
            <a:ext cx="1892174" cy="1430448"/>
          </a:xfrm>
          <a:prstGeom prst="ellipse">
            <a:avLst/>
          </a:prstGeom>
          <a:noFill/>
          <a:ln w="57150">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Tree>
    <p:extLst>
      <p:ext uri="{BB962C8B-B14F-4D97-AF65-F5344CB8AC3E}">
        <p14:creationId xmlns:p14="http://schemas.microsoft.com/office/powerpoint/2010/main" val="31935177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CC803874-36B0-C9C1-1ED3-8395B8FBBEFE}"/>
              </a:ext>
            </a:extLst>
          </p:cNvPr>
          <p:cNvSpPr txBox="1"/>
          <p:nvPr/>
        </p:nvSpPr>
        <p:spPr>
          <a:xfrm>
            <a:off x="514427" y="1051235"/>
            <a:ext cx="2375240" cy="1077218"/>
          </a:xfrm>
          <a:prstGeom prst="rect">
            <a:avLst/>
          </a:prstGeom>
          <a:noFill/>
        </p:spPr>
        <p:txBody>
          <a:bodyPr wrap="square">
            <a:spAutoFit/>
          </a:bodyPr>
          <a:lstStyle/>
          <a:p>
            <a:pPr>
              <a:defRPr sz="3200"/>
            </a:pPr>
            <a:r>
              <a:t>Ankara'da Şehir Lojistiği</a:t>
            </a:r>
          </a:p>
        </p:txBody>
      </p:sp>
      <p:graphicFrame>
        <p:nvGraphicFramePr>
          <p:cNvPr id="5" name="Diagram 4">
            <a:extLst>
              <a:ext uri="{FF2B5EF4-FFF2-40B4-BE49-F238E27FC236}">
                <a16:creationId xmlns:a16="http://schemas.microsoft.com/office/drawing/2014/main" id="{9B939BEB-35D0-1969-9CBD-65B9DB306A65}"/>
              </a:ext>
            </a:extLst>
          </p:cNvPr>
          <p:cNvGraphicFramePr/>
          <p:nvPr>
            <p:extLst>
              <p:ext uri="{D42A27DB-BD31-4B8C-83A1-F6EECF244321}">
                <p14:modId xmlns:p14="http://schemas.microsoft.com/office/powerpoint/2010/main" val="2535668159"/>
              </p:ext>
            </p:extLst>
          </p:nvPr>
        </p:nvGraphicFramePr>
        <p:xfrm>
          <a:off x="1748831" y="1242511"/>
          <a:ext cx="6097508" cy="397031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7" name="Picture 6" descr="A picture containing cartoon  Description automatically generated">
            <a:extLst>
              <a:ext uri="{FF2B5EF4-FFF2-40B4-BE49-F238E27FC236}">
                <a16:creationId xmlns:a16="http://schemas.microsoft.com/office/drawing/2014/main" id="{C7967C3E-887D-6006-C0A9-DF18BB69DD15}"/>
              </a:ext>
            </a:extLst>
          </p:cNvPr>
          <p:cNvPicPr>
            <a:picLocks noChangeAspect="1"/>
          </p:cNvPicPr>
          <p:nvPr/>
        </p:nvPicPr>
        <p:blipFill>
          <a:blip r:embed="rId9"/>
          <a:stretch>
            <a:fillRect/>
          </a:stretch>
        </p:blipFill>
        <p:spPr>
          <a:xfrm>
            <a:off x="172017" y="3052636"/>
            <a:ext cx="2771192" cy="2771192"/>
          </a:xfrm>
          <a:prstGeom prst="rect">
            <a:avLst/>
          </a:prstGeom>
        </p:spPr>
      </p:pic>
      <p:pic>
        <p:nvPicPr>
          <p:cNvPr id="9" name="Picture 8" descr="A picture containing wheel, design  Description automatically generated">
            <a:extLst>
              <a:ext uri="{FF2B5EF4-FFF2-40B4-BE49-F238E27FC236}">
                <a16:creationId xmlns:a16="http://schemas.microsoft.com/office/drawing/2014/main" id="{EEBDAF23-A1F8-041A-2C7A-B4FA39C7157A}"/>
              </a:ext>
            </a:extLst>
          </p:cNvPr>
          <p:cNvPicPr>
            <a:picLocks noChangeAspect="1"/>
          </p:cNvPicPr>
          <p:nvPr/>
        </p:nvPicPr>
        <p:blipFill>
          <a:blip r:embed="rId10"/>
          <a:stretch>
            <a:fillRect/>
          </a:stretch>
        </p:blipFill>
        <p:spPr>
          <a:xfrm>
            <a:off x="7948126" y="4169245"/>
            <a:ext cx="1922106" cy="1922106"/>
          </a:xfrm>
          <a:prstGeom prst="rect">
            <a:avLst/>
          </a:prstGeom>
        </p:spPr>
      </p:pic>
      <p:pic>
        <p:nvPicPr>
          <p:cNvPr id="12" name="Picture 11" descr="A picture containing sky, design  Description automatically generated">
            <a:extLst>
              <a:ext uri="{FF2B5EF4-FFF2-40B4-BE49-F238E27FC236}">
                <a16:creationId xmlns:a16="http://schemas.microsoft.com/office/drawing/2014/main" id="{7AE95E9F-00C4-C868-ECCA-C850CAFD211E}"/>
              </a:ext>
            </a:extLst>
          </p:cNvPr>
          <p:cNvPicPr>
            <a:picLocks noChangeAspect="1"/>
          </p:cNvPicPr>
          <p:nvPr/>
        </p:nvPicPr>
        <p:blipFill>
          <a:blip r:embed="rId11"/>
          <a:stretch>
            <a:fillRect/>
          </a:stretch>
        </p:blipFill>
        <p:spPr>
          <a:xfrm>
            <a:off x="9034187" y="950124"/>
            <a:ext cx="2985796" cy="2985796"/>
          </a:xfrm>
          <a:prstGeom prst="rect">
            <a:avLst/>
          </a:prstGeom>
        </p:spPr>
      </p:pic>
      <p:pic>
        <p:nvPicPr>
          <p:cNvPr id="14" name="Picture 13" descr="A picture containing text, clothing, cartoon, illustration  Description automatically generated">
            <a:extLst>
              <a:ext uri="{FF2B5EF4-FFF2-40B4-BE49-F238E27FC236}">
                <a16:creationId xmlns:a16="http://schemas.microsoft.com/office/drawing/2014/main" id="{7D52F634-DC18-6159-D3EA-F1888ECAE284}"/>
              </a:ext>
            </a:extLst>
          </p:cNvPr>
          <p:cNvPicPr>
            <a:picLocks noChangeAspect="1"/>
          </p:cNvPicPr>
          <p:nvPr/>
        </p:nvPicPr>
        <p:blipFill>
          <a:blip r:embed="rId12"/>
          <a:stretch>
            <a:fillRect/>
          </a:stretch>
        </p:blipFill>
        <p:spPr>
          <a:xfrm rot="20777118">
            <a:off x="6711130" y="1439736"/>
            <a:ext cx="2270418" cy="2669275"/>
          </a:xfrm>
          <a:prstGeom prst="rect">
            <a:avLst/>
          </a:prstGeom>
        </p:spPr>
      </p:pic>
    </p:spTree>
    <p:extLst>
      <p:ext uri="{BB962C8B-B14F-4D97-AF65-F5344CB8AC3E}">
        <p14:creationId xmlns:p14="http://schemas.microsoft.com/office/powerpoint/2010/main" val="373423628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ABB9A-8381-E048-B51B-ADFD36312BC9}"/>
              </a:ext>
            </a:extLst>
          </p:cNvPr>
          <p:cNvSpPr>
            <a:spLocks noGrp="1"/>
          </p:cNvSpPr>
          <p:nvPr>
            <p:ph type="ctrTitle"/>
          </p:nvPr>
        </p:nvSpPr>
        <p:spPr>
          <a:xfrm>
            <a:off x="1524000" y="2980712"/>
            <a:ext cx="9144000" cy="896575"/>
          </a:xfrm>
        </p:spPr>
        <p:txBody>
          <a:bodyPr>
            <a:noAutofit/>
          </a:bodyPr>
          <a:lstStyle/>
          <a:p>
            <a:pPr>
              <a:defRPr b="1"/>
            </a:pPr>
            <a:r>
              <a:t>Paylaşımlı Hareketlilik </a:t>
            </a:r>
            <a:endParaRPr lang="en-TR" b="1" dirty="0">
              <a:latin typeface="Myriad Pro" panose="020B0503030403020204" pitchFamily="34" charset="0"/>
            </a:endParaRPr>
          </a:p>
        </p:txBody>
      </p:sp>
    </p:spTree>
    <p:extLst>
      <p:ext uri="{BB962C8B-B14F-4D97-AF65-F5344CB8AC3E}">
        <p14:creationId xmlns:p14="http://schemas.microsoft.com/office/powerpoint/2010/main" val="80378607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FF1CDFE-57C2-736B-9EB9-6BB01F86A044}"/>
              </a:ext>
            </a:extLst>
          </p:cNvPr>
          <p:cNvSpPr/>
          <p:nvPr/>
        </p:nvSpPr>
        <p:spPr>
          <a:xfrm>
            <a:off x="0" y="1348966"/>
            <a:ext cx="12192000" cy="4816444"/>
          </a:xfrm>
          <a:prstGeom prst="rect">
            <a:avLst/>
          </a:prstGeom>
        </p:spPr>
        <p:style>
          <a:lnRef idx="2">
            <a:schemeClr val="accent4">
              <a:shade val="50000"/>
            </a:schemeClr>
          </a:lnRef>
          <a:fillRef idx="1">
            <a:schemeClr val="accent4"/>
          </a:fillRef>
          <a:effectRef idx="0">
            <a:schemeClr val="accent4"/>
          </a:effectRef>
          <a:fontRef idx="minor">
            <a:schemeClr val="lt1"/>
          </a:fontRef>
        </p:style>
        <p:txBody>
          <a:bodyPr anchor="ctr"/>
          <a:lstStyle/>
          <a:p>
            <a:pPr algn="ctr"/>
            <a:endParaRPr lang="en-US"/>
          </a:p>
        </p:txBody>
      </p:sp>
      <p:graphicFrame>
        <p:nvGraphicFramePr>
          <p:cNvPr id="6" name="Diagram 5">
            <a:extLst>
              <a:ext uri="{FF2B5EF4-FFF2-40B4-BE49-F238E27FC236}">
                <a16:creationId xmlns:a16="http://schemas.microsoft.com/office/drawing/2014/main" id="{4784D760-FEAF-C681-6C2E-0AD3ED3DC5A6}"/>
              </a:ext>
            </a:extLst>
          </p:cNvPr>
          <p:cNvGraphicFramePr/>
          <p:nvPr>
            <p:extLst>
              <p:ext uri="{D42A27DB-BD31-4B8C-83A1-F6EECF244321}">
                <p14:modId xmlns:p14="http://schemas.microsoft.com/office/powerpoint/2010/main" val="3948467583"/>
              </p:ext>
            </p:extLst>
          </p:nvPr>
        </p:nvGraphicFramePr>
        <p:xfrm>
          <a:off x="1039639" y="2020907"/>
          <a:ext cx="10112721" cy="375487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TextBox 9">
            <a:extLst>
              <a:ext uri="{FF2B5EF4-FFF2-40B4-BE49-F238E27FC236}">
                <a16:creationId xmlns:a16="http://schemas.microsoft.com/office/drawing/2014/main" id="{22D7DA1B-C7EC-EB6D-2367-A46D69E6FFEE}"/>
              </a:ext>
            </a:extLst>
          </p:cNvPr>
          <p:cNvSpPr txBox="1"/>
          <p:nvPr/>
        </p:nvSpPr>
        <p:spPr>
          <a:xfrm>
            <a:off x="251235" y="1472035"/>
            <a:ext cx="6097508" cy="646331"/>
          </a:xfrm>
          <a:prstGeom prst="rect">
            <a:avLst/>
          </a:prstGeom>
          <a:noFill/>
        </p:spPr>
        <p:txBody>
          <a:bodyPr wrap="square">
            <a:spAutoFit/>
          </a:bodyPr>
          <a:lstStyle/>
          <a:p>
            <a:pPr>
              <a:defRPr sz="3600"/>
            </a:pPr>
            <a:r>
              <a:t>Paylaşımlı Hareketlilik Nedir?</a:t>
            </a:r>
          </a:p>
        </p:txBody>
      </p:sp>
      <p:pic>
        <p:nvPicPr>
          <p:cNvPr id="13" name="Picture 12" descr="A person standing next to a car  Description automatically generated with medium confidence">
            <a:extLst>
              <a:ext uri="{FF2B5EF4-FFF2-40B4-BE49-F238E27FC236}">
                <a16:creationId xmlns:a16="http://schemas.microsoft.com/office/drawing/2014/main" id="{CBD1CE70-3A41-3180-EA8E-2B53197B020E}"/>
              </a:ext>
            </a:extLst>
          </p:cNvPr>
          <p:cNvPicPr>
            <a:picLocks noChangeAspect="1"/>
          </p:cNvPicPr>
          <p:nvPr/>
        </p:nvPicPr>
        <p:blipFill>
          <a:blip r:embed="rId9"/>
          <a:stretch>
            <a:fillRect/>
          </a:stretch>
        </p:blipFill>
        <p:spPr>
          <a:xfrm>
            <a:off x="10161950" y="1458093"/>
            <a:ext cx="1980819" cy="1320546"/>
          </a:xfrm>
          <a:prstGeom prst="rect">
            <a:avLst/>
          </a:prstGeom>
          <a:effectLst>
            <a:softEdge rad="127000"/>
          </a:effectLst>
        </p:spPr>
      </p:pic>
      <p:pic>
        <p:nvPicPr>
          <p:cNvPr id="17" name="Picture 16" descr="A hand holding a phone with a map on it  Description automatically generated with low confidence">
            <a:extLst>
              <a:ext uri="{FF2B5EF4-FFF2-40B4-BE49-F238E27FC236}">
                <a16:creationId xmlns:a16="http://schemas.microsoft.com/office/drawing/2014/main" id="{17E142A1-2760-4AD8-9C25-02533B0C65A3}"/>
              </a:ext>
            </a:extLst>
          </p:cNvPr>
          <p:cNvPicPr>
            <a:picLocks noChangeAspect="1"/>
          </p:cNvPicPr>
          <p:nvPr/>
        </p:nvPicPr>
        <p:blipFill>
          <a:blip r:embed="rId10"/>
          <a:stretch>
            <a:fillRect/>
          </a:stretch>
        </p:blipFill>
        <p:spPr>
          <a:xfrm>
            <a:off x="49230" y="4866021"/>
            <a:ext cx="2737291" cy="1320546"/>
          </a:xfrm>
          <a:prstGeom prst="rect">
            <a:avLst/>
          </a:prstGeom>
        </p:spPr>
      </p:pic>
    </p:spTree>
    <p:extLst>
      <p:ext uri="{BB962C8B-B14F-4D97-AF65-F5344CB8AC3E}">
        <p14:creationId xmlns:p14="http://schemas.microsoft.com/office/powerpoint/2010/main" val="218334838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22D7DA1B-C7EC-EB6D-2367-A46D69E6FFEE}"/>
              </a:ext>
            </a:extLst>
          </p:cNvPr>
          <p:cNvSpPr txBox="1"/>
          <p:nvPr/>
        </p:nvSpPr>
        <p:spPr>
          <a:xfrm>
            <a:off x="251235" y="1028415"/>
            <a:ext cx="6097508" cy="646331"/>
          </a:xfrm>
          <a:prstGeom prst="rect">
            <a:avLst/>
          </a:prstGeom>
          <a:noFill/>
        </p:spPr>
        <p:txBody>
          <a:bodyPr wrap="square">
            <a:spAutoFit/>
          </a:bodyPr>
          <a:lstStyle/>
          <a:p>
            <a:pPr>
              <a:defRPr sz="3600"/>
            </a:pPr>
            <a:r>
              <a:t>Paylaşımlı Hareketlilik Türleri</a:t>
            </a:r>
          </a:p>
        </p:txBody>
      </p:sp>
      <p:pic>
        <p:nvPicPr>
          <p:cNvPr id="8" name="Picture 7" descr="A group of people riding bicycles and scooters  Description automatically generated with low confidence">
            <a:extLst>
              <a:ext uri="{FF2B5EF4-FFF2-40B4-BE49-F238E27FC236}">
                <a16:creationId xmlns:a16="http://schemas.microsoft.com/office/drawing/2014/main" id="{EEE2F5C9-03A0-1031-1F48-B2D95478D1F5}"/>
              </a:ext>
            </a:extLst>
          </p:cNvPr>
          <p:cNvPicPr>
            <a:picLocks noChangeAspect="1"/>
          </p:cNvPicPr>
          <p:nvPr/>
        </p:nvPicPr>
        <p:blipFill>
          <a:blip r:embed="rId4"/>
          <a:stretch>
            <a:fillRect/>
          </a:stretch>
        </p:blipFill>
        <p:spPr>
          <a:xfrm>
            <a:off x="6348743" y="2981325"/>
            <a:ext cx="4254127" cy="3200789"/>
          </a:xfrm>
          <a:prstGeom prst="rect">
            <a:avLst/>
          </a:prstGeom>
          <a:effectLst>
            <a:softEdge rad="63500"/>
          </a:effectLst>
        </p:spPr>
      </p:pic>
      <p:graphicFrame>
        <p:nvGraphicFramePr>
          <p:cNvPr id="3" name="Diagram 2">
            <a:extLst>
              <a:ext uri="{FF2B5EF4-FFF2-40B4-BE49-F238E27FC236}">
                <a16:creationId xmlns:a16="http://schemas.microsoft.com/office/drawing/2014/main" id="{4AEA0DE0-BE55-8400-8799-81DFF313A55B}"/>
              </a:ext>
            </a:extLst>
          </p:cNvPr>
          <p:cNvGraphicFramePr/>
          <p:nvPr>
            <p:extLst>
              <p:ext uri="{D42A27DB-BD31-4B8C-83A1-F6EECF244321}">
                <p14:modId xmlns:p14="http://schemas.microsoft.com/office/powerpoint/2010/main" val="2382795126"/>
              </p:ext>
            </p:extLst>
          </p:nvPr>
        </p:nvGraphicFramePr>
        <p:xfrm>
          <a:off x="350910" y="2112268"/>
          <a:ext cx="4314645" cy="371731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6" name="Picture 5" descr="A picture containing vehicle, land vehicle, wheel, cartoon  Description automatically generated">
            <a:extLst>
              <a:ext uri="{FF2B5EF4-FFF2-40B4-BE49-F238E27FC236}">
                <a16:creationId xmlns:a16="http://schemas.microsoft.com/office/drawing/2014/main" id="{FF79C554-4CCA-8690-C38B-AB8D090ADCAB}"/>
              </a:ext>
            </a:extLst>
          </p:cNvPr>
          <p:cNvPicPr>
            <a:picLocks noChangeAspect="1"/>
          </p:cNvPicPr>
          <p:nvPr/>
        </p:nvPicPr>
        <p:blipFill>
          <a:blip r:embed="rId10"/>
          <a:stretch>
            <a:fillRect/>
          </a:stretch>
        </p:blipFill>
        <p:spPr>
          <a:xfrm>
            <a:off x="4949620" y="1559338"/>
            <a:ext cx="2150828" cy="1433885"/>
          </a:xfrm>
          <a:prstGeom prst="rect">
            <a:avLst/>
          </a:prstGeom>
        </p:spPr>
      </p:pic>
      <p:pic>
        <p:nvPicPr>
          <p:cNvPr id="9" name="Picture 8" descr="A picture containing cartoon, clipart, illustration, drawing  Description automatically generated">
            <a:extLst>
              <a:ext uri="{FF2B5EF4-FFF2-40B4-BE49-F238E27FC236}">
                <a16:creationId xmlns:a16="http://schemas.microsoft.com/office/drawing/2014/main" id="{0A7DC2F5-B0B7-1C8B-6218-3A3E14B24DD1}"/>
              </a:ext>
            </a:extLst>
          </p:cNvPr>
          <p:cNvPicPr>
            <a:picLocks noChangeAspect="1"/>
          </p:cNvPicPr>
          <p:nvPr/>
        </p:nvPicPr>
        <p:blipFill>
          <a:blip r:embed="rId11"/>
          <a:stretch>
            <a:fillRect/>
          </a:stretch>
        </p:blipFill>
        <p:spPr>
          <a:xfrm>
            <a:off x="9302497" y="1520657"/>
            <a:ext cx="2497073" cy="1663386"/>
          </a:xfrm>
          <a:prstGeom prst="rect">
            <a:avLst/>
          </a:prstGeom>
          <a:effectLst>
            <a:softEdge rad="317500"/>
          </a:effectLst>
        </p:spPr>
      </p:pic>
    </p:spTree>
    <p:extLst>
      <p:ext uri="{BB962C8B-B14F-4D97-AF65-F5344CB8AC3E}">
        <p14:creationId xmlns:p14="http://schemas.microsoft.com/office/powerpoint/2010/main" val="1085135228"/>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22D7DA1B-C7EC-EB6D-2367-A46D69E6FFEE}"/>
              </a:ext>
            </a:extLst>
          </p:cNvPr>
          <p:cNvSpPr txBox="1"/>
          <p:nvPr/>
        </p:nvSpPr>
        <p:spPr>
          <a:xfrm>
            <a:off x="251235" y="1028415"/>
            <a:ext cx="6097508" cy="646331"/>
          </a:xfrm>
          <a:prstGeom prst="rect">
            <a:avLst/>
          </a:prstGeom>
          <a:noFill/>
        </p:spPr>
        <p:txBody>
          <a:bodyPr wrap="square">
            <a:spAutoFit/>
          </a:bodyPr>
          <a:lstStyle/>
          <a:p>
            <a:pPr>
              <a:defRPr sz="3600"/>
            </a:pPr>
            <a:r>
              <a:t>Paylaşımlı Hareketliliğin Faydaları</a:t>
            </a:r>
          </a:p>
        </p:txBody>
      </p:sp>
      <p:pic>
        <p:nvPicPr>
          <p:cNvPr id="2" name="Picture 1" descr="A picture containing cartoon, illustration  Description automatically generated with low confidence">
            <a:extLst>
              <a:ext uri="{FF2B5EF4-FFF2-40B4-BE49-F238E27FC236}">
                <a16:creationId xmlns:a16="http://schemas.microsoft.com/office/drawing/2014/main" id="{02450173-170C-63FB-F467-D5EB07D40BD8}"/>
              </a:ext>
            </a:extLst>
          </p:cNvPr>
          <p:cNvPicPr>
            <a:picLocks noChangeAspect="1"/>
          </p:cNvPicPr>
          <p:nvPr/>
        </p:nvPicPr>
        <p:blipFill rotWithShape="1">
          <a:blip r:embed="rId4"/>
          <a:srcRect t="1484" r="1" b="2257"/>
          <a:stretch/>
        </p:blipFill>
        <p:spPr>
          <a:xfrm>
            <a:off x="9067227" y="2727729"/>
            <a:ext cx="3124773" cy="3007909"/>
          </a:xfrm>
          <a:custGeom>
            <a:avLst/>
            <a:gdLst/>
            <a:ahLst/>
            <a:cxnLst/>
            <a:rect l="l" t="t" r="r" b="b"/>
            <a:pathLst>
              <a:path w="4290741" h="4130271">
                <a:moveTo>
                  <a:pt x="2503809" y="0"/>
                </a:moveTo>
                <a:cubicBezTo>
                  <a:pt x="3157405" y="0"/>
                  <a:pt x="3752509" y="250434"/>
                  <a:pt x="4198398" y="660580"/>
                </a:cubicBezTo>
                <a:lnTo>
                  <a:pt x="4290741" y="751286"/>
                </a:lnTo>
                <a:lnTo>
                  <a:pt x="4290741" y="4130271"/>
                </a:lnTo>
                <a:lnTo>
                  <a:pt x="604508" y="4130271"/>
                </a:lnTo>
                <a:lnTo>
                  <a:pt x="461940" y="3953232"/>
                </a:lnTo>
                <a:cubicBezTo>
                  <a:pt x="171051" y="3544183"/>
                  <a:pt x="0" y="3043971"/>
                  <a:pt x="0" y="2503809"/>
                </a:cubicBezTo>
                <a:cubicBezTo>
                  <a:pt x="0" y="1120992"/>
                  <a:pt x="1120992" y="0"/>
                  <a:pt x="2503809" y="0"/>
                </a:cubicBezTo>
                <a:close/>
              </a:path>
            </a:pathLst>
          </a:custGeom>
        </p:spPr>
      </p:pic>
      <p:pic>
        <p:nvPicPr>
          <p:cNvPr id="3" name="Picture 2" descr="A person standing next to a bus  Description automatically generated with low confidence">
            <a:extLst>
              <a:ext uri="{FF2B5EF4-FFF2-40B4-BE49-F238E27FC236}">
                <a16:creationId xmlns:a16="http://schemas.microsoft.com/office/drawing/2014/main" id="{E31FDAFB-3054-6D55-82BE-117A5956D1A9}"/>
              </a:ext>
            </a:extLst>
          </p:cNvPr>
          <p:cNvPicPr>
            <a:picLocks noChangeAspect="1"/>
          </p:cNvPicPr>
          <p:nvPr/>
        </p:nvPicPr>
        <p:blipFill rotWithShape="1">
          <a:blip r:embed="rId5"/>
          <a:srcRect l="8817" r="13088" b="4"/>
          <a:stretch/>
        </p:blipFill>
        <p:spPr>
          <a:xfrm>
            <a:off x="6020257" y="1351580"/>
            <a:ext cx="2957107" cy="2527400"/>
          </a:xfrm>
          <a:custGeom>
            <a:avLst/>
            <a:gdLst/>
            <a:ahLst/>
            <a:cxnLst/>
            <a:rect l="l" t="t" r="r" b="b"/>
            <a:pathLst>
              <a:path w="3519312" h="3007909">
                <a:moveTo>
                  <a:pt x="519780" y="0"/>
                </a:moveTo>
                <a:lnTo>
                  <a:pt x="2999532" y="0"/>
                </a:lnTo>
                <a:lnTo>
                  <a:pt x="3003921" y="3989"/>
                </a:lnTo>
                <a:cubicBezTo>
                  <a:pt x="3322356" y="322424"/>
                  <a:pt x="3519312" y="762338"/>
                  <a:pt x="3519312" y="1248253"/>
                </a:cubicBezTo>
                <a:cubicBezTo>
                  <a:pt x="3519312" y="2220084"/>
                  <a:pt x="2731487" y="3007909"/>
                  <a:pt x="1759656" y="3007909"/>
                </a:cubicBezTo>
                <a:cubicBezTo>
                  <a:pt x="787826" y="3007909"/>
                  <a:pt x="0" y="2220084"/>
                  <a:pt x="0" y="1248253"/>
                </a:cubicBezTo>
                <a:cubicBezTo>
                  <a:pt x="0" y="762338"/>
                  <a:pt x="196957" y="322424"/>
                  <a:pt x="515392" y="3989"/>
                </a:cubicBezTo>
                <a:close/>
              </a:path>
            </a:pathLst>
          </a:custGeom>
        </p:spPr>
      </p:pic>
      <p:graphicFrame>
        <p:nvGraphicFramePr>
          <p:cNvPr id="4" name="Diagram 3">
            <a:extLst>
              <a:ext uri="{FF2B5EF4-FFF2-40B4-BE49-F238E27FC236}">
                <a16:creationId xmlns:a16="http://schemas.microsoft.com/office/drawing/2014/main" id="{CB25930E-E6EC-0D3E-AF7D-EE7832FD2CCA}"/>
              </a:ext>
            </a:extLst>
          </p:cNvPr>
          <p:cNvGraphicFramePr/>
          <p:nvPr>
            <p:extLst>
              <p:ext uri="{D42A27DB-BD31-4B8C-83A1-F6EECF244321}">
                <p14:modId xmlns:p14="http://schemas.microsoft.com/office/powerpoint/2010/main" val="1374729863"/>
              </p:ext>
            </p:extLst>
          </p:nvPr>
        </p:nvGraphicFramePr>
        <p:xfrm>
          <a:off x="335797" y="2571530"/>
          <a:ext cx="5092194" cy="3573463"/>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
        <p:nvSpPr>
          <p:cNvPr id="6" name="Oval 5">
            <a:extLst>
              <a:ext uri="{FF2B5EF4-FFF2-40B4-BE49-F238E27FC236}">
                <a16:creationId xmlns:a16="http://schemas.microsoft.com/office/drawing/2014/main" id="{048DDD0D-9D1E-DA96-327D-D06A5CD9FDDF}"/>
              </a:ext>
            </a:extLst>
          </p:cNvPr>
          <p:cNvSpPr/>
          <p:nvPr/>
        </p:nvSpPr>
        <p:spPr>
          <a:xfrm>
            <a:off x="6348743" y="4231683"/>
            <a:ext cx="1352047" cy="1408953"/>
          </a:xfrm>
          <a:prstGeom prst="ellipse">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7" name="Arc 6">
            <a:extLst>
              <a:ext uri="{FF2B5EF4-FFF2-40B4-BE49-F238E27FC236}">
                <a16:creationId xmlns:a16="http://schemas.microsoft.com/office/drawing/2014/main" id="{45533D04-BC6E-36F1-02E8-D74B73426778}"/>
              </a:ext>
            </a:extLst>
          </p:cNvPr>
          <p:cNvSpPr/>
          <p:nvPr/>
        </p:nvSpPr>
        <p:spPr>
          <a:xfrm rot="11187537">
            <a:off x="5666951" y="897726"/>
            <a:ext cx="3264408" cy="2929255"/>
          </a:xfrm>
          <a:prstGeom prst="arc">
            <a:avLst/>
          </a:prstGeom>
          <a:ln w="38100">
            <a:headEnd type="oval" w="med" len="med"/>
            <a:tailEnd type="oval" w="med" len="med"/>
          </a:ln>
        </p:spPr>
        <p:style>
          <a:lnRef idx="1">
            <a:schemeClr val="accent1"/>
          </a:lnRef>
          <a:fillRef idx="0">
            <a:schemeClr val="accent1"/>
          </a:fillRef>
          <a:effectRef idx="0">
            <a:schemeClr val="accent1"/>
          </a:effectRef>
          <a:fontRef idx="minor">
            <a:schemeClr val="tx1"/>
          </a:fontRef>
        </p:style>
        <p:txBody>
          <a:bodyPr anchor="ctr"/>
          <a:lstStyle/>
          <a:p>
            <a:pPr algn="ctr"/>
            <a:endParaRPr lang="en-US"/>
          </a:p>
        </p:txBody>
      </p:sp>
    </p:spTree>
    <p:extLst>
      <p:ext uri="{BB962C8B-B14F-4D97-AF65-F5344CB8AC3E}">
        <p14:creationId xmlns:p14="http://schemas.microsoft.com/office/powerpoint/2010/main" val="1550336079"/>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useBgFill="1">
        <p:nvSpPr>
          <p:cNvPr id="2" name="Rectangle 1">
            <a:extLst>
              <a:ext uri="{FF2B5EF4-FFF2-40B4-BE49-F238E27FC236}">
                <a16:creationId xmlns:a16="http://schemas.microsoft.com/office/drawing/2014/main" id="{46572EF9-F3B5-C3BA-D89A-BB48D03FD1D4}"/>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32202" y="1156050"/>
            <a:ext cx="12324202" cy="5062251"/>
          </a:xfrm>
          <a:prstGeom prst="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
        <p:nvSpPr>
          <p:cNvPr id="3" name="TextBox 2">
            <a:extLst>
              <a:ext uri="{FF2B5EF4-FFF2-40B4-BE49-F238E27FC236}">
                <a16:creationId xmlns:a16="http://schemas.microsoft.com/office/drawing/2014/main" id="{9B309E3C-83C6-2FD2-A21A-152A19696913}"/>
              </a:ext>
            </a:extLst>
          </p:cNvPr>
          <p:cNvSpPr txBox="1"/>
          <p:nvPr/>
        </p:nvSpPr>
        <p:spPr>
          <a:xfrm>
            <a:off x="5718106" y="1375389"/>
            <a:ext cx="6018109" cy="976900"/>
          </a:xfrm>
          <a:prstGeom prst="rect">
            <a:avLst/>
          </a:prstGeom>
        </p:spPr>
        <p:txBody>
          <a:bodyPr vert="horz" lIns="91440" tIns="45720" rIns="91440" bIns="45720" anchor="t">
            <a:normAutofit fontScale="92500" lnSpcReduction="20000"/>
          </a:bodyPr>
          <a:lstStyle/>
          <a:p>
            <a:pPr>
              <a:lnSpc>
                <a:spcPct val="90000"/>
              </a:lnSpc>
              <a:spcBef>
                <a:spcPct val="0"/>
              </a:spcBef>
              <a:spcAft>
                <a:spcPts val="600"/>
              </a:spcAft>
              <a:defRPr sz="4000" kern="1200">
                <a:solidFill>
                  <a:schemeClr val="bg1"/>
                </a:solidFill>
                <a:latin typeface="+mj-lt"/>
                <a:ea typeface="+mj-ea"/>
                <a:cs typeface="+mj-cs"/>
              </a:defRPr>
            </a:pPr>
            <a:r>
              <a:t>Paylaşımlı Hareketliliğin Zorlukları</a:t>
            </a:r>
          </a:p>
        </p:txBody>
      </p:sp>
      <p:pic>
        <p:nvPicPr>
          <p:cNvPr id="4" name="Picture 3" descr="A picture containing vehicle, car, land vehicle, crosswalk  Description automatically generated">
            <a:extLst>
              <a:ext uri="{FF2B5EF4-FFF2-40B4-BE49-F238E27FC236}">
                <a16:creationId xmlns:a16="http://schemas.microsoft.com/office/drawing/2014/main" id="{08FE6A47-F336-529D-D734-55730A1ED766}"/>
              </a:ext>
            </a:extLst>
          </p:cNvPr>
          <p:cNvPicPr>
            <a:picLocks noChangeAspect="1"/>
          </p:cNvPicPr>
          <p:nvPr/>
        </p:nvPicPr>
        <p:blipFill rotWithShape="1">
          <a:blip r:embed="rId4"/>
          <a:srcRect r="1" b="17969"/>
          <a:stretch/>
        </p:blipFill>
        <p:spPr>
          <a:xfrm>
            <a:off x="254942" y="1158298"/>
            <a:ext cx="4779766" cy="2387983"/>
          </a:xfrm>
          <a:custGeom>
            <a:avLst/>
            <a:gdLst/>
            <a:ahLst/>
            <a:cxnLst/>
            <a:rect l="l" t="t" r="r" b="b"/>
            <a:pathLst>
              <a:path w="6088380" h="3333749">
                <a:moveTo>
                  <a:pt x="0" y="0"/>
                </a:moveTo>
                <a:lnTo>
                  <a:pt x="6088380" y="0"/>
                </a:lnTo>
                <a:lnTo>
                  <a:pt x="6088380" y="2202180"/>
                </a:lnTo>
                <a:lnTo>
                  <a:pt x="5913795" y="3333749"/>
                </a:lnTo>
                <a:lnTo>
                  <a:pt x="0" y="3333749"/>
                </a:lnTo>
                <a:close/>
              </a:path>
            </a:pathLst>
          </a:custGeom>
        </p:spPr>
      </p:pic>
      <p:pic>
        <p:nvPicPr>
          <p:cNvPr id="5" name="Picture 4" descr="A picture containing sky, outdoor, road, infrastructure  Description automatically generated">
            <a:extLst>
              <a:ext uri="{FF2B5EF4-FFF2-40B4-BE49-F238E27FC236}">
                <a16:creationId xmlns:a16="http://schemas.microsoft.com/office/drawing/2014/main" id="{91B724D4-94DA-58AB-0051-4179F373B9AB}"/>
              </a:ext>
            </a:extLst>
          </p:cNvPr>
          <p:cNvPicPr>
            <a:picLocks noChangeAspect="1"/>
          </p:cNvPicPr>
          <p:nvPr/>
        </p:nvPicPr>
        <p:blipFill rotWithShape="1">
          <a:blip r:embed="rId5"/>
          <a:srcRect t="17968" r="1" b="1"/>
          <a:stretch/>
        </p:blipFill>
        <p:spPr>
          <a:xfrm>
            <a:off x="254943" y="3546283"/>
            <a:ext cx="4879857" cy="2672019"/>
          </a:xfrm>
          <a:custGeom>
            <a:avLst/>
            <a:gdLst/>
            <a:ahLst/>
            <a:cxnLst/>
            <a:rect l="l" t="t" r="r" b="b"/>
            <a:pathLst>
              <a:path w="6088380" h="3333748">
                <a:moveTo>
                  <a:pt x="0" y="0"/>
                </a:moveTo>
                <a:lnTo>
                  <a:pt x="5884403" y="0"/>
                </a:lnTo>
                <a:lnTo>
                  <a:pt x="5882640" y="11428"/>
                </a:lnTo>
                <a:lnTo>
                  <a:pt x="5562600" y="1931668"/>
                </a:lnTo>
                <a:lnTo>
                  <a:pt x="6088380" y="3333748"/>
                </a:lnTo>
                <a:lnTo>
                  <a:pt x="0" y="3333748"/>
                </a:lnTo>
                <a:close/>
              </a:path>
            </a:pathLst>
          </a:custGeom>
        </p:spPr>
      </p:pic>
      <p:grpSp>
        <p:nvGrpSpPr>
          <p:cNvPr id="6" name="Group 5">
            <a:extLst>
              <a:ext uri="{FF2B5EF4-FFF2-40B4-BE49-F238E27FC236}">
                <a16:creationId xmlns:a16="http://schemas.microsoft.com/office/drawing/2014/main" id="{BA76F401-6D79-365F-0410-26B3047BDDAF}"/>
              </a:ext>
              <a:ext uri="{C183D7F6-B498-43B3-948B-1728B52AA6E4}">
                <adec:decorative xmlns:adec="http://schemas.microsoft.com/office/drawing/2017/decorative" val="1"/>
              </a:ext>
            </a:extLst>
          </p:cNvPr>
          <p:cNvGrpSpPr/>
          <p:nvPr>
            <p:extLst>
              <p:ext uri="{386F3935-93C4-4BCD-93E2-E3B085C9AB24}">
                <p16:designElem xmlns:p16="http://schemas.microsoft.com/office/powerpoint/2015/main" val="1"/>
              </p:ext>
            </p:extLst>
          </p:nvPr>
        </p:nvGrpSpPr>
        <p:grpSpPr>
          <a:xfrm>
            <a:off x="4462921" y="1158298"/>
            <a:ext cx="701090" cy="5061849"/>
            <a:chOff x="5395370" y="544"/>
            <a:chExt cx="874716" cy="6857455"/>
          </a:xfrm>
        </p:grpSpPr>
        <p:sp>
          <p:nvSpPr>
            <p:cNvPr id="7" name="Freeform: Shape 6">
              <a:extLst>
                <a:ext uri="{FF2B5EF4-FFF2-40B4-BE49-F238E27FC236}">
                  <a16:creationId xmlns:a16="http://schemas.microsoft.com/office/drawing/2014/main" id="{9E724B3A-1429-50E7-E94C-630BAB2EA5F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2404000" y="2991914"/>
              <a:ext cx="6857455" cy="874716"/>
            </a:xfrm>
            <a:custGeom>
              <a:avLst/>
              <a:gdLst>
                <a:gd name="connsiteX0" fmla="*/ 6857455 w 6857455"/>
                <a:gd name="connsiteY0" fmla="*/ 804643 h 874716"/>
                <a:gd name="connsiteX1" fmla="*/ 6857455 w 6857455"/>
                <a:gd name="connsiteY1" fmla="*/ 562246 h 874716"/>
                <a:gd name="connsiteX2" fmla="*/ 6829178 w 6857455"/>
                <a:gd name="connsiteY2" fmla="*/ 551284 h 874716"/>
                <a:gd name="connsiteX3" fmla="*/ 6766024 w 6857455"/>
                <a:gd name="connsiteY3" fmla="*/ 500372 h 874716"/>
                <a:gd name="connsiteX4" fmla="*/ 6734971 w 6857455"/>
                <a:gd name="connsiteY4" fmla="*/ 500944 h 874716"/>
                <a:gd name="connsiteX5" fmla="*/ 6683915 w 6857455"/>
                <a:gd name="connsiteY5" fmla="*/ 507040 h 874716"/>
                <a:gd name="connsiteX6" fmla="*/ 6628860 w 6857455"/>
                <a:gd name="connsiteY6" fmla="*/ 495418 h 874716"/>
                <a:gd name="connsiteX7" fmla="*/ 6588662 w 6857455"/>
                <a:gd name="connsiteY7" fmla="*/ 487227 h 874716"/>
                <a:gd name="connsiteX8" fmla="*/ 6476074 w 6857455"/>
                <a:gd name="connsiteY8" fmla="*/ 511230 h 874716"/>
                <a:gd name="connsiteX9" fmla="*/ 6382345 w 6857455"/>
                <a:gd name="connsiteY9" fmla="*/ 534853 h 874716"/>
                <a:gd name="connsiteX10" fmla="*/ 6369391 w 6857455"/>
                <a:gd name="connsiteY10" fmla="*/ 531615 h 874716"/>
                <a:gd name="connsiteX11" fmla="*/ 6244799 w 6857455"/>
                <a:gd name="connsiteY11" fmla="*/ 512182 h 874716"/>
                <a:gd name="connsiteX12" fmla="*/ 6190315 w 6857455"/>
                <a:gd name="connsiteY12" fmla="*/ 485703 h 874716"/>
                <a:gd name="connsiteX13" fmla="*/ 6115446 w 6857455"/>
                <a:gd name="connsiteY13" fmla="*/ 462270 h 874716"/>
                <a:gd name="connsiteX14" fmla="*/ 6032194 w 6857455"/>
                <a:gd name="connsiteY14" fmla="*/ 434266 h 874716"/>
                <a:gd name="connsiteX15" fmla="*/ 5971042 w 6857455"/>
                <a:gd name="connsiteY15" fmla="*/ 420738 h 874716"/>
                <a:gd name="connsiteX16" fmla="*/ 5880933 w 6857455"/>
                <a:gd name="connsiteY16" fmla="*/ 430646 h 874716"/>
                <a:gd name="connsiteX17" fmla="*/ 5862452 w 6857455"/>
                <a:gd name="connsiteY17" fmla="*/ 438648 h 874716"/>
                <a:gd name="connsiteX18" fmla="*/ 5685283 w 6857455"/>
                <a:gd name="connsiteY18" fmla="*/ 498658 h 874716"/>
                <a:gd name="connsiteX19" fmla="*/ 5567169 w 6857455"/>
                <a:gd name="connsiteY19" fmla="*/ 499420 h 874716"/>
                <a:gd name="connsiteX20" fmla="*/ 5527923 w 6857455"/>
                <a:gd name="connsiteY20" fmla="*/ 490466 h 874716"/>
                <a:gd name="connsiteX21" fmla="*/ 5456292 w 6857455"/>
                <a:gd name="connsiteY21" fmla="*/ 450650 h 874716"/>
                <a:gd name="connsiteX22" fmla="*/ 5424670 w 6857455"/>
                <a:gd name="connsiteY22" fmla="*/ 444934 h 874716"/>
                <a:gd name="connsiteX23" fmla="*/ 5368662 w 6857455"/>
                <a:gd name="connsiteY23" fmla="*/ 441124 h 874716"/>
                <a:gd name="connsiteX24" fmla="*/ 5247118 w 6857455"/>
                <a:gd name="connsiteY24" fmla="*/ 444934 h 874716"/>
                <a:gd name="connsiteX25" fmla="*/ 5088617 w 6857455"/>
                <a:gd name="connsiteY25" fmla="*/ 428742 h 874716"/>
                <a:gd name="connsiteX26" fmla="*/ 5025750 w 6857455"/>
                <a:gd name="connsiteY26" fmla="*/ 433694 h 874716"/>
                <a:gd name="connsiteX27" fmla="*/ 4957930 w 6857455"/>
                <a:gd name="connsiteY27" fmla="*/ 442268 h 874716"/>
                <a:gd name="connsiteX28" fmla="*/ 4938116 w 6857455"/>
                <a:gd name="connsiteY28" fmla="*/ 441886 h 874716"/>
                <a:gd name="connsiteX29" fmla="*/ 4833910 w 6857455"/>
                <a:gd name="connsiteY29" fmla="*/ 421693 h 874716"/>
                <a:gd name="connsiteX30" fmla="*/ 4810095 w 6857455"/>
                <a:gd name="connsiteY30" fmla="*/ 408167 h 874716"/>
                <a:gd name="connsiteX31" fmla="*/ 4747991 w 6857455"/>
                <a:gd name="connsiteY31" fmla="*/ 413691 h 874716"/>
                <a:gd name="connsiteX32" fmla="*/ 4692745 w 6857455"/>
                <a:gd name="connsiteY32" fmla="*/ 435790 h 874716"/>
                <a:gd name="connsiteX33" fmla="*/ 4375933 w 6857455"/>
                <a:gd name="connsiteY33" fmla="*/ 483417 h 874716"/>
                <a:gd name="connsiteX34" fmla="*/ 4185426 w 6857455"/>
                <a:gd name="connsiteY34" fmla="*/ 484179 h 874716"/>
                <a:gd name="connsiteX35" fmla="*/ 4052072 w 6857455"/>
                <a:gd name="connsiteY35" fmla="*/ 505134 h 874716"/>
                <a:gd name="connsiteX36" fmla="*/ 4029973 w 6857455"/>
                <a:gd name="connsiteY36" fmla="*/ 527233 h 874716"/>
                <a:gd name="connsiteX37" fmla="*/ 3948626 w 6857455"/>
                <a:gd name="connsiteY37" fmla="*/ 550666 h 874716"/>
                <a:gd name="connsiteX38" fmla="*/ 3871280 w 6857455"/>
                <a:gd name="connsiteY38" fmla="*/ 502275 h 874716"/>
                <a:gd name="connsiteX39" fmla="*/ 3774312 w 6857455"/>
                <a:gd name="connsiteY39" fmla="*/ 429122 h 874716"/>
                <a:gd name="connsiteX40" fmla="*/ 3721543 w 6857455"/>
                <a:gd name="connsiteY40" fmla="*/ 428552 h 874716"/>
                <a:gd name="connsiteX41" fmla="*/ 3612763 w 6857455"/>
                <a:gd name="connsiteY41" fmla="*/ 414263 h 874716"/>
                <a:gd name="connsiteX42" fmla="*/ 3537323 w 6857455"/>
                <a:gd name="connsiteY42" fmla="*/ 389878 h 874716"/>
                <a:gd name="connsiteX43" fmla="*/ 3431593 w 6857455"/>
                <a:gd name="connsiteY43" fmla="*/ 360921 h 874716"/>
                <a:gd name="connsiteX44" fmla="*/ 3392158 w 6857455"/>
                <a:gd name="connsiteY44" fmla="*/ 345681 h 874716"/>
                <a:gd name="connsiteX45" fmla="*/ 3297856 w 6857455"/>
                <a:gd name="connsiteY45" fmla="*/ 323010 h 874716"/>
                <a:gd name="connsiteX46" fmla="*/ 3219748 w 6857455"/>
                <a:gd name="connsiteY46" fmla="*/ 308151 h 874716"/>
                <a:gd name="connsiteX47" fmla="*/ 3156692 w 6857455"/>
                <a:gd name="connsiteY47" fmla="*/ 261668 h 874716"/>
                <a:gd name="connsiteX48" fmla="*/ 3136497 w 6857455"/>
                <a:gd name="connsiteY48" fmla="*/ 237663 h 874716"/>
                <a:gd name="connsiteX49" fmla="*/ 3119733 w 6857455"/>
                <a:gd name="connsiteY49" fmla="*/ 222233 h 874716"/>
                <a:gd name="connsiteX50" fmla="*/ 3045436 w 6857455"/>
                <a:gd name="connsiteY50" fmla="*/ 131742 h 874716"/>
                <a:gd name="connsiteX51" fmla="*/ 3037054 w 6857455"/>
                <a:gd name="connsiteY51" fmla="*/ 124121 h 874716"/>
                <a:gd name="connsiteX52" fmla="*/ 2936466 w 6857455"/>
                <a:gd name="connsiteY52" fmla="*/ 82400 h 874716"/>
                <a:gd name="connsiteX53" fmla="*/ 2901031 w 6857455"/>
                <a:gd name="connsiteY53" fmla="*/ 59731 h 874716"/>
                <a:gd name="connsiteX54" fmla="*/ 2828259 w 6857455"/>
                <a:gd name="connsiteY54" fmla="*/ 3149 h 874716"/>
                <a:gd name="connsiteX55" fmla="*/ 2799492 w 6857455"/>
                <a:gd name="connsiteY55" fmla="*/ 1245 h 874716"/>
                <a:gd name="connsiteX56" fmla="*/ 2693570 w 6857455"/>
                <a:gd name="connsiteY56" fmla="*/ 35154 h 874716"/>
                <a:gd name="connsiteX57" fmla="*/ 2639847 w 6857455"/>
                <a:gd name="connsiteY57" fmla="*/ 73448 h 874716"/>
                <a:gd name="connsiteX58" fmla="*/ 2621178 w 6857455"/>
                <a:gd name="connsiteY58" fmla="*/ 88688 h 874716"/>
                <a:gd name="connsiteX59" fmla="*/ 2489348 w 6857455"/>
                <a:gd name="connsiteY59" fmla="*/ 72304 h 874716"/>
                <a:gd name="connsiteX60" fmla="*/ 2452580 w 6857455"/>
                <a:gd name="connsiteY60" fmla="*/ 68683 h 874716"/>
                <a:gd name="connsiteX61" fmla="*/ 2326464 w 6857455"/>
                <a:gd name="connsiteY61" fmla="*/ 50395 h 874716"/>
                <a:gd name="connsiteX62" fmla="*/ 2300365 w 6857455"/>
                <a:gd name="connsiteY62" fmla="*/ 54777 h 874716"/>
                <a:gd name="connsiteX63" fmla="*/ 2130434 w 6857455"/>
                <a:gd name="connsiteY63" fmla="*/ 58397 h 874716"/>
                <a:gd name="connsiteX64" fmla="*/ 2118621 w 6857455"/>
                <a:gd name="connsiteY64" fmla="*/ 47919 h 874716"/>
                <a:gd name="connsiteX65" fmla="*/ 2057659 w 6857455"/>
                <a:gd name="connsiteY65" fmla="*/ 16866 h 874716"/>
                <a:gd name="connsiteX66" fmla="*/ 1976314 w 6857455"/>
                <a:gd name="connsiteY66" fmla="*/ 8865 h 874716"/>
                <a:gd name="connsiteX67" fmla="*/ 1961454 w 6857455"/>
                <a:gd name="connsiteY67" fmla="*/ 11724 h 874716"/>
                <a:gd name="connsiteX68" fmla="*/ 1906588 w 6857455"/>
                <a:gd name="connsiteY68" fmla="*/ 30964 h 874716"/>
                <a:gd name="connsiteX69" fmla="*/ 1783330 w 6857455"/>
                <a:gd name="connsiteY69" fmla="*/ 48871 h 874716"/>
                <a:gd name="connsiteX70" fmla="*/ 1759327 w 6857455"/>
                <a:gd name="connsiteY70" fmla="*/ 55349 h 874716"/>
                <a:gd name="connsiteX71" fmla="*/ 1716082 w 6857455"/>
                <a:gd name="connsiteY71" fmla="*/ 65445 h 874716"/>
                <a:gd name="connsiteX72" fmla="*/ 1598920 w 6857455"/>
                <a:gd name="connsiteY72" fmla="*/ 72114 h 874716"/>
                <a:gd name="connsiteX73" fmla="*/ 1542150 w 6857455"/>
                <a:gd name="connsiteY73" fmla="*/ 62207 h 874716"/>
                <a:gd name="connsiteX74" fmla="*/ 1516813 w 6857455"/>
                <a:gd name="connsiteY74" fmla="*/ 62779 h 874716"/>
                <a:gd name="connsiteX75" fmla="*/ 1432228 w 6857455"/>
                <a:gd name="connsiteY75" fmla="*/ 88116 h 874716"/>
                <a:gd name="connsiteX76" fmla="*/ 1224765 w 6857455"/>
                <a:gd name="connsiteY76" fmla="*/ 71924 h 874716"/>
                <a:gd name="connsiteX77" fmla="*/ 1159231 w 6857455"/>
                <a:gd name="connsiteY77" fmla="*/ 58207 h 874716"/>
                <a:gd name="connsiteX78" fmla="*/ 1124370 w 6857455"/>
                <a:gd name="connsiteY78" fmla="*/ 56301 h 874716"/>
                <a:gd name="connsiteX79" fmla="*/ 1075600 w 6857455"/>
                <a:gd name="connsiteY79" fmla="*/ 75542 h 874716"/>
                <a:gd name="connsiteX80" fmla="*/ 986633 w 6857455"/>
                <a:gd name="connsiteY80" fmla="*/ 79162 h 874716"/>
                <a:gd name="connsiteX81" fmla="*/ 861089 w 6857455"/>
                <a:gd name="connsiteY81" fmla="*/ 76304 h 874716"/>
                <a:gd name="connsiteX82" fmla="*/ 759168 w 6857455"/>
                <a:gd name="connsiteY82" fmla="*/ 104689 h 874716"/>
                <a:gd name="connsiteX83" fmla="*/ 723735 w 6857455"/>
                <a:gd name="connsiteY83" fmla="*/ 140696 h 874716"/>
                <a:gd name="connsiteX84" fmla="*/ 647532 w 6857455"/>
                <a:gd name="connsiteY84" fmla="*/ 147934 h 874716"/>
                <a:gd name="connsiteX85" fmla="*/ 552659 w 6857455"/>
                <a:gd name="connsiteY85" fmla="*/ 95926 h 874716"/>
                <a:gd name="connsiteX86" fmla="*/ 541800 w 6857455"/>
                <a:gd name="connsiteY86" fmla="*/ 97640 h 874716"/>
                <a:gd name="connsiteX87" fmla="*/ 375107 w 6857455"/>
                <a:gd name="connsiteY87" fmla="*/ 123169 h 874716"/>
                <a:gd name="connsiteX88" fmla="*/ 273567 w 6857455"/>
                <a:gd name="connsiteY88" fmla="*/ 145458 h 874716"/>
                <a:gd name="connsiteX89" fmla="*/ 264043 w 6857455"/>
                <a:gd name="connsiteY89" fmla="*/ 154792 h 874716"/>
                <a:gd name="connsiteX90" fmla="*/ 169360 w 6857455"/>
                <a:gd name="connsiteY90" fmla="*/ 177273 h 874716"/>
                <a:gd name="connsiteX91" fmla="*/ 89347 w 6857455"/>
                <a:gd name="connsiteY91" fmla="*/ 157460 h 874716"/>
                <a:gd name="connsiteX92" fmla="*/ 34291 w 6857455"/>
                <a:gd name="connsiteY92" fmla="*/ 145268 h 874716"/>
                <a:gd name="connsiteX93" fmla="*/ 0 w 6857455"/>
                <a:gd name="connsiteY93" fmla="*/ 142056 h 874716"/>
                <a:gd name="connsiteX94" fmla="*/ 0 w 6857455"/>
                <a:gd name="connsiteY94" fmla="*/ 849556 h 874716"/>
                <a:gd name="connsiteX95" fmla="*/ 60652 w 6857455"/>
                <a:gd name="connsiteY95" fmla="*/ 844783 h 874716"/>
                <a:gd name="connsiteX96" fmla="*/ 119068 w 6857455"/>
                <a:gd name="connsiteY96" fmla="*/ 827281 h 874716"/>
                <a:gd name="connsiteX97" fmla="*/ 171840 w 6857455"/>
                <a:gd name="connsiteY97" fmla="*/ 804420 h 874716"/>
                <a:gd name="connsiteX98" fmla="*/ 274329 w 6857455"/>
                <a:gd name="connsiteY98" fmla="*/ 794324 h 874716"/>
                <a:gd name="connsiteX99" fmla="*/ 306715 w 6857455"/>
                <a:gd name="connsiteY99" fmla="*/ 788798 h 874716"/>
                <a:gd name="connsiteX100" fmla="*/ 393967 w 6857455"/>
                <a:gd name="connsiteY100" fmla="*/ 765937 h 874716"/>
                <a:gd name="connsiteX101" fmla="*/ 493793 w 6857455"/>
                <a:gd name="connsiteY101" fmla="*/ 725549 h 874716"/>
                <a:gd name="connsiteX102" fmla="*/ 546373 w 6857455"/>
                <a:gd name="connsiteY102" fmla="*/ 740600 h 874716"/>
                <a:gd name="connsiteX103" fmla="*/ 730211 w 6857455"/>
                <a:gd name="connsiteY103" fmla="*/ 698116 h 874716"/>
                <a:gd name="connsiteX104" fmla="*/ 784889 w 6857455"/>
                <a:gd name="connsiteY104" fmla="*/ 676018 h 874716"/>
                <a:gd name="connsiteX105" fmla="*/ 800509 w 6857455"/>
                <a:gd name="connsiteY105" fmla="*/ 661349 h 874716"/>
                <a:gd name="connsiteX106" fmla="*/ 857661 w 6857455"/>
                <a:gd name="connsiteY106" fmla="*/ 626868 h 874716"/>
                <a:gd name="connsiteX107" fmla="*/ 949102 w 6857455"/>
                <a:gd name="connsiteY107" fmla="*/ 614676 h 874716"/>
                <a:gd name="connsiteX108" fmla="*/ 960342 w 6857455"/>
                <a:gd name="connsiteY108" fmla="*/ 607435 h 874716"/>
                <a:gd name="connsiteX109" fmla="*/ 977109 w 6857455"/>
                <a:gd name="connsiteY109" fmla="*/ 595815 h 874716"/>
                <a:gd name="connsiteX110" fmla="*/ 1071218 w 6857455"/>
                <a:gd name="connsiteY110" fmla="*/ 575240 h 874716"/>
                <a:gd name="connsiteX111" fmla="*/ 1091983 w 6857455"/>
                <a:gd name="connsiteY111" fmla="*/ 568764 h 874716"/>
                <a:gd name="connsiteX112" fmla="*/ 1109321 w 6857455"/>
                <a:gd name="connsiteY112" fmla="*/ 557904 h 874716"/>
                <a:gd name="connsiteX113" fmla="*/ 1162279 w 6857455"/>
                <a:gd name="connsiteY113" fmla="*/ 532949 h 874716"/>
                <a:gd name="connsiteX114" fmla="*/ 1206097 w 6857455"/>
                <a:gd name="connsiteY114" fmla="*/ 532187 h 874716"/>
                <a:gd name="connsiteX115" fmla="*/ 1266867 w 6857455"/>
                <a:gd name="connsiteY115" fmla="*/ 518088 h 874716"/>
                <a:gd name="connsiteX116" fmla="*/ 1380219 w 6857455"/>
                <a:gd name="connsiteY116" fmla="*/ 504182 h 874716"/>
                <a:gd name="connsiteX117" fmla="*/ 1403461 w 6857455"/>
                <a:gd name="connsiteY117" fmla="*/ 496180 h 874716"/>
                <a:gd name="connsiteX118" fmla="*/ 1544054 w 6857455"/>
                <a:gd name="connsiteY118" fmla="*/ 458268 h 874716"/>
                <a:gd name="connsiteX119" fmla="*/ 1656644 w 6857455"/>
                <a:gd name="connsiteY119" fmla="*/ 459032 h 874716"/>
                <a:gd name="connsiteX120" fmla="*/ 1665406 w 6857455"/>
                <a:gd name="connsiteY120" fmla="*/ 460747 h 874716"/>
                <a:gd name="connsiteX121" fmla="*/ 1708461 w 6857455"/>
                <a:gd name="connsiteY121" fmla="*/ 473318 h 874716"/>
                <a:gd name="connsiteX122" fmla="*/ 1775140 w 6857455"/>
                <a:gd name="connsiteY122" fmla="*/ 469891 h 874716"/>
                <a:gd name="connsiteX123" fmla="*/ 1821051 w 6857455"/>
                <a:gd name="connsiteY123" fmla="*/ 452554 h 874716"/>
                <a:gd name="connsiteX124" fmla="*/ 1878203 w 6857455"/>
                <a:gd name="connsiteY124" fmla="*/ 451792 h 874716"/>
                <a:gd name="connsiteX125" fmla="*/ 1943547 w 6857455"/>
                <a:gd name="connsiteY125" fmla="*/ 462651 h 874716"/>
                <a:gd name="connsiteX126" fmla="*/ 1972884 w 6857455"/>
                <a:gd name="connsiteY126" fmla="*/ 464937 h 874716"/>
                <a:gd name="connsiteX127" fmla="*/ 2053469 w 6857455"/>
                <a:gd name="connsiteY127" fmla="*/ 487417 h 874716"/>
                <a:gd name="connsiteX128" fmla="*/ 2101477 w 6857455"/>
                <a:gd name="connsiteY128" fmla="*/ 481893 h 874716"/>
                <a:gd name="connsiteX129" fmla="*/ 2148722 w 6857455"/>
                <a:gd name="connsiteY129" fmla="*/ 467033 h 874716"/>
                <a:gd name="connsiteX130" fmla="*/ 2179011 w 6857455"/>
                <a:gd name="connsiteY130" fmla="*/ 452744 h 874716"/>
                <a:gd name="connsiteX131" fmla="*/ 2240165 w 6857455"/>
                <a:gd name="connsiteY131" fmla="*/ 442648 h 874716"/>
                <a:gd name="connsiteX132" fmla="*/ 2251404 w 6857455"/>
                <a:gd name="connsiteY132" fmla="*/ 444172 h 874716"/>
                <a:gd name="connsiteX133" fmla="*/ 2433912 w 6857455"/>
                <a:gd name="connsiteY133" fmla="*/ 456746 h 874716"/>
                <a:gd name="connsiteX134" fmla="*/ 2506302 w 6857455"/>
                <a:gd name="connsiteY134" fmla="*/ 476939 h 874716"/>
                <a:gd name="connsiteX135" fmla="*/ 2521735 w 6857455"/>
                <a:gd name="connsiteY135" fmla="*/ 479415 h 874716"/>
                <a:gd name="connsiteX136" fmla="*/ 2675854 w 6857455"/>
                <a:gd name="connsiteY136" fmla="*/ 502086 h 874716"/>
                <a:gd name="connsiteX137" fmla="*/ 2692998 w 6857455"/>
                <a:gd name="connsiteY137" fmla="*/ 503038 h 874716"/>
                <a:gd name="connsiteX138" fmla="*/ 2740816 w 6857455"/>
                <a:gd name="connsiteY138" fmla="*/ 499037 h 874716"/>
                <a:gd name="connsiteX139" fmla="*/ 2853596 w 6857455"/>
                <a:gd name="connsiteY139" fmla="*/ 540187 h 874716"/>
                <a:gd name="connsiteX140" fmla="*/ 2966565 w 6857455"/>
                <a:gd name="connsiteY140" fmla="*/ 554286 h 874716"/>
                <a:gd name="connsiteX141" fmla="*/ 3028671 w 6857455"/>
                <a:gd name="connsiteY141" fmla="*/ 554094 h 874716"/>
                <a:gd name="connsiteX142" fmla="*/ 3073059 w 6857455"/>
                <a:gd name="connsiteY142" fmla="*/ 564192 h 874716"/>
                <a:gd name="connsiteX143" fmla="*/ 3182219 w 6857455"/>
                <a:gd name="connsiteY143" fmla="*/ 594862 h 874716"/>
                <a:gd name="connsiteX144" fmla="*/ 3233656 w 6857455"/>
                <a:gd name="connsiteY144" fmla="*/ 599625 h 874716"/>
                <a:gd name="connsiteX145" fmla="*/ 3288332 w 6857455"/>
                <a:gd name="connsiteY145" fmla="*/ 609914 h 874716"/>
                <a:gd name="connsiteX146" fmla="*/ 3423591 w 6857455"/>
                <a:gd name="connsiteY146" fmla="*/ 656015 h 874716"/>
                <a:gd name="connsiteX147" fmla="*/ 3534084 w 6857455"/>
                <a:gd name="connsiteY147" fmla="*/ 653349 h 874716"/>
                <a:gd name="connsiteX148" fmla="*/ 3604571 w 6857455"/>
                <a:gd name="connsiteY148" fmla="*/ 653918 h 874716"/>
                <a:gd name="connsiteX149" fmla="*/ 3688586 w 6857455"/>
                <a:gd name="connsiteY149" fmla="*/ 669160 h 874716"/>
                <a:gd name="connsiteX150" fmla="*/ 3757358 w 6857455"/>
                <a:gd name="connsiteY150" fmla="*/ 691450 h 874716"/>
                <a:gd name="connsiteX151" fmla="*/ 3852421 w 6857455"/>
                <a:gd name="connsiteY151" fmla="*/ 709167 h 874716"/>
                <a:gd name="connsiteX152" fmla="*/ 3947104 w 6857455"/>
                <a:gd name="connsiteY152" fmla="*/ 743267 h 874716"/>
                <a:gd name="connsiteX153" fmla="*/ 4013208 w 6857455"/>
                <a:gd name="connsiteY153" fmla="*/ 769367 h 874716"/>
                <a:gd name="connsiteX154" fmla="*/ 4105222 w 6857455"/>
                <a:gd name="connsiteY154" fmla="*/ 792418 h 874716"/>
                <a:gd name="connsiteX155" fmla="*/ 4246006 w 6857455"/>
                <a:gd name="connsiteY155" fmla="*/ 808610 h 874716"/>
                <a:gd name="connsiteX156" fmla="*/ 4310779 w 6857455"/>
                <a:gd name="connsiteY156" fmla="*/ 810326 h 874716"/>
                <a:gd name="connsiteX157" fmla="*/ 4413272 w 6857455"/>
                <a:gd name="connsiteY157" fmla="*/ 848235 h 874716"/>
                <a:gd name="connsiteX158" fmla="*/ 4457087 w 6857455"/>
                <a:gd name="connsiteY158" fmla="*/ 866524 h 874716"/>
                <a:gd name="connsiteX159" fmla="*/ 4496523 w 6857455"/>
                <a:gd name="connsiteY159" fmla="*/ 851284 h 874716"/>
                <a:gd name="connsiteX160" fmla="*/ 4522050 w 6857455"/>
                <a:gd name="connsiteY160" fmla="*/ 833757 h 874716"/>
                <a:gd name="connsiteX161" fmla="*/ 4602824 w 6857455"/>
                <a:gd name="connsiteY161" fmla="*/ 848618 h 874716"/>
                <a:gd name="connsiteX162" fmla="*/ 4688553 w 6857455"/>
                <a:gd name="connsiteY162" fmla="*/ 864238 h 874716"/>
                <a:gd name="connsiteX163" fmla="*/ 4749895 w 6857455"/>
                <a:gd name="connsiteY163" fmla="*/ 874716 h 874716"/>
                <a:gd name="connsiteX164" fmla="*/ 4826480 w 6857455"/>
                <a:gd name="connsiteY164" fmla="*/ 866334 h 874716"/>
                <a:gd name="connsiteX165" fmla="*/ 4886870 w 6857455"/>
                <a:gd name="connsiteY165" fmla="*/ 862906 h 874716"/>
                <a:gd name="connsiteX166" fmla="*/ 4935639 w 6857455"/>
                <a:gd name="connsiteY166" fmla="*/ 853190 h 874716"/>
                <a:gd name="connsiteX167" fmla="*/ 4952784 w 6857455"/>
                <a:gd name="connsiteY167" fmla="*/ 847473 h 874716"/>
                <a:gd name="connsiteX168" fmla="*/ 5088617 w 6857455"/>
                <a:gd name="connsiteY168" fmla="*/ 802896 h 874716"/>
                <a:gd name="connsiteX169" fmla="*/ 5233781 w 6857455"/>
                <a:gd name="connsiteY169" fmla="*/ 767271 h 874716"/>
                <a:gd name="connsiteX170" fmla="*/ 5327893 w 6857455"/>
                <a:gd name="connsiteY170" fmla="*/ 789752 h 874716"/>
                <a:gd name="connsiteX171" fmla="*/ 5362946 w 6857455"/>
                <a:gd name="connsiteY171" fmla="*/ 789370 h 874716"/>
                <a:gd name="connsiteX172" fmla="*/ 5524115 w 6857455"/>
                <a:gd name="connsiteY172" fmla="*/ 794514 h 874716"/>
                <a:gd name="connsiteX173" fmla="*/ 5552500 w 6857455"/>
                <a:gd name="connsiteY173" fmla="*/ 800038 h 874716"/>
                <a:gd name="connsiteX174" fmla="*/ 5705857 w 6857455"/>
                <a:gd name="connsiteY174" fmla="*/ 777367 h 874716"/>
                <a:gd name="connsiteX175" fmla="*/ 5761485 w 6857455"/>
                <a:gd name="connsiteY175" fmla="*/ 773557 h 874716"/>
                <a:gd name="connsiteX176" fmla="*/ 5812731 w 6857455"/>
                <a:gd name="connsiteY176" fmla="*/ 767271 h 874716"/>
                <a:gd name="connsiteX177" fmla="*/ 5884361 w 6857455"/>
                <a:gd name="connsiteY177" fmla="*/ 765747 h 874716"/>
                <a:gd name="connsiteX178" fmla="*/ 5958660 w 6857455"/>
                <a:gd name="connsiteY178" fmla="*/ 768605 h 874716"/>
                <a:gd name="connsiteX179" fmla="*/ 6041528 w 6857455"/>
                <a:gd name="connsiteY179" fmla="*/ 768033 h 874716"/>
                <a:gd name="connsiteX180" fmla="*/ 6074297 w 6857455"/>
                <a:gd name="connsiteY180" fmla="*/ 763081 h 874716"/>
                <a:gd name="connsiteX181" fmla="*/ 6162880 w 6857455"/>
                <a:gd name="connsiteY181" fmla="*/ 766509 h 874716"/>
                <a:gd name="connsiteX182" fmla="*/ 6209364 w 6857455"/>
                <a:gd name="connsiteY182" fmla="*/ 760795 h 874716"/>
                <a:gd name="connsiteX183" fmla="*/ 6285948 w 6857455"/>
                <a:gd name="connsiteY183" fmla="*/ 759651 h 874716"/>
                <a:gd name="connsiteX184" fmla="*/ 6310905 w 6857455"/>
                <a:gd name="connsiteY184" fmla="*/ 758316 h 874716"/>
                <a:gd name="connsiteX185" fmla="*/ 6333194 w 6857455"/>
                <a:gd name="connsiteY185" fmla="*/ 757554 h 874716"/>
                <a:gd name="connsiteX186" fmla="*/ 6409586 w 6857455"/>
                <a:gd name="connsiteY186" fmla="*/ 773177 h 874716"/>
                <a:gd name="connsiteX187" fmla="*/ 6477407 w 6857455"/>
                <a:gd name="connsiteY187" fmla="*/ 774129 h 874716"/>
                <a:gd name="connsiteX188" fmla="*/ 6596283 w 6857455"/>
                <a:gd name="connsiteY188" fmla="*/ 786703 h 874716"/>
                <a:gd name="connsiteX189" fmla="*/ 6622573 w 6857455"/>
                <a:gd name="connsiteY189" fmla="*/ 782321 h 874716"/>
                <a:gd name="connsiteX190" fmla="*/ 6704872 w 6857455"/>
                <a:gd name="connsiteY190" fmla="*/ 780607 h 874716"/>
                <a:gd name="connsiteX191" fmla="*/ 6751738 w 6857455"/>
                <a:gd name="connsiteY191" fmla="*/ 779273 h 874716"/>
                <a:gd name="connsiteX192" fmla="*/ 6809650 w 6857455"/>
                <a:gd name="connsiteY192" fmla="*/ 788417 h 874716"/>
                <a:gd name="connsiteX193" fmla="*/ 6832976 w 6857455"/>
                <a:gd name="connsiteY193" fmla="*/ 800428 h 87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6857455" h="874716">
                  <a:moveTo>
                    <a:pt x="6857455" y="804643"/>
                  </a:moveTo>
                  <a:lnTo>
                    <a:pt x="6857455" y="562246"/>
                  </a:lnTo>
                  <a:lnTo>
                    <a:pt x="6829178" y="551284"/>
                  </a:lnTo>
                  <a:cubicBezTo>
                    <a:pt x="6805745" y="539044"/>
                    <a:pt x="6784885" y="521708"/>
                    <a:pt x="6766024" y="500372"/>
                  </a:cubicBezTo>
                  <a:cubicBezTo>
                    <a:pt x="6755166" y="488179"/>
                    <a:pt x="6746784" y="486845"/>
                    <a:pt x="6734971" y="500944"/>
                  </a:cubicBezTo>
                  <a:cubicBezTo>
                    <a:pt x="6721257" y="517326"/>
                    <a:pt x="6701634" y="510850"/>
                    <a:pt x="6683915" y="507040"/>
                  </a:cubicBezTo>
                  <a:cubicBezTo>
                    <a:pt x="6665629" y="503230"/>
                    <a:pt x="6647148" y="499228"/>
                    <a:pt x="6628860" y="495418"/>
                  </a:cubicBezTo>
                  <a:cubicBezTo>
                    <a:pt x="6615335" y="492752"/>
                    <a:pt x="6601999" y="490466"/>
                    <a:pt x="6588662" y="487227"/>
                  </a:cubicBezTo>
                  <a:cubicBezTo>
                    <a:pt x="6547133" y="477129"/>
                    <a:pt x="6509794" y="480177"/>
                    <a:pt x="6476074" y="511230"/>
                  </a:cubicBezTo>
                  <a:cubicBezTo>
                    <a:pt x="6450356" y="535043"/>
                    <a:pt x="6417399" y="542093"/>
                    <a:pt x="6382345" y="534853"/>
                  </a:cubicBezTo>
                  <a:cubicBezTo>
                    <a:pt x="6377963" y="533901"/>
                    <a:pt x="6372439" y="530091"/>
                    <a:pt x="6369391" y="531615"/>
                  </a:cubicBezTo>
                  <a:cubicBezTo>
                    <a:pt x="6323479" y="553904"/>
                    <a:pt x="6287092" y="514658"/>
                    <a:pt x="6244799" y="512182"/>
                  </a:cubicBezTo>
                  <a:cubicBezTo>
                    <a:pt x="6226130" y="511040"/>
                    <a:pt x="6207079" y="496942"/>
                    <a:pt x="6190315" y="485703"/>
                  </a:cubicBezTo>
                  <a:cubicBezTo>
                    <a:pt x="6167262" y="470271"/>
                    <a:pt x="6146687" y="455412"/>
                    <a:pt x="6115446" y="462270"/>
                  </a:cubicBezTo>
                  <a:cubicBezTo>
                    <a:pt x="6084203" y="469319"/>
                    <a:pt x="6055627" y="456364"/>
                    <a:pt x="6032194" y="434266"/>
                  </a:cubicBezTo>
                  <a:cubicBezTo>
                    <a:pt x="6014287" y="417501"/>
                    <a:pt x="5994665" y="415977"/>
                    <a:pt x="5971042" y="420738"/>
                  </a:cubicBezTo>
                  <a:cubicBezTo>
                    <a:pt x="5941513" y="426645"/>
                    <a:pt x="5910842" y="427027"/>
                    <a:pt x="5880933" y="430646"/>
                  </a:cubicBezTo>
                  <a:cubicBezTo>
                    <a:pt x="5874454" y="431408"/>
                    <a:pt x="5866265" y="434076"/>
                    <a:pt x="5862452" y="438648"/>
                  </a:cubicBezTo>
                  <a:cubicBezTo>
                    <a:pt x="5815779" y="495418"/>
                    <a:pt x="5750055" y="495990"/>
                    <a:pt x="5685283" y="498658"/>
                  </a:cubicBezTo>
                  <a:cubicBezTo>
                    <a:pt x="5646039" y="500372"/>
                    <a:pt x="5606604" y="500372"/>
                    <a:pt x="5567169" y="499420"/>
                  </a:cubicBezTo>
                  <a:cubicBezTo>
                    <a:pt x="5553832" y="499228"/>
                    <a:pt x="5539736" y="496180"/>
                    <a:pt x="5527923" y="490466"/>
                  </a:cubicBezTo>
                  <a:cubicBezTo>
                    <a:pt x="5503348" y="478463"/>
                    <a:pt x="5480680" y="462843"/>
                    <a:pt x="5456292" y="450650"/>
                  </a:cubicBezTo>
                  <a:cubicBezTo>
                    <a:pt x="5447151" y="445886"/>
                    <a:pt x="5435338" y="445696"/>
                    <a:pt x="5424670" y="444934"/>
                  </a:cubicBezTo>
                  <a:cubicBezTo>
                    <a:pt x="5405809" y="443410"/>
                    <a:pt x="5384854" y="447982"/>
                    <a:pt x="5368662" y="441124"/>
                  </a:cubicBezTo>
                  <a:cubicBezTo>
                    <a:pt x="5326559" y="423407"/>
                    <a:pt x="5287123" y="427407"/>
                    <a:pt x="5247118" y="444934"/>
                  </a:cubicBezTo>
                  <a:cubicBezTo>
                    <a:pt x="5191108" y="469509"/>
                    <a:pt x="5138148" y="467605"/>
                    <a:pt x="5088617" y="428742"/>
                  </a:cubicBezTo>
                  <a:cubicBezTo>
                    <a:pt x="5066328" y="411215"/>
                    <a:pt x="5044609" y="419596"/>
                    <a:pt x="5025750" y="433694"/>
                  </a:cubicBezTo>
                  <a:cubicBezTo>
                    <a:pt x="5004032" y="450078"/>
                    <a:pt x="4982885" y="454268"/>
                    <a:pt x="4957930" y="442268"/>
                  </a:cubicBezTo>
                  <a:cubicBezTo>
                    <a:pt x="4952404" y="439600"/>
                    <a:pt x="4944594" y="440933"/>
                    <a:pt x="4938116" y="441886"/>
                  </a:cubicBezTo>
                  <a:cubicBezTo>
                    <a:pt x="4901158" y="446648"/>
                    <a:pt x="4864009" y="454650"/>
                    <a:pt x="4833910" y="421693"/>
                  </a:cubicBezTo>
                  <a:cubicBezTo>
                    <a:pt x="4828004" y="415214"/>
                    <a:pt x="4818097" y="412549"/>
                    <a:pt x="4810095" y="408167"/>
                  </a:cubicBezTo>
                  <a:cubicBezTo>
                    <a:pt x="4776566" y="390258"/>
                    <a:pt x="4777900" y="391974"/>
                    <a:pt x="4747991" y="413691"/>
                  </a:cubicBezTo>
                  <a:cubicBezTo>
                    <a:pt x="4732369" y="425121"/>
                    <a:pt x="4710842" y="436742"/>
                    <a:pt x="4692745" y="435790"/>
                  </a:cubicBezTo>
                  <a:cubicBezTo>
                    <a:pt x="4583584" y="430075"/>
                    <a:pt x="4479758" y="457508"/>
                    <a:pt x="4375933" y="483417"/>
                  </a:cubicBezTo>
                  <a:cubicBezTo>
                    <a:pt x="4311923" y="499420"/>
                    <a:pt x="4249436" y="500372"/>
                    <a:pt x="4185426" y="484179"/>
                  </a:cubicBezTo>
                  <a:cubicBezTo>
                    <a:pt x="4139133" y="472367"/>
                    <a:pt x="4095315" y="491800"/>
                    <a:pt x="4052072" y="505134"/>
                  </a:cubicBezTo>
                  <a:cubicBezTo>
                    <a:pt x="4043117" y="507799"/>
                    <a:pt x="4034735" y="518278"/>
                    <a:pt x="4029973" y="527233"/>
                  </a:cubicBezTo>
                  <a:cubicBezTo>
                    <a:pt x="4012826" y="558858"/>
                    <a:pt x="3984441" y="563810"/>
                    <a:pt x="3948626" y="550666"/>
                  </a:cubicBezTo>
                  <a:cubicBezTo>
                    <a:pt x="3920241" y="540377"/>
                    <a:pt x="3894332" y="526661"/>
                    <a:pt x="3871280" y="502275"/>
                  </a:cubicBezTo>
                  <a:cubicBezTo>
                    <a:pt x="3844229" y="473701"/>
                    <a:pt x="3816224" y="441124"/>
                    <a:pt x="3774312" y="429122"/>
                  </a:cubicBezTo>
                  <a:cubicBezTo>
                    <a:pt x="3756214" y="423979"/>
                    <a:pt x="3740593" y="423217"/>
                    <a:pt x="3721543" y="428552"/>
                  </a:cubicBezTo>
                  <a:cubicBezTo>
                    <a:pt x="3684583" y="438837"/>
                    <a:pt x="3647436" y="446078"/>
                    <a:pt x="3612763" y="414263"/>
                  </a:cubicBezTo>
                  <a:cubicBezTo>
                    <a:pt x="3593712" y="396736"/>
                    <a:pt x="3567994" y="385496"/>
                    <a:pt x="3537323" y="389878"/>
                  </a:cubicBezTo>
                  <a:cubicBezTo>
                    <a:pt x="3499031" y="395402"/>
                    <a:pt x="3464168" y="381496"/>
                    <a:pt x="3431593" y="360921"/>
                  </a:cubicBezTo>
                  <a:cubicBezTo>
                    <a:pt x="3419971" y="353491"/>
                    <a:pt x="3405682" y="349301"/>
                    <a:pt x="3392158" y="345681"/>
                  </a:cubicBezTo>
                  <a:cubicBezTo>
                    <a:pt x="3360915" y="337298"/>
                    <a:pt x="3329480" y="329868"/>
                    <a:pt x="3297856" y="323010"/>
                  </a:cubicBezTo>
                  <a:cubicBezTo>
                    <a:pt x="3271948" y="317296"/>
                    <a:pt x="3245849" y="313104"/>
                    <a:pt x="3219748" y="308151"/>
                  </a:cubicBezTo>
                  <a:cubicBezTo>
                    <a:pt x="3191173" y="302817"/>
                    <a:pt x="3168502" y="290433"/>
                    <a:pt x="3156692" y="261668"/>
                  </a:cubicBezTo>
                  <a:cubicBezTo>
                    <a:pt x="3152882" y="252524"/>
                    <a:pt x="3143737" y="245283"/>
                    <a:pt x="3136497" y="237663"/>
                  </a:cubicBezTo>
                  <a:cubicBezTo>
                    <a:pt x="3131355" y="232139"/>
                    <a:pt x="3124495" y="227947"/>
                    <a:pt x="3119733" y="222233"/>
                  </a:cubicBezTo>
                  <a:cubicBezTo>
                    <a:pt x="3094776" y="192132"/>
                    <a:pt x="3070201" y="161843"/>
                    <a:pt x="3045436" y="131742"/>
                  </a:cubicBezTo>
                  <a:cubicBezTo>
                    <a:pt x="3042958" y="128884"/>
                    <a:pt x="3040292" y="125455"/>
                    <a:pt x="3037054" y="124121"/>
                  </a:cubicBezTo>
                  <a:cubicBezTo>
                    <a:pt x="3003525" y="110215"/>
                    <a:pt x="2969614" y="97070"/>
                    <a:pt x="2936466" y="82400"/>
                  </a:cubicBezTo>
                  <a:cubicBezTo>
                    <a:pt x="2923702" y="76686"/>
                    <a:pt x="2910558" y="69637"/>
                    <a:pt x="2901031" y="59731"/>
                  </a:cubicBezTo>
                  <a:cubicBezTo>
                    <a:pt x="2879314" y="37250"/>
                    <a:pt x="2859502" y="12866"/>
                    <a:pt x="2828259" y="3149"/>
                  </a:cubicBezTo>
                  <a:cubicBezTo>
                    <a:pt x="2819114" y="293"/>
                    <a:pt x="2808256" y="-1231"/>
                    <a:pt x="2799492" y="1245"/>
                  </a:cubicBezTo>
                  <a:cubicBezTo>
                    <a:pt x="2763867" y="11532"/>
                    <a:pt x="2729005" y="24296"/>
                    <a:pt x="2693570" y="35154"/>
                  </a:cubicBezTo>
                  <a:cubicBezTo>
                    <a:pt x="2671092" y="41823"/>
                    <a:pt x="2650707" y="49825"/>
                    <a:pt x="2639847" y="73448"/>
                  </a:cubicBezTo>
                  <a:cubicBezTo>
                    <a:pt x="2636801" y="80114"/>
                    <a:pt x="2628226" y="87354"/>
                    <a:pt x="2621178" y="88688"/>
                  </a:cubicBezTo>
                  <a:cubicBezTo>
                    <a:pt x="2575839" y="97260"/>
                    <a:pt x="2531069" y="101451"/>
                    <a:pt x="2489348" y="72304"/>
                  </a:cubicBezTo>
                  <a:cubicBezTo>
                    <a:pt x="2480585" y="66017"/>
                    <a:pt x="2464201" y="66017"/>
                    <a:pt x="2452580" y="68683"/>
                  </a:cubicBezTo>
                  <a:cubicBezTo>
                    <a:pt x="2407811" y="78590"/>
                    <a:pt x="2365328" y="82020"/>
                    <a:pt x="2326464" y="50395"/>
                  </a:cubicBezTo>
                  <a:cubicBezTo>
                    <a:pt x="2321892" y="46585"/>
                    <a:pt x="2307224" y="50015"/>
                    <a:pt x="2300365" y="54777"/>
                  </a:cubicBezTo>
                  <a:cubicBezTo>
                    <a:pt x="2234259" y="101261"/>
                    <a:pt x="2198064" y="102405"/>
                    <a:pt x="2130434" y="58397"/>
                  </a:cubicBezTo>
                  <a:cubicBezTo>
                    <a:pt x="2126052" y="55539"/>
                    <a:pt x="2120337" y="52301"/>
                    <a:pt x="2118621" y="47919"/>
                  </a:cubicBezTo>
                  <a:cubicBezTo>
                    <a:pt x="2107001" y="19914"/>
                    <a:pt x="2082236" y="19152"/>
                    <a:pt x="2057659" y="16866"/>
                  </a:cubicBezTo>
                  <a:cubicBezTo>
                    <a:pt x="2030608" y="14390"/>
                    <a:pt x="2003555" y="11152"/>
                    <a:pt x="1976314" y="8865"/>
                  </a:cubicBezTo>
                  <a:cubicBezTo>
                    <a:pt x="1971550" y="8483"/>
                    <a:pt x="1966216" y="10007"/>
                    <a:pt x="1961454" y="11724"/>
                  </a:cubicBezTo>
                  <a:cubicBezTo>
                    <a:pt x="1943165" y="18010"/>
                    <a:pt x="1925449" y="27154"/>
                    <a:pt x="1906588" y="30964"/>
                  </a:cubicBezTo>
                  <a:cubicBezTo>
                    <a:pt x="1865821" y="39156"/>
                    <a:pt x="1826385" y="55539"/>
                    <a:pt x="1783330" y="48871"/>
                  </a:cubicBezTo>
                  <a:cubicBezTo>
                    <a:pt x="1775902" y="47729"/>
                    <a:pt x="1767327" y="53253"/>
                    <a:pt x="1759327" y="55349"/>
                  </a:cubicBezTo>
                  <a:cubicBezTo>
                    <a:pt x="1744849" y="58969"/>
                    <a:pt x="1730750" y="64111"/>
                    <a:pt x="1716082" y="65445"/>
                  </a:cubicBezTo>
                  <a:cubicBezTo>
                    <a:pt x="1677218" y="68875"/>
                    <a:pt x="1637975" y="71924"/>
                    <a:pt x="1598920" y="72114"/>
                  </a:cubicBezTo>
                  <a:cubicBezTo>
                    <a:pt x="1580061" y="72304"/>
                    <a:pt x="1561201" y="65065"/>
                    <a:pt x="1542150" y="62207"/>
                  </a:cubicBezTo>
                  <a:cubicBezTo>
                    <a:pt x="1533578" y="60873"/>
                    <a:pt x="1519669" y="58587"/>
                    <a:pt x="1516813" y="62779"/>
                  </a:cubicBezTo>
                  <a:cubicBezTo>
                    <a:pt x="1494714" y="94592"/>
                    <a:pt x="1463661" y="88496"/>
                    <a:pt x="1432228" y="88116"/>
                  </a:cubicBezTo>
                  <a:cubicBezTo>
                    <a:pt x="1362884" y="87354"/>
                    <a:pt x="1295826" y="60493"/>
                    <a:pt x="1224765" y="71924"/>
                  </a:cubicBezTo>
                  <a:cubicBezTo>
                    <a:pt x="1204191" y="75162"/>
                    <a:pt x="1181330" y="62397"/>
                    <a:pt x="1159231" y="58207"/>
                  </a:cubicBezTo>
                  <a:cubicBezTo>
                    <a:pt x="1147801" y="56111"/>
                    <a:pt x="1135228" y="53633"/>
                    <a:pt x="1124370" y="56301"/>
                  </a:cubicBezTo>
                  <a:cubicBezTo>
                    <a:pt x="1107605" y="60493"/>
                    <a:pt x="1091411" y="68113"/>
                    <a:pt x="1075600" y="75542"/>
                  </a:cubicBezTo>
                  <a:cubicBezTo>
                    <a:pt x="1046261" y="89258"/>
                    <a:pt x="1016162" y="89258"/>
                    <a:pt x="986633" y="79162"/>
                  </a:cubicBezTo>
                  <a:cubicBezTo>
                    <a:pt x="944722" y="64873"/>
                    <a:pt x="903193" y="64873"/>
                    <a:pt x="861089" y="76304"/>
                  </a:cubicBezTo>
                  <a:cubicBezTo>
                    <a:pt x="826990" y="85638"/>
                    <a:pt x="791935" y="92116"/>
                    <a:pt x="759168" y="104689"/>
                  </a:cubicBezTo>
                  <a:cubicBezTo>
                    <a:pt x="744689" y="110215"/>
                    <a:pt x="732497" y="126597"/>
                    <a:pt x="723735" y="140696"/>
                  </a:cubicBezTo>
                  <a:cubicBezTo>
                    <a:pt x="706018" y="169271"/>
                    <a:pt x="674013" y="169081"/>
                    <a:pt x="647532" y="147934"/>
                  </a:cubicBezTo>
                  <a:cubicBezTo>
                    <a:pt x="619717" y="125645"/>
                    <a:pt x="584664" y="112501"/>
                    <a:pt x="552659" y="95926"/>
                  </a:cubicBezTo>
                  <a:cubicBezTo>
                    <a:pt x="549993" y="94592"/>
                    <a:pt x="545039" y="96116"/>
                    <a:pt x="541800" y="97640"/>
                  </a:cubicBezTo>
                  <a:cubicBezTo>
                    <a:pt x="488649" y="122407"/>
                    <a:pt x="433593" y="126979"/>
                    <a:pt x="375107" y="123169"/>
                  </a:cubicBezTo>
                  <a:cubicBezTo>
                    <a:pt x="341960" y="121073"/>
                    <a:pt x="307289" y="137076"/>
                    <a:pt x="273567" y="145458"/>
                  </a:cubicBezTo>
                  <a:cubicBezTo>
                    <a:pt x="269757" y="146410"/>
                    <a:pt x="266519" y="151174"/>
                    <a:pt x="264043" y="154792"/>
                  </a:cubicBezTo>
                  <a:cubicBezTo>
                    <a:pt x="240228" y="190800"/>
                    <a:pt x="208223" y="200706"/>
                    <a:pt x="169360" y="177273"/>
                  </a:cubicBezTo>
                  <a:cubicBezTo>
                    <a:pt x="143643" y="161651"/>
                    <a:pt x="118114" y="158032"/>
                    <a:pt x="89347" y="157460"/>
                  </a:cubicBezTo>
                  <a:cubicBezTo>
                    <a:pt x="71059" y="157078"/>
                    <a:pt x="52962" y="147934"/>
                    <a:pt x="34291" y="145268"/>
                  </a:cubicBezTo>
                  <a:lnTo>
                    <a:pt x="0" y="142056"/>
                  </a:lnTo>
                  <a:lnTo>
                    <a:pt x="0" y="849556"/>
                  </a:lnTo>
                  <a:lnTo>
                    <a:pt x="60652" y="844783"/>
                  </a:lnTo>
                  <a:cubicBezTo>
                    <a:pt x="80251" y="839473"/>
                    <a:pt x="99446" y="832043"/>
                    <a:pt x="119068" y="827281"/>
                  </a:cubicBezTo>
                  <a:cubicBezTo>
                    <a:pt x="137355" y="822899"/>
                    <a:pt x="154501" y="812802"/>
                    <a:pt x="171840" y="804420"/>
                  </a:cubicBezTo>
                  <a:cubicBezTo>
                    <a:pt x="204985" y="788417"/>
                    <a:pt x="240420" y="798514"/>
                    <a:pt x="274329" y="794324"/>
                  </a:cubicBezTo>
                  <a:cubicBezTo>
                    <a:pt x="285188" y="792990"/>
                    <a:pt x="296046" y="791466"/>
                    <a:pt x="306715" y="788798"/>
                  </a:cubicBezTo>
                  <a:cubicBezTo>
                    <a:pt x="335864" y="781749"/>
                    <a:pt x="365583" y="775653"/>
                    <a:pt x="393967" y="765937"/>
                  </a:cubicBezTo>
                  <a:cubicBezTo>
                    <a:pt x="426165" y="755078"/>
                    <a:pt x="457028" y="740600"/>
                    <a:pt x="493793" y="725549"/>
                  </a:cubicBezTo>
                  <a:cubicBezTo>
                    <a:pt x="506557" y="729360"/>
                    <a:pt x="526180" y="739648"/>
                    <a:pt x="546373" y="740600"/>
                  </a:cubicBezTo>
                  <a:cubicBezTo>
                    <a:pt x="611337" y="743838"/>
                    <a:pt x="672107" y="726121"/>
                    <a:pt x="730211" y="698116"/>
                  </a:cubicBezTo>
                  <a:cubicBezTo>
                    <a:pt x="747927" y="689734"/>
                    <a:pt x="766980" y="684210"/>
                    <a:pt x="784889" y="676018"/>
                  </a:cubicBezTo>
                  <a:cubicBezTo>
                    <a:pt x="791173" y="673161"/>
                    <a:pt x="799365" y="667065"/>
                    <a:pt x="800509" y="661349"/>
                  </a:cubicBezTo>
                  <a:cubicBezTo>
                    <a:pt x="807175" y="628201"/>
                    <a:pt x="831942" y="628772"/>
                    <a:pt x="857661" y="626868"/>
                  </a:cubicBezTo>
                  <a:cubicBezTo>
                    <a:pt x="888332" y="624582"/>
                    <a:pt x="918621" y="619248"/>
                    <a:pt x="949102" y="614676"/>
                  </a:cubicBezTo>
                  <a:cubicBezTo>
                    <a:pt x="953104" y="614104"/>
                    <a:pt x="956722" y="610104"/>
                    <a:pt x="960342" y="607435"/>
                  </a:cubicBezTo>
                  <a:cubicBezTo>
                    <a:pt x="965867" y="603435"/>
                    <a:pt x="971011" y="597339"/>
                    <a:pt x="977109" y="595815"/>
                  </a:cubicBezTo>
                  <a:cubicBezTo>
                    <a:pt x="1008350" y="588385"/>
                    <a:pt x="1039783" y="582099"/>
                    <a:pt x="1071218" y="575240"/>
                  </a:cubicBezTo>
                  <a:cubicBezTo>
                    <a:pt x="1078266" y="573716"/>
                    <a:pt x="1085505" y="571812"/>
                    <a:pt x="1091983" y="568764"/>
                  </a:cubicBezTo>
                  <a:cubicBezTo>
                    <a:pt x="1098079" y="565906"/>
                    <a:pt x="1103223" y="560952"/>
                    <a:pt x="1109321" y="557904"/>
                  </a:cubicBezTo>
                  <a:cubicBezTo>
                    <a:pt x="1125892" y="549714"/>
                    <a:pt x="1142851" y="542093"/>
                    <a:pt x="1162279" y="532949"/>
                  </a:cubicBezTo>
                  <a:cubicBezTo>
                    <a:pt x="1173138" y="550094"/>
                    <a:pt x="1187810" y="540377"/>
                    <a:pt x="1206097" y="532187"/>
                  </a:cubicBezTo>
                  <a:cubicBezTo>
                    <a:pt x="1224765" y="523805"/>
                    <a:pt x="1246292" y="521137"/>
                    <a:pt x="1266867" y="518088"/>
                  </a:cubicBezTo>
                  <a:cubicBezTo>
                    <a:pt x="1304588" y="512564"/>
                    <a:pt x="1342499" y="509134"/>
                    <a:pt x="1380219" y="504182"/>
                  </a:cubicBezTo>
                  <a:cubicBezTo>
                    <a:pt x="1388221" y="503038"/>
                    <a:pt x="1397365" y="500944"/>
                    <a:pt x="1403461" y="496180"/>
                  </a:cubicBezTo>
                  <a:cubicBezTo>
                    <a:pt x="1445181" y="464175"/>
                    <a:pt x="1495858" y="455222"/>
                    <a:pt x="1544054" y="458268"/>
                  </a:cubicBezTo>
                  <a:cubicBezTo>
                    <a:pt x="1581965" y="460557"/>
                    <a:pt x="1619114" y="462270"/>
                    <a:pt x="1656644" y="459032"/>
                  </a:cubicBezTo>
                  <a:cubicBezTo>
                    <a:pt x="1659502" y="458841"/>
                    <a:pt x="1663312" y="459223"/>
                    <a:pt x="1665406" y="460747"/>
                  </a:cubicBezTo>
                  <a:cubicBezTo>
                    <a:pt x="1678360" y="470843"/>
                    <a:pt x="1691887" y="471605"/>
                    <a:pt x="1708461" y="473318"/>
                  </a:cubicBezTo>
                  <a:cubicBezTo>
                    <a:pt x="1731894" y="475797"/>
                    <a:pt x="1753421" y="474081"/>
                    <a:pt x="1775140" y="469891"/>
                  </a:cubicBezTo>
                  <a:cubicBezTo>
                    <a:pt x="1790952" y="466843"/>
                    <a:pt x="1806953" y="460557"/>
                    <a:pt x="1821051" y="452554"/>
                  </a:cubicBezTo>
                  <a:cubicBezTo>
                    <a:pt x="1840672" y="441314"/>
                    <a:pt x="1859535" y="436934"/>
                    <a:pt x="1878203" y="451792"/>
                  </a:cubicBezTo>
                  <a:cubicBezTo>
                    <a:pt x="1898396" y="467605"/>
                    <a:pt x="1921257" y="462081"/>
                    <a:pt x="1943547" y="462651"/>
                  </a:cubicBezTo>
                  <a:cubicBezTo>
                    <a:pt x="1953262" y="462843"/>
                    <a:pt x="1963550" y="462461"/>
                    <a:pt x="1972884" y="464937"/>
                  </a:cubicBezTo>
                  <a:cubicBezTo>
                    <a:pt x="1999935" y="471987"/>
                    <a:pt x="2026036" y="482655"/>
                    <a:pt x="2053469" y="487417"/>
                  </a:cubicBezTo>
                  <a:cubicBezTo>
                    <a:pt x="2068710" y="490084"/>
                    <a:pt x="2085664" y="485321"/>
                    <a:pt x="2101477" y="481893"/>
                  </a:cubicBezTo>
                  <a:cubicBezTo>
                    <a:pt x="2117479" y="478273"/>
                    <a:pt x="2133290" y="472749"/>
                    <a:pt x="2148722" y="467033"/>
                  </a:cubicBezTo>
                  <a:cubicBezTo>
                    <a:pt x="2159199" y="463223"/>
                    <a:pt x="2170629" y="459603"/>
                    <a:pt x="2179011" y="452744"/>
                  </a:cubicBezTo>
                  <a:cubicBezTo>
                    <a:pt x="2198064" y="437124"/>
                    <a:pt x="2217685" y="434455"/>
                    <a:pt x="2240165" y="442648"/>
                  </a:cubicBezTo>
                  <a:cubicBezTo>
                    <a:pt x="2243593" y="443982"/>
                    <a:pt x="2247594" y="443982"/>
                    <a:pt x="2251404" y="444172"/>
                  </a:cubicBezTo>
                  <a:cubicBezTo>
                    <a:pt x="2312370" y="448172"/>
                    <a:pt x="2373330" y="450650"/>
                    <a:pt x="2433912" y="456746"/>
                  </a:cubicBezTo>
                  <a:cubicBezTo>
                    <a:pt x="2458485" y="459223"/>
                    <a:pt x="2482107" y="470081"/>
                    <a:pt x="2506302" y="476939"/>
                  </a:cubicBezTo>
                  <a:cubicBezTo>
                    <a:pt x="2511256" y="478273"/>
                    <a:pt x="2516783" y="480369"/>
                    <a:pt x="2521735" y="479415"/>
                  </a:cubicBezTo>
                  <a:cubicBezTo>
                    <a:pt x="2575647" y="469891"/>
                    <a:pt x="2626132" y="483797"/>
                    <a:pt x="2675854" y="502086"/>
                  </a:cubicBezTo>
                  <a:cubicBezTo>
                    <a:pt x="2680996" y="503992"/>
                    <a:pt x="2687282" y="503419"/>
                    <a:pt x="2692998" y="503038"/>
                  </a:cubicBezTo>
                  <a:cubicBezTo>
                    <a:pt x="2709003" y="501706"/>
                    <a:pt x="2726337" y="495038"/>
                    <a:pt x="2740816" y="499037"/>
                  </a:cubicBezTo>
                  <a:cubicBezTo>
                    <a:pt x="2779297" y="510088"/>
                    <a:pt x="2817398" y="523423"/>
                    <a:pt x="2853596" y="540187"/>
                  </a:cubicBezTo>
                  <a:cubicBezTo>
                    <a:pt x="2890365" y="557142"/>
                    <a:pt x="2924464" y="571430"/>
                    <a:pt x="2966565" y="554286"/>
                  </a:cubicBezTo>
                  <a:cubicBezTo>
                    <a:pt x="2984472" y="547045"/>
                    <a:pt x="3008095" y="552190"/>
                    <a:pt x="3028671" y="554094"/>
                  </a:cubicBezTo>
                  <a:cubicBezTo>
                    <a:pt x="3043720" y="555618"/>
                    <a:pt x="3058198" y="564192"/>
                    <a:pt x="3073059" y="564192"/>
                  </a:cubicBezTo>
                  <a:cubicBezTo>
                    <a:pt x="3112686" y="564192"/>
                    <a:pt x="3147927" y="574288"/>
                    <a:pt x="3182219" y="594862"/>
                  </a:cubicBezTo>
                  <a:cubicBezTo>
                    <a:pt x="3195557" y="602863"/>
                    <a:pt x="3216322" y="597529"/>
                    <a:pt x="3233656" y="599625"/>
                  </a:cubicBezTo>
                  <a:cubicBezTo>
                    <a:pt x="3251947" y="602101"/>
                    <a:pt x="3270804" y="604387"/>
                    <a:pt x="3288332" y="609914"/>
                  </a:cubicBezTo>
                  <a:cubicBezTo>
                    <a:pt x="3333672" y="624392"/>
                    <a:pt x="3378441" y="640774"/>
                    <a:pt x="3423591" y="656015"/>
                  </a:cubicBezTo>
                  <a:cubicBezTo>
                    <a:pt x="3460738" y="668590"/>
                    <a:pt x="3497317" y="658683"/>
                    <a:pt x="3534084" y="653349"/>
                  </a:cubicBezTo>
                  <a:cubicBezTo>
                    <a:pt x="3557137" y="649919"/>
                    <a:pt x="3578662" y="641727"/>
                    <a:pt x="3604571" y="653918"/>
                  </a:cubicBezTo>
                  <a:cubicBezTo>
                    <a:pt x="3629338" y="665541"/>
                    <a:pt x="3660771" y="662873"/>
                    <a:pt x="3688586" y="669160"/>
                  </a:cubicBezTo>
                  <a:cubicBezTo>
                    <a:pt x="3712020" y="674494"/>
                    <a:pt x="3734687" y="683068"/>
                    <a:pt x="3757358" y="691450"/>
                  </a:cubicBezTo>
                  <a:cubicBezTo>
                    <a:pt x="3788221" y="702881"/>
                    <a:pt x="3818700" y="714881"/>
                    <a:pt x="3852421" y="709167"/>
                  </a:cubicBezTo>
                  <a:cubicBezTo>
                    <a:pt x="3890714" y="702689"/>
                    <a:pt x="3917001" y="727073"/>
                    <a:pt x="3947104" y="743267"/>
                  </a:cubicBezTo>
                  <a:cubicBezTo>
                    <a:pt x="3967869" y="754316"/>
                    <a:pt x="3990538" y="762509"/>
                    <a:pt x="4013208" y="769367"/>
                  </a:cubicBezTo>
                  <a:cubicBezTo>
                    <a:pt x="4043497" y="778321"/>
                    <a:pt x="4074740" y="783655"/>
                    <a:pt x="4105222" y="792418"/>
                  </a:cubicBezTo>
                  <a:cubicBezTo>
                    <a:pt x="4151325" y="805561"/>
                    <a:pt x="4198001" y="815850"/>
                    <a:pt x="4246006" y="808610"/>
                  </a:cubicBezTo>
                  <a:cubicBezTo>
                    <a:pt x="4268105" y="805372"/>
                    <a:pt x="4288682" y="805561"/>
                    <a:pt x="4310779" y="810326"/>
                  </a:cubicBezTo>
                  <a:cubicBezTo>
                    <a:pt x="4346974" y="818136"/>
                    <a:pt x="4384123" y="819089"/>
                    <a:pt x="4413272" y="848235"/>
                  </a:cubicBezTo>
                  <a:cubicBezTo>
                    <a:pt x="4423558" y="858524"/>
                    <a:pt x="4442037" y="861190"/>
                    <a:pt x="4457087" y="866524"/>
                  </a:cubicBezTo>
                  <a:cubicBezTo>
                    <a:pt x="4474424" y="872812"/>
                    <a:pt x="4487186" y="869572"/>
                    <a:pt x="4496523" y="851284"/>
                  </a:cubicBezTo>
                  <a:cubicBezTo>
                    <a:pt x="4500713" y="843093"/>
                    <a:pt x="4512715" y="835091"/>
                    <a:pt x="4522050" y="833757"/>
                  </a:cubicBezTo>
                  <a:cubicBezTo>
                    <a:pt x="4550055" y="829757"/>
                    <a:pt x="4575773" y="835663"/>
                    <a:pt x="4602824" y="848618"/>
                  </a:cubicBezTo>
                  <a:cubicBezTo>
                    <a:pt x="4628161" y="860810"/>
                    <a:pt x="4659786" y="859476"/>
                    <a:pt x="4688553" y="864238"/>
                  </a:cubicBezTo>
                  <a:cubicBezTo>
                    <a:pt x="4708936" y="867668"/>
                    <a:pt x="4729321" y="874716"/>
                    <a:pt x="4749895" y="874716"/>
                  </a:cubicBezTo>
                  <a:cubicBezTo>
                    <a:pt x="4775424" y="874716"/>
                    <a:pt x="4800761" y="868620"/>
                    <a:pt x="4826480" y="866334"/>
                  </a:cubicBezTo>
                  <a:cubicBezTo>
                    <a:pt x="4846482" y="864430"/>
                    <a:pt x="4866867" y="865192"/>
                    <a:pt x="4886870" y="862906"/>
                  </a:cubicBezTo>
                  <a:cubicBezTo>
                    <a:pt x="4903254" y="861190"/>
                    <a:pt x="4919447" y="856810"/>
                    <a:pt x="4935639" y="853190"/>
                  </a:cubicBezTo>
                  <a:cubicBezTo>
                    <a:pt x="4941546" y="851856"/>
                    <a:pt x="4947452" y="846711"/>
                    <a:pt x="4952784" y="847473"/>
                  </a:cubicBezTo>
                  <a:cubicBezTo>
                    <a:pt x="5005745" y="855666"/>
                    <a:pt x="5043847" y="819089"/>
                    <a:pt x="5088617" y="802896"/>
                  </a:cubicBezTo>
                  <a:cubicBezTo>
                    <a:pt x="5135672" y="785749"/>
                    <a:pt x="5181204" y="759461"/>
                    <a:pt x="5233781" y="767271"/>
                  </a:cubicBezTo>
                  <a:cubicBezTo>
                    <a:pt x="5265596" y="772033"/>
                    <a:pt x="5296267" y="783083"/>
                    <a:pt x="5327893" y="789752"/>
                  </a:cubicBezTo>
                  <a:cubicBezTo>
                    <a:pt x="5339132" y="792038"/>
                    <a:pt x="5351705" y="791656"/>
                    <a:pt x="5362946" y="789370"/>
                  </a:cubicBezTo>
                  <a:cubicBezTo>
                    <a:pt x="5417240" y="778891"/>
                    <a:pt x="5470771" y="777367"/>
                    <a:pt x="5524115" y="794514"/>
                  </a:cubicBezTo>
                  <a:cubicBezTo>
                    <a:pt x="5533257" y="797372"/>
                    <a:pt x="5542974" y="800038"/>
                    <a:pt x="5552500" y="800038"/>
                  </a:cubicBezTo>
                  <a:cubicBezTo>
                    <a:pt x="5604697" y="800038"/>
                    <a:pt x="5655944" y="796038"/>
                    <a:pt x="5705857" y="777367"/>
                  </a:cubicBezTo>
                  <a:cubicBezTo>
                    <a:pt x="5722622" y="771080"/>
                    <a:pt x="5743006" y="775081"/>
                    <a:pt x="5761485" y="773557"/>
                  </a:cubicBezTo>
                  <a:cubicBezTo>
                    <a:pt x="5778629" y="772224"/>
                    <a:pt x="5796156" y="771653"/>
                    <a:pt x="5812731" y="767271"/>
                  </a:cubicBezTo>
                  <a:cubicBezTo>
                    <a:pt x="5836925" y="760795"/>
                    <a:pt x="5859404" y="760033"/>
                    <a:pt x="5884361" y="765747"/>
                  </a:cubicBezTo>
                  <a:cubicBezTo>
                    <a:pt x="5908174" y="771080"/>
                    <a:pt x="5933892" y="768415"/>
                    <a:pt x="5958660" y="768605"/>
                  </a:cubicBezTo>
                  <a:cubicBezTo>
                    <a:pt x="5986282" y="768795"/>
                    <a:pt x="6013906" y="768984"/>
                    <a:pt x="6041528" y="768033"/>
                  </a:cubicBezTo>
                  <a:cubicBezTo>
                    <a:pt x="6052579" y="767653"/>
                    <a:pt x="6065151" y="760033"/>
                    <a:pt x="6074297" y="763081"/>
                  </a:cubicBezTo>
                  <a:cubicBezTo>
                    <a:pt x="6103824" y="773366"/>
                    <a:pt x="6133353" y="760985"/>
                    <a:pt x="6162880" y="766509"/>
                  </a:cubicBezTo>
                  <a:cubicBezTo>
                    <a:pt x="6177360" y="769367"/>
                    <a:pt x="6193743" y="761557"/>
                    <a:pt x="6209364" y="760795"/>
                  </a:cubicBezTo>
                  <a:cubicBezTo>
                    <a:pt x="6234892" y="759461"/>
                    <a:pt x="6260419" y="760033"/>
                    <a:pt x="6285948" y="759651"/>
                  </a:cubicBezTo>
                  <a:cubicBezTo>
                    <a:pt x="6294330" y="759461"/>
                    <a:pt x="6302523" y="758699"/>
                    <a:pt x="6310905" y="758316"/>
                  </a:cubicBezTo>
                  <a:cubicBezTo>
                    <a:pt x="6318335" y="757936"/>
                    <a:pt x="6326145" y="756222"/>
                    <a:pt x="6333194" y="757554"/>
                  </a:cubicBezTo>
                  <a:cubicBezTo>
                    <a:pt x="6358723" y="762318"/>
                    <a:pt x="6383869" y="770129"/>
                    <a:pt x="6409586" y="773177"/>
                  </a:cubicBezTo>
                  <a:cubicBezTo>
                    <a:pt x="6431875" y="775843"/>
                    <a:pt x="6454928" y="772224"/>
                    <a:pt x="6477407" y="774129"/>
                  </a:cubicBezTo>
                  <a:cubicBezTo>
                    <a:pt x="6517032" y="777367"/>
                    <a:pt x="6556657" y="783083"/>
                    <a:pt x="6596283" y="786703"/>
                  </a:cubicBezTo>
                  <a:cubicBezTo>
                    <a:pt x="6604857" y="787465"/>
                    <a:pt x="6613809" y="782701"/>
                    <a:pt x="6622573" y="782321"/>
                  </a:cubicBezTo>
                  <a:cubicBezTo>
                    <a:pt x="6650006" y="781369"/>
                    <a:pt x="6677439" y="781177"/>
                    <a:pt x="6704872" y="780607"/>
                  </a:cubicBezTo>
                  <a:cubicBezTo>
                    <a:pt x="6720493" y="780415"/>
                    <a:pt x="6736305" y="780987"/>
                    <a:pt x="6751738" y="779273"/>
                  </a:cubicBezTo>
                  <a:cubicBezTo>
                    <a:pt x="6772120" y="776987"/>
                    <a:pt x="6790599" y="773557"/>
                    <a:pt x="6809650" y="788417"/>
                  </a:cubicBezTo>
                  <a:cubicBezTo>
                    <a:pt x="6816984" y="794180"/>
                    <a:pt x="6824819" y="797942"/>
                    <a:pt x="6832976" y="800428"/>
                  </a:cubicBezTo>
                  <a:close/>
                </a:path>
              </a:pathLst>
            </a:custGeom>
            <a:solidFill>
              <a:srgbClr val="FFFFFF"/>
            </a:solidFill>
            <a:ln>
              <a:noFill/>
            </a:ln>
            <a:effectLst>
              <a:outerShdw blurRad="381000" dist="152400" algn="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pPr algn="ctr"/>
              <a:endParaRPr lang="en-US"/>
            </a:p>
          </p:txBody>
        </p:sp>
        <p:sp>
          <p:nvSpPr>
            <p:cNvPr id="9" name="Freeform: Shape 8">
              <a:extLst>
                <a:ext uri="{FF2B5EF4-FFF2-40B4-BE49-F238E27FC236}">
                  <a16:creationId xmlns:a16="http://schemas.microsoft.com/office/drawing/2014/main" id="{F5B71131-6525-CAEB-9DC0-395B841C961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2404000" y="2991914"/>
              <a:ext cx="6857455" cy="874716"/>
            </a:xfrm>
            <a:custGeom>
              <a:avLst/>
              <a:gdLst>
                <a:gd name="connsiteX0" fmla="*/ 6857455 w 6857455"/>
                <a:gd name="connsiteY0" fmla="*/ 804643 h 874716"/>
                <a:gd name="connsiteX1" fmla="*/ 6857455 w 6857455"/>
                <a:gd name="connsiteY1" fmla="*/ 562246 h 874716"/>
                <a:gd name="connsiteX2" fmla="*/ 6829178 w 6857455"/>
                <a:gd name="connsiteY2" fmla="*/ 551284 h 874716"/>
                <a:gd name="connsiteX3" fmla="*/ 6766024 w 6857455"/>
                <a:gd name="connsiteY3" fmla="*/ 500372 h 874716"/>
                <a:gd name="connsiteX4" fmla="*/ 6734971 w 6857455"/>
                <a:gd name="connsiteY4" fmla="*/ 500944 h 874716"/>
                <a:gd name="connsiteX5" fmla="*/ 6683915 w 6857455"/>
                <a:gd name="connsiteY5" fmla="*/ 507040 h 874716"/>
                <a:gd name="connsiteX6" fmla="*/ 6628860 w 6857455"/>
                <a:gd name="connsiteY6" fmla="*/ 495418 h 874716"/>
                <a:gd name="connsiteX7" fmla="*/ 6588662 w 6857455"/>
                <a:gd name="connsiteY7" fmla="*/ 487227 h 874716"/>
                <a:gd name="connsiteX8" fmla="*/ 6476074 w 6857455"/>
                <a:gd name="connsiteY8" fmla="*/ 511230 h 874716"/>
                <a:gd name="connsiteX9" fmla="*/ 6382345 w 6857455"/>
                <a:gd name="connsiteY9" fmla="*/ 534853 h 874716"/>
                <a:gd name="connsiteX10" fmla="*/ 6369391 w 6857455"/>
                <a:gd name="connsiteY10" fmla="*/ 531615 h 874716"/>
                <a:gd name="connsiteX11" fmla="*/ 6244799 w 6857455"/>
                <a:gd name="connsiteY11" fmla="*/ 512182 h 874716"/>
                <a:gd name="connsiteX12" fmla="*/ 6190315 w 6857455"/>
                <a:gd name="connsiteY12" fmla="*/ 485703 h 874716"/>
                <a:gd name="connsiteX13" fmla="*/ 6115446 w 6857455"/>
                <a:gd name="connsiteY13" fmla="*/ 462270 h 874716"/>
                <a:gd name="connsiteX14" fmla="*/ 6032194 w 6857455"/>
                <a:gd name="connsiteY14" fmla="*/ 434266 h 874716"/>
                <a:gd name="connsiteX15" fmla="*/ 5971042 w 6857455"/>
                <a:gd name="connsiteY15" fmla="*/ 420738 h 874716"/>
                <a:gd name="connsiteX16" fmla="*/ 5880933 w 6857455"/>
                <a:gd name="connsiteY16" fmla="*/ 430646 h 874716"/>
                <a:gd name="connsiteX17" fmla="*/ 5862452 w 6857455"/>
                <a:gd name="connsiteY17" fmla="*/ 438648 h 874716"/>
                <a:gd name="connsiteX18" fmla="*/ 5685283 w 6857455"/>
                <a:gd name="connsiteY18" fmla="*/ 498658 h 874716"/>
                <a:gd name="connsiteX19" fmla="*/ 5567169 w 6857455"/>
                <a:gd name="connsiteY19" fmla="*/ 499420 h 874716"/>
                <a:gd name="connsiteX20" fmla="*/ 5527923 w 6857455"/>
                <a:gd name="connsiteY20" fmla="*/ 490466 h 874716"/>
                <a:gd name="connsiteX21" fmla="*/ 5456292 w 6857455"/>
                <a:gd name="connsiteY21" fmla="*/ 450650 h 874716"/>
                <a:gd name="connsiteX22" fmla="*/ 5424670 w 6857455"/>
                <a:gd name="connsiteY22" fmla="*/ 444934 h 874716"/>
                <a:gd name="connsiteX23" fmla="*/ 5368662 w 6857455"/>
                <a:gd name="connsiteY23" fmla="*/ 441124 h 874716"/>
                <a:gd name="connsiteX24" fmla="*/ 5247118 w 6857455"/>
                <a:gd name="connsiteY24" fmla="*/ 444934 h 874716"/>
                <a:gd name="connsiteX25" fmla="*/ 5088617 w 6857455"/>
                <a:gd name="connsiteY25" fmla="*/ 428742 h 874716"/>
                <a:gd name="connsiteX26" fmla="*/ 5025750 w 6857455"/>
                <a:gd name="connsiteY26" fmla="*/ 433694 h 874716"/>
                <a:gd name="connsiteX27" fmla="*/ 4957930 w 6857455"/>
                <a:gd name="connsiteY27" fmla="*/ 442268 h 874716"/>
                <a:gd name="connsiteX28" fmla="*/ 4938116 w 6857455"/>
                <a:gd name="connsiteY28" fmla="*/ 441886 h 874716"/>
                <a:gd name="connsiteX29" fmla="*/ 4833910 w 6857455"/>
                <a:gd name="connsiteY29" fmla="*/ 421693 h 874716"/>
                <a:gd name="connsiteX30" fmla="*/ 4810095 w 6857455"/>
                <a:gd name="connsiteY30" fmla="*/ 408167 h 874716"/>
                <a:gd name="connsiteX31" fmla="*/ 4747991 w 6857455"/>
                <a:gd name="connsiteY31" fmla="*/ 413691 h 874716"/>
                <a:gd name="connsiteX32" fmla="*/ 4692745 w 6857455"/>
                <a:gd name="connsiteY32" fmla="*/ 435790 h 874716"/>
                <a:gd name="connsiteX33" fmla="*/ 4375933 w 6857455"/>
                <a:gd name="connsiteY33" fmla="*/ 483417 h 874716"/>
                <a:gd name="connsiteX34" fmla="*/ 4185426 w 6857455"/>
                <a:gd name="connsiteY34" fmla="*/ 484179 h 874716"/>
                <a:gd name="connsiteX35" fmla="*/ 4052072 w 6857455"/>
                <a:gd name="connsiteY35" fmla="*/ 505134 h 874716"/>
                <a:gd name="connsiteX36" fmla="*/ 4029973 w 6857455"/>
                <a:gd name="connsiteY36" fmla="*/ 527233 h 874716"/>
                <a:gd name="connsiteX37" fmla="*/ 3948626 w 6857455"/>
                <a:gd name="connsiteY37" fmla="*/ 550666 h 874716"/>
                <a:gd name="connsiteX38" fmla="*/ 3871280 w 6857455"/>
                <a:gd name="connsiteY38" fmla="*/ 502275 h 874716"/>
                <a:gd name="connsiteX39" fmla="*/ 3774312 w 6857455"/>
                <a:gd name="connsiteY39" fmla="*/ 429122 h 874716"/>
                <a:gd name="connsiteX40" fmla="*/ 3721543 w 6857455"/>
                <a:gd name="connsiteY40" fmla="*/ 428552 h 874716"/>
                <a:gd name="connsiteX41" fmla="*/ 3612763 w 6857455"/>
                <a:gd name="connsiteY41" fmla="*/ 414263 h 874716"/>
                <a:gd name="connsiteX42" fmla="*/ 3537323 w 6857455"/>
                <a:gd name="connsiteY42" fmla="*/ 389878 h 874716"/>
                <a:gd name="connsiteX43" fmla="*/ 3431593 w 6857455"/>
                <a:gd name="connsiteY43" fmla="*/ 360921 h 874716"/>
                <a:gd name="connsiteX44" fmla="*/ 3392158 w 6857455"/>
                <a:gd name="connsiteY44" fmla="*/ 345681 h 874716"/>
                <a:gd name="connsiteX45" fmla="*/ 3297856 w 6857455"/>
                <a:gd name="connsiteY45" fmla="*/ 323010 h 874716"/>
                <a:gd name="connsiteX46" fmla="*/ 3219748 w 6857455"/>
                <a:gd name="connsiteY46" fmla="*/ 308151 h 874716"/>
                <a:gd name="connsiteX47" fmla="*/ 3156692 w 6857455"/>
                <a:gd name="connsiteY47" fmla="*/ 261668 h 874716"/>
                <a:gd name="connsiteX48" fmla="*/ 3136497 w 6857455"/>
                <a:gd name="connsiteY48" fmla="*/ 237663 h 874716"/>
                <a:gd name="connsiteX49" fmla="*/ 3119733 w 6857455"/>
                <a:gd name="connsiteY49" fmla="*/ 222233 h 874716"/>
                <a:gd name="connsiteX50" fmla="*/ 3045436 w 6857455"/>
                <a:gd name="connsiteY50" fmla="*/ 131742 h 874716"/>
                <a:gd name="connsiteX51" fmla="*/ 3037054 w 6857455"/>
                <a:gd name="connsiteY51" fmla="*/ 124121 h 874716"/>
                <a:gd name="connsiteX52" fmla="*/ 2936466 w 6857455"/>
                <a:gd name="connsiteY52" fmla="*/ 82400 h 874716"/>
                <a:gd name="connsiteX53" fmla="*/ 2901031 w 6857455"/>
                <a:gd name="connsiteY53" fmla="*/ 59731 h 874716"/>
                <a:gd name="connsiteX54" fmla="*/ 2828259 w 6857455"/>
                <a:gd name="connsiteY54" fmla="*/ 3149 h 874716"/>
                <a:gd name="connsiteX55" fmla="*/ 2799492 w 6857455"/>
                <a:gd name="connsiteY55" fmla="*/ 1245 h 874716"/>
                <a:gd name="connsiteX56" fmla="*/ 2693570 w 6857455"/>
                <a:gd name="connsiteY56" fmla="*/ 35154 h 874716"/>
                <a:gd name="connsiteX57" fmla="*/ 2639847 w 6857455"/>
                <a:gd name="connsiteY57" fmla="*/ 73448 h 874716"/>
                <a:gd name="connsiteX58" fmla="*/ 2621178 w 6857455"/>
                <a:gd name="connsiteY58" fmla="*/ 88688 h 874716"/>
                <a:gd name="connsiteX59" fmla="*/ 2489348 w 6857455"/>
                <a:gd name="connsiteY59" fmla="*/ 72304 h 874716"/>
                <a:gd name="connsiteX60" fmla="*/ 2452580 w 6857455"/>
                <a:gd name="connsiteY60" fmla="*/ 68683 h 874716"/>
                <a:gd name="connsiteX61" fmla="*/ 2326464 w 6857455"/>
                <a:gd name="connsiteY61" fmla="*/ 50395 h 874716"/>
                <a:gd name="connsiteX62" fmla="*/ 2300365 w 6857455"/>
                <a:gd name="connsiteY62" fmla="*/ 54777 h 874716"/>
                <a:gd name="connsiteX63" fmla="*/ 2130434 w 6857455"/>
                <a:gd name="connsiteY63" fmla="*/ 58397 h 874716"/>
                <a:gd name="connsiteX64" fmla="*/ 2118621 w 6857455"/>
                <a:gd name="connsiteY64" fmla="*/ 47919 h 874716"/>
                <a:gd name="connsiteX65" fmla="*/ 2057659 w 6857455"/>
                <a:gd name="connsiteY65" fmla="*/ 16866 h 874716"/>
                <a:gd name="connsiteX66" fmla="*/ 1976314 w 6857455"/>
                <a:gd name="connsiteY66" fmla="*/ 8865 h 874716"/>
                <a:gd name="connsiteX67" fmla="*/ 1961454 w 6857455"/>
                <a:gd name="connsiteY67" fmla="*/ 11724 h 874716"/>
                <a:gd name="connsiteX68" fmla="*/ 1906588 w 6857455"/>
                <a:gd name="connsiteY68" fmla="*/ 30964 h 874716"/>
                <a:gd name="connsiteX69" fmla="*/ 1783330 w 6857455"/>
                <a:gd name="connsiteY69" fmla="*/ 48871 h 874716"/>
                <a:gd name="connsiteX70" fmla="*/ 1759327 w 6857455"/>
                <a:gd name="connsiteY70" fmla="*/ 55349 h 874716"/>
                <a:gd name="connsiteX71" fmla="*/ 1716082 w 6857455"/>
                <a:gd name="connsiteY71" fmla="*/ 65445 h 874716"/>
                <a:gd name="connsiteX72" fmla="*/ 1598920 w 6857455"/>
                <a:gd name="connsiteY72" fmla="*/ 72114 h 874716"/>
                <a:gd name="connsiteX73" fmla="*/ 1542150 w 6857455"/>
                <a:gd name="connsiteY73" fmla="*/ 62207 h 874716"/>
                <a:gd name="connsiteX74" fmla="*/ 1516813 w 6857455"/>
                <a:gd name="connsiteY74" fmla="*/ 62779 h 874716"/>
                <a:gd name="connsiteX75" fmla="*/ 1432228 w 6857455"/>
                <a:gd name="connsiteY75" fmla="*/ 88116 h 874716"/>
                <a:gd name="connsiteX76" fmla="*/ 1224765 w 6857455"/>
                <a:gd name="connsiteY76" fmla="*/ 71924 h 874716"/>
                <a:gd name="connsiteX77" fmla="*/ 1159231 w 6857455"/>
                <a:gd name="connsiteY77" fmla="*/ 58207 h 874716"/>
                <a:gd name="connsiteX78" fmla="*/ 1124370 w 6857455"/>
                <a:gd name="connsiteY78" fmla="*/ 56301 h 874716"/>
                <a:gd name="connsiteX79" fmla="*/ 1075600 w 6857455"/>
                <a:gd name="connsiteY79" fmla="*/ 75542 h 874716"/>
                <a:gd name="connsiteX80" fmla="*/ 986633 w 6857455"/>
                <a:gd name="connsiteY80" fmla="*/ 79162 h 874716"/>
                <a:gd name="connsiteX81" fmla="*/ 861089 w 6857455"/>
                <a:gd name="connsiteY81" fmla="*/ 76304 h 874716"/>
                <a:gd name="connsiteX82" fmla="*/ 759168 w 6857455"/>
                <a:gd name="connsiteY82" fmla="*/ 104689 h 874716"/>
                <a:gd name="connsiteX83" fmla="*/ 723735 w 6857455"/>
                <a:gd name="connsiteY83" fmla="*/ 140696 h 874716"/>
                <a:gd name="connsiteX84" fmla="*/ 647532 w 6857455"/>
                <a:gd name="connsiteY84" fmla="*/ 147934 h 874716"/>
                <a:gd name="connsiteX85" fmla="*/ 552659 w 6857455"/>
                <a:gd name="connsiteY85" fmla="*/ 95926 h 874716"/>
                <a:gd name="connsiteX86" fmla="*/ 541800 w 6857455"/>
                <a:gd name="connsiteY86" fmla="*/ 97640 h 874716"/>
                <a:gd name="connsiteX87" fmla="*/ 375107 w 6857455"/>
                <a:gd name="connsiteY87" fmla="*/ 123169 h 874716"/>
                <a:gd name="connsiteX88" fmla="*/ 273567 w 6857455"/>
                <a:gd name="connsiteY88" fmla="*/ 145458 h 874716"/>
                <a:gd name="connsiteX89" fmla="*/ 264043 w 6857455"/>
                <a:gd name="connsiteY89" fmla="*/ 154792 h 874716"/>
                <a:gd name="connsiteX90" fmla="*/ 169360 w 6857455"/>
                <a:gd name="connsiteY90" fmla="*/ 177273 h 874716"/>
                <a:gd name="connsiteX91" fmla="*/ 89347 w 6857455"/>
                <a:gd name="connsiteY91" fmla="*/ 157460 h 874716"/>
                <a:gd name="connsiteX92" fmla="*/ 34291 w 6857455"/>
                <a:gd name="connsiteY92" fmla="*/ 145268 h 874716"/>
                <a:gd name="connsiteX93" fmla="*/ 0 w 6857455"/>
                <a:gd name="connsiteY93" fmla="*/ 142056 h 874716"/>
                <a:gd name="connsiteX94" fmla="*/ 0 w 6857455"/>
                <a:gd name="connsiteY94" fmla="*/ 849556 h 874716"/>
                <a:gd name="connsiteX95" fmla="*/ 60652 w 6857455"/>
                <a:gd name="connsiteY95" fmla="*/ 844783 h 874716"/>
                <a:gd name="connsiteX96" fmla="*/ 119068 w 6857455"/>
                <a:gd name="connsiteY96" fmla="*/ 827281 h 874716"/>
                <a:gd name="connsiteX97" fmla="*/ 171840 w 6857455"/>
                <a:gd name="connsiteY97" fmla="*/ 804420 h 874716"/>
                <a:gd name="connsiteX98" fmla="*/ 274329 w 6857455"/>
                <a:gd name="connsiteY98" fmla="*/ 794324 h 874716"/>
                <a:gd name="connsiteX99" fmla="*/ 306715 w 6857455"/>
                <a:gd name="connsiteY99" fmla="*/ 788798 h 874716"/>
                <a:gd name="connsiteX100" fmla="*/ 393967 w 6857455"/>
                <a:gd name="connsiteY100" fmla="*/ 765937 h 874716"/>
                <a:gd name="connsiteX101" fmla="*/ 493793 w 6857455"/>
                <a:gd name="connsiteY101" fmla="*/ 725549 h 874716"/>
                <a:gd name="connsiteX102" fmla="*/ 546373 w 6857455"/>
                <a:gd name="connsiteY102" fmla="*/ 740600 h 874716"/>
                <a:gd name="connsiteX103" fmla="*/ 730211 w 6857455"/>
                <a:gd name="connsiteY103" fmla="*/ 698116 h 874716"/>
                <a:gd name="connsiteX104" fmla="*/ 784889 w 6857455"/>
                <a:gd name="connsiteY104" fmla="*/ 676018 h 874716"/>
                <a:gd name="connsiteX105" fmla="*/ 800509 w 6857455"/>
                <a:gd name="connsiteY105" fmla="*/ 661349 h 874716"/>
                <a:gd name="connsiteX106" fmla="*/ 857661 w 6857455"/>
                <a:gd name="connsiteY106" fmla="*/ 626868 h 874716"/>
                <a:gd name="connsiteX107" fmla="*/ 949102 w 6857455"/>
                <a:gd name="connsiteY107" fmla="*/ 614676 h 874716"/>
                <a:gd name="connsiteX108" fmla="*/ 960342 w 6857455"/>
                <a:gd name="connsiteY108" fmla="*/ 607435 h 874716"/>
                <a:gd name="connsiteX109" fmla="*/ 977109 w 6857455"/>
                <a:gd name="connsiteY109" fmla="*/ 595815 h 874716"/>
                <a:gd name="connsiteX110" fmla="*/ 1071218 w 6857455"/>
                <a:gd name="connsiteY110" fmla="*/ 575240 h 874716"/>
                <a:gd name="connsiteX111" fmla="*/ 1091983 w 6857455"/>
                <a:gd name="connsiteY111" fmla="*/ 568764 h 874716"/>
                <a:gd name="connsiteX112" fmla="*/ 1109321 w 6857455"/>
                <a:gd name="connsiteY112" fmla="*/ 557904 h 874716"/>
                <a:gd name="connsiteX113" fmla="*/ 1162279 w 6857455"/>
                <a:gd name="connsiteY113" fmla="*/ 532949 h 874716"/>
                <a:gd name="connsiteX114" fmla="*/ 1206097 w 6857455"/>
                <a:gd name="connsiteY114" fmla="*/ 532187 h 874716"/>
                <a:gd name="connsiteX115" fmla="*/ 1266867 w 6857455"/>
                <a:gd name="connsiteY115" fmla="*/ 518088 h 874716"/>
                <a:gd name="connsiteX116" fmla="*/ 1380219 w 6857455"/>
                <a:gd name="connsiteY116" fmla="*/ 504182 h 874716"/>
                <a:gd name="connsiteX117" fmla="*/ 1403461 w 6857455"/>
                <a:gd name="connsiteY117" fmla="*/ 496180 h 874716"/>
                <a:gd name="connsiteX118" fmla="*/ 1544054 w 6857455"/>
                <a:gd name="connsiteY118" fmla="*/ 458268 h 874716"/>
                <a:gd name="connsiteX119" fmla="*/ 1656644 w 6857455"/>
                <a:gd name="connsiteY119" fmla="*/ 459032 h 874716"/>
                <a:gd name="connsiteX120" fmla="*/ 1665406 w 6857455"/>
                <a:gd name="connsiteY120" fmla="*/ 460747 h 874716"/>
                <a:gd name="connsiteX121" fmla="*/ 1708461 w 6857455"/>
                <a:gd name="connsiteY121" fmla="*/ 473318 h 874716"/>
                <a:gd name="connsiteX122" fmla="*/ 1775140 w 6857455"/>
                <a:gd name="connsiteY122" fmla="*/ 469891 h 874716"/>
                <a:gd name="connsiteX123" fmla="*/ 1821051 w 6857455"/>
                <a:gd name="connsiteY123" fmla="*/ 452554 h 874716"/>
                <a:gd name="connsiteX124" fmla="*/ 1878203 w 6857455"/>
                <a:gd name="connsiteY124" fmla="*/ 451792 h 874716"/>
                <a:gd name="connsiteX125" fmla="*/ 1943547 w 6857455"/>
                <a:gd name="connsiteY125" fmla="*/ 462651 h 874716"/>
                <a:gd name="connsiteX126" fmla="*/ 1972884 w 6857455"/>
                <a:gd name="connsiteY126" fmla="*/ 464937 h 874716"/>
                <a:gd name="connsiteX127" fmla="*/ 2053469 w 6857455"/>
                <a:gd name="connsiteY127" fmla="*/ 487417 h 874716"/>
                <a:gd name="connsiteX128" fmla="*/ 2101477 w 6857455"/>
                <a:gd name="connsiteY128" fmla="*/ 481893 h 874716"/>
                <a:gd name="connsiteX129" fmla="*/ 2148722 w 6857455"/>
                <a:gd name="connsiteY129" fmla="*/ 467033 h 874716"/>
                <a:gd name="connsiteX130" fmla="*/ 2179011 w 6857455"/>
                <a:gd name="connsiteY130" fmla="*/ 452744 h 874716"/>
                <a:gd name="connsiteX131" fmla="*/ 2240165 w 6857455"/>
                <a:gd name="connsiteY131" fmla="*/ 442648 h 874716"/>
                <a:gd name="connsiteX132" fmla="*/ 2251404 w 6857455"/>
                <a:gd name="connsiteY132" fmla="*/ 444172 h 874716"/>
                <a:gd name="connsiteX133" fmla="*/ 2433912 w 6857455"/>
                <a:gd name="connsiteY133" fmla="*/ 456746 h 874716"/>
                <a:gd name="connsiteX134" fmla="*/ 2506302 w 6857455"/>
                <a:gd name="connsiteY134" fmla="*/ 476939 h 874716"/>
                <a:gd name="connsiteX135" fmla="*/ 2521735 w 6857455"/>
                <a:gd name="connsiteY135" fmla="*/ 479415 h 874716"/>
                <a:gd name="connsiteX136" fmla="*/ 2675854 w 6857455"/>
                <a:gd name="connsiteY136" fmla="*/ 502086 h 874716"/>
                <a:gd name="connsiteX137" fmla="*/ 2692998 w 6857455"/>
                <a:gd name="connsiteY137" fmla="*/ 503038 h 874716"/>
                <a:gd name="connsiteX138" fmla="*/ 2740816 w 6857455"/>
                <a:gd name="connsiteY138" fmla="*/ 499037 h 874716"/>
                <a:gd name="connsiteX139" fmla="*/ 2853596 w 6857455"/>
                <a:gd name="connsiteY139" fmla="*/ 540187 h 874716"/>
                <a:gd name="connsiteX140" fmla="*/ 2966565 w 6857455"/>
                <a:gd name="connsiteY140" fmla="*/ 554286 h 874716"/>
                <a:gd name="connsiteX141" fmla="*/ 3028671 w 6857455"/>
                <a:gd name="connsiteY141" fmla="*/ 554094 h 874716"/>
                <a:gd name="connsiteX142" fmla="*/ 3073059 w 6857455"/>
                <a:gd name="connsiteY142" fmla="*/ 564192 h 874716"/>
                <a:gd name="connsiteX143" fmla="*/ 3182219 w 6857455"/>
                <a:gd name="connsiteY143" fmla="*/ 594862 h 874716"/>
                <a:gd name="connsiteX144" fmla="*/ 3233656 w 6857455"/>
                <a:gd name="connsiteY144" fmla="*/ 599625 h 874716"/>
                <a:gd name="connsiteX145" fmla="*/ 3288332 w 6857455"/>
                <a:gd name="connsiteY145" fmla="*/ 609914 h 874716"/>
                <a:gd name="connsiteX146" fmla="*/ 3423591 w 6857455"/>
                <a:gd name="connsiteY146" fmla="*/ 656015 h 874716"/>
                <a:gd name="connsiteX147" fmla="*/ 3534084 w 6857455"/>
                <a:gd name="connsiteY147" fmla="*/ 653349 h 874716"/>
                <a:gd name="connsiteX148" fmla="*/ 3604571 w 6857455"/>
                <a:gd name="connsiteY148" fmla="*/ 653918 h 874716"/>
                <a:gd name="connsiteX149" fmla="*/ 3688586 w 6857455"/>
                <a:gd name="connsiteY149" fmla="*/ 669160 h 874716"/>
                <a:gd name="connsiteX150" fmla="*/ 3757358 w 6857455"/>
                <a:gd name="connsiteY150" fmla="*/ 691450 h 874716"/>
                <a:gd name="connsiteX151" fmla="*/ 3852421 w 6857455"/>
                <a:gd name="connsiteY151" fmla="*/ 709167 h 874716"/>
                <a:gd name="connsiteX152" fmla="*/ 3947104 w 6857455"/>
                <a:gd name="connsiteY152" fmla="*/ 743267 h 874716"/>
                <a:gd name="connsiteX153" fmla="*/ 4013208 w 6857455"/>
                <a:gd name="connsiteY153" fmla="*/ 769367 h 874716"/>
                <a:gd name="connsiteX154" fmla="*/ 4105222 w 6857455"/>
                <a:gd name="connsiteY154" fmla="*/ 792417 h 874716"/>
                <a:gd name="connsiteX155" fmla="*/ 4246006 w 6857455"/>
                <a:gd name="connsiteY155" fmla="*/ 808610 h 874716"/>
                <a:gd name="connsiteX156" fmla="*/ 4310779 w 6857455"/>
                <a:gd name="connsiteY156" fmla="*/ 810326 h 874716"/>
                <a:gd name="connsiteX157" fmla="*/ 4413272 w 6857455"/>
                <a:gd name="connsiteY157" fmla="*/ 848235 h 874716"/>
                <a:gd name="connsiteX158" fmla="*/ 4457087 w 6857455"/>
                <a:gd name="connsiteY158" fmla="*/ 866524 h 874716"/>
                <a:gd name="connsiteX159" fmla="*/ 4496523 w 6857455"/>
                <a:gd name="connsiteY159" fmla="*/ 851284 h 874716"/>
                <a:gd name="connsiteX160" fmla="*/ 4522050 w 6857455"/>
                <a:gd name="connsiteY160" fmla="*/ 833757 h 874716"/>
                <a:gd name="connsiteX161" fmla="*/ 4602824 w 6857455"/>
                <a:gd name="connsiteY161" fmla="*/ 848618 h 874716"/>
                <a:gd name="connsiteX162" fmla="*/ 4688553 w 6857455"/>
                <a:gd name="connsiteY162" fmla="*/ 864238 h 874716"/>
                <a:gd name="connsiteX163" fmla="*/ 4749895 w 6857455"/>
                <a:gd name="connsiteY163" fmla="*/ 874716 h 874716"/>
                <a:gd name="connsiteX164" fmla="*/ 4826480 w 6857455"/>
                <a:gd name="connsiteY164" fmla="*/ 866334 h 874716"/>
                <a:gd name="connsiteX165" fmla="*/ 4886870 w 6857455"/>
                <a:gd name="connsiteY165" fmla="*/ 862906 h 874716"/>
                <a:gd name="connsiteX166" fmla="*/ 4935639 w 6857455"/>
                <a:gd name="connsiteY166" fmla="*/ 853190 h 874716"/>
                <a:gd name="connsiteX167" fmla="*/ 4952784 w 6857455"/>
                <a:gd name="connsiteY167" fmla="*/ 847473 h 874716"/>
                <a:gd name="connsiteX168" fmla="*/ 5088617 w 6857455"/>
                <a:gd name="connsiteY168" fmla="*/ 802896 h 874716"/>
                <a:gd name="connsiteX169" fmla="*/ 5233781 w 6857455"/>
                <a:gd name="connsiteY169" fmla="*/ 767271 h 874716"/>
                <a:gd name="connsiteX170" fmla="*/ 5327893 w 6857455"/>
                <a:gd name="connsiteY170" fmla="*/ 789752 h 874716"/>
                <a:gd name="connsiteX171" fmla="*/ 5362946 w 6857455"/>
                <a:gd name="connsiteY171" fmla="*/ 789370 h 874716"/>
                <a:gd name="connsiteX172" fmla="*/ 5524115 w 6857455"/>
                <a:gd name="connsiteY172" fmla="*/ 794514 h 874716"/>
                <a:gd name="connsiteX173" fmla="*/ 5552500 w 6857455"/>
                <a:gd name="connsiteY173" fmla="*/ 800038 h 874716"/>
                <a:gd name="connsiteX174" fmla="*/ 5705857 w 6857455"/>
                <a:gd name="connsiteY174" fmla="*/ 777367 h 874716"/>
                <a:gd name="connsiteX175" fmla="*/ 5761485 w 6857455"/>
                <a:gd name="connsiteY175" fmla="*/ 773557 h 874716"/>
                <a:gd name="connsiteX176" fmla="*/ 5812731 w 6857455"/>
                <a:gd name="connsiteY176" fmla="*/ 767271 h 874716"/>
                <a:gd name="connsiteX177" fmla="*/ 5884361 w 6857455"/>
                <a:gd name="connsiteY177" fmla="*/ 765747 h 874716"/>
                <a:gd name="connsiteX178" fmla="*/ 5958660 w 6857455"/>
                <a:gd name="connsiteY178" fmla="*/ 768605 h 874716"/>
                <a:gd name="connsiteX179" fmla="*/ 6041528 w 6857455"/>
                <a:gd name="connsiteY179" fmla="*/ 768033 h 874716"/>
                <a:gd name="connsiteX180" fmla="*/ 6074297 w 6857455"/>
                <a:gd name="connsiteY180" fmla="*/ 763081 h 874716"/>
                <a:gd name="connsiteX181" fmla="*/ 6162880 w 6857455"/>
                <a:gd name="connsiteY181" fmla="*/ 766509 h 874716"/>
                <a:gd name="connsiteX182" fmla="*/ 6209364 w 6857455"/>
                <a:gd name="connsiteY182" fmla="*/ 760795 h 874716"/>
                <a:gd name="connsiteX183" fmla="*/ 6285948 w 6857455"/>
                <a:gd name="connsiteY183" fmla="*/ 759651 h 874716"/>
                <a:gd name="connsiteX184" fmla="*/ 6310905 w 6857455"/>
                <a:gd name="connsiteY184" fmla="*/ 758316 h 874716"/>
                <a:gd name="connsiteX185" fmla="*/ 6333194 w 6857455"/>
                <a:gd name="connsiteY185" fmla="*/ 757554 h 874716"/>
                <a:gd name="connsiteX186" fmla="*/ 6409586 w 6857455"/>
                <a:gd name="connsiteY186" fmla="*/ 773177 h 874716"/>
                <a:gd name="connsiteX187" fmla="*/ 6477407 w 6857455"/>
                <a:gd name="connsiteY187" fmla="*/ 774129 h 874716"/>
                <a:gd name="connsiteX188" fmla="*/ 6596283 w 6857455"/>
                <a:gd name="connsiteY188" fmla="*/ 786703 h 874716"/>
                <a:gd name="connsiteX189" fmla="*/ 6622573 w 6857455"/>
                <a:gd name="connsiteY189" fmla="*/ 782321 h 874716"/>
                <a:gd name="connsiteX190" fmla="*/ 6704872 w 6857455"/>
                <a:gd name="connsiteY190" fmla="*/ 780607 h 874716"/>
                <a:gd name="connsiteX191" fmla="*/ 6751738 w 6857455"/>
                <a:gd name="connsiteY191" fmla="*/ 779273 h 874716"/>
                <a:gd name="connsiteX192" fmla="*/ 6809650 w 6857455"/>
                <a:gd name="connsiteY192" fmla="*/ 788417 h 874716"/>
                <a:gd name="connsiteX193" fmla="*/ 6832976 w 6857455"/>
                <a:gd name="connsiteY193" fmla="*/ 800428 h 874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Lst>
              <a:rect l="l" t="t" r="r" b="b"/>
              <a:pathLst>
                <a:path w="6857455" h="874716">
                  <a:moveTo>
                    <a:pt x="6857455" y="804643"/>
                  </a:moveTo>
                  <a:lnTo>
                    <a:pt x="6857455" y="562246"/>
                  </a:lnTo>
                  <a:lnTo>
                    <a:pt x="6829178" y="551284"/>
                  </a:lnTo>
                  <a:cubicBezTo>
                    <a:pt x="6805745" y="539044"/>
                    <a:pt x="6784885" y="521708"/>
                    <a:pt x="6766024" y="500372"/>
                  </a:cubicBezTo>
                  <a:cubicBezTo>
                    <a:pt x="6755166" y="488179"/>
                    <a:pt x="6746784" y="486845"/>
                    <a:pt x="6734971" y="500944"/>
                  </a:cubicBezTo>
                  <a:cubicBezTo>
                    <a:pt x="6721257" y="517326"/>
                    <a:pt x="6701634" y="510850"/>
                    <a:pt x="6683915" y="507040"/>
                  </a:cubicBezTo>
                  <a:cubicBezTo>
                    <a:pt x="6665629" y="503230"/>
                    <a:pt x="6647148" y="499228"/>
                    <a:pt x="6628860" y="495418"/>
                  </a:cubicBezTo>
                  <a:cubicBezTo>
                    <a:pt x="6615335" y="492752"/>
                    <a:pt x="6601999" y="490466"/>
                    <a:pt x="6588662" y="487227"/>
                  </a:cubicBezTo>
                  <a:cubicBezTo>
                    <a:pt x="6547133" y="477129"/>
                    <a:pt x="6509794" y="480177"/>
                    <a:pt x="6476074" y="511230"/>
                  </a:cubicBezTo>
                  <a:cubicBezTo>
                    <a:pt x="6450356" y="535043"/>
                    <a:pt x="6417399" y="542093"/>
                    <a:pt x="6382345" y="534853"/>
                  </a:cubicBezTo>
                  <a:cubicBezTo>
                    <a:pt x="6377963" y="533901"/>
                    <a:pt x="6372439" y="530091"/>
                    <a:pt x="6369391" y="531615"/>
                  </a:cubicBezTo>
                  <a:cubicBezTo>
                    <a:pt x="6323479" y="553904"/>
                    <a:pt x="6287092" y="514658"/>
                    <a:pt x="6244799" y="512182"/>
                  </a:cubicBezTo>
                  <a:cubicBezTo>
                    <a:pt x="6226130" y="511040"/>
                    <a:pt x="6207079" y="496942"/>
                    <a:pt x="6190315" y="485703"/>
                  </a:cubicBezTo>
                  <a:cubicBezTo>
                    <a:pt x="6167262" y="470271"/>
                    <a:pt x="6146687" y="455412"/>
                    <a:pt x="6115446" y="462270"/>
                  </a:cubicBezTo>
                  <a:cubicBezTo>
                    <a:pt x="6084203" y="469319"/>
                    <a:pt x="6055627" y="456364"/>
                    <a:pt x="6032194" y="434266"/>
                  </a:cubicBezTo>
                  <a:cubicBezTo>
                    <a:pt x="6014287" y="417501"/>
                    <a:pt x="5994665" y="415977"/>
                    <a:pt x="5971042" y="420738"/>
                  </a:cubicBezTo>
                  <a:cubicBezTo>
                    <a:pt x="5941513" y="426645"/>
                    <a:pt x="5910842" y="427027"/>
                    <a:pt x="5880933" y="430646"/>
                  </a:cubicBezTo>
                  <a:cubicBezTo>
                    <a:pt x="5874454" y="431408"/>
                    <a:pt x="5866265" y="434076"/>
                    <a:pt x="5862452" y="438648"/>
                  </a:cubicBezTo>
                  <a:cubicBezTo>
                    <a:pt x="5815779" y="495418"/>
                    <a:pt x="5750055" y="495990"/>
                    <a:pt x="5685283" y="498658"/>
                  </a:cubicBezTo>
                  <a:cubicBezTo>
                    <a:pt x="5646039" y="500372"/>
                    <a:pt x="5606604" y="500372"/>
                    <a:pt x="5567169" y="499420"/>
                  </a:cubicBezTo>
                  <a:cubicBezTo>
                    <a:pt x="5553832" y="499228"/>
                    <a:pt x="5539736" y="496180"/>
                    <a:pt x="5527923" y="490466"/>
                  </a:cubicBezTo>
                  <a:cubicBezTo>
                    <a:pt x="5503348" y="478463"/>
                    <a:pt x="5480680" y="462843"/>
                    <a:pt x="5456292" y="450650"/>
                  </a:cubicBezTo>
                  <a:cubicBezTo>
                    <a:pt x="5447151" y="445886"/>
                    <a:pt x="5435338" y="445696"/>
                    <a:pt x="5424670" y="444934"/>
                  </a:cubicBezTo>
                  <a:cubicBezTo>
                    <a:pt x="5405809" y="443410"/>
                    <a:pt x="5384854" y="447982"/>
                    <a:pt x="5368662" y="441124"/>
                  </a:cubicBezTo>
                  <a:cubicBezTo>
                    <a:pt x="5326559" y="423407"/>
                    <a:pt x="5287123" y="427407"/>
                    <a:pt x="5247118" y="444934"/>
                  </a:cubicBezTo>
                  <a:cubicBezTo>
                    <a:pt x="5191108" y="469509"/>
                    <a:pt x="5138148" y="467605"/>
                    <a:pt x="5088617" y="428742"/>
                  </a:cubicBezTo>
                  <a:cubicBezTo>
                    <a:pt x="5066328" y="411215"/>
                    <a:pt x="5044609" y="419596"/>
                    <a:pt x="5025750" y="433694"/>
                  </a:cubicBezTo>
                  <a:cubicBezTo>
                    <a:pt x="5004032" y="450078"/>
                    <a:pt x="4982885" y="454268"/>
                    <a:pt x="4957930" y="442268"/>
                  </a:cubicBezTo>
                  <a:cubicBezTo>
                    <a:pt x="4952404" y="439600"/>
                    <a:pt x="4944594" y="440933"/>
                    <a:pt x="4938116" y="441886"/>
                  </a:cubicBezTo>
                  <a:cubicBezTo>
                    <a:pt x="4901158" y="446648"/>
                    <a:pt x="4864009" y="454650"/>
                    <a:pt x="4833910" y="421693"/>
                  </a:cubicBezTo>
                  <a:cubicBezTo>
                    <a:pt x="4828004" y="415214"/>
                    <a:pt x="4818097" y="412549"/>
                    <a:pt x="4810095" y="408167"/>
                  </a:cubicBezTo>
                  <a:cubicBezTo>
                    <a:pt x="4776566" y="390258"/>
                    <a:pt x="4777900" y="391974"/>
                    <a:pt x="4747991" y="413691"/>
                  </a:cubicBezTo>
                  <a:cubicBezTo>
                    <a:pt x="4732369" y="425121"/>
                    <a:pt x="4710842" y="436742"/>
                    <a:pt x="4692745" y="435790"/>
                  </a:cubicBezTo>
                  <a:cubicBezTo>
                    <a:pt x="4583584" y="430075"/>
                    <a:pt x="4479758" y="457508"/>
                    <a:pt x="4375933" y="483417"/>
                  </a:cubicBezTo>
                  <a:cubicBezTo>
                    <a:pt x="4311923" y="499420"/>
                    <a:pt x="4249436" y="500372"/>
                    <a:pt x="4185426" y="484179"/>
                  </a:cubicBezTo>
                  <a:cubicBezTo>
                    <a:pt x="4139133" y="472367"/>
                    <a:pt x="4095315" y="491800"/>
                    <a:pt x="4052072" y="505134"/>
                  </a:cubicBezTo>
                  <a:cubicBezTo>
                    <a:pt x="4043117" y="507799"/>
                    <a:pt x="4034735" y="518278"/>
                    <a:pt x="4029973" y="527233"/>
                  </a:cubicBezTo>
                  <a:cubicBezTo>
                    <a:pt x="4012826" y="558858"/>
                    <a:pt x="3984441" y="563810"/>
                    <a:pt x="3948626" y="550666"/>
                  </a:cubicBezTo>
                  <a:cubicBezTo>
                    <a:pt x="3920241" y="540377"/>
                    <a:pt x="3894332" y="526661"/>
                    <a:pt x="3871280" y="502275"/>
                  </a:cubicBezTo>
                  <a:cubicBezTo>
                    <a:pt x="3844229" y="473701"/>
                    <a:pt x="3816224" y="441124"/>
                    <a:pt x="3774312" y="429122"/>
                  </a:cubicBezTo>
                  <a:cubicBezTo>
                    <a:pt x="3756214" y="423979"/>
                    <a:pt x="3740593" y="423217"/>
                    <a:pt x="3721543" y="428552"/>
                  </a:cubicBezTo>
                  <a:cubicBezTo>
                    <a:pt x="3684583" y="438837"/>
                    <a:pt x="3647436" y="446078"/>
                    <a:pt x="3612763" y="414263"/>
                  </a:cubicBezTo>
                  <a:cubicBezTo>
                    <a:pt x="3593712" y="396736"/>
                    <a:pt x="3567994" y="385496"/>
                    <a:pt x="3537323" y="389878"/>
                  </a:cubicBezTo>
                  <a:cubicBezTo>
                    <a:pt x="3499031" y="395402"/>
                    <a:pt x="3464168" y="381496"/>
                    <a:pt x="3431593" y="360921"/>
                  </a:cubicBezTo>
                  <a:cubicBezTo>
                    <a:pt x="3419971" y="353491"/>
                    <a:pt x="3405682" y="349301"/>
                    <a:pt x="3392158" y="345681"/>
                  </a:cubicBezTo>
                  <a:cubicBezTo>
                    <a:pt x="3360915" y="337298"/>
                    <a:pt x="3329480" y="329868"/>
                    <a:pt x="3297856" y="323010"/>
                  </a:cubicBezTo>
                  <a:cubicBezTo>
                    <a:pt x="3271948" y="317296"/>
                    <a:pt x="3245849" y="313104"/>
                    <a:pt x="3219748" y="308151"/>
                  </a:cubicBezTo>
                  <a:cubicBezTo>
                    <a:pt x="3191173" y="302817"/>
                    <a:pt x="3168502" y="290433"/>
                    <a:pt x="3156692" y="261668"/>
                  </a:cubicBezTo>
                  <a:cubicBezTo>
                    <a:pt x="3152882" y="252524"/>
                    <a:pt x="3143737" y="245283"/>
                    <a:pt x="3136497" y="237663"/>
                  </a:cubicBezTo>
                  <a:cubicBezTo>
                    <a:pt x="3131355" y="232139"/>
                    <a:pt x="3124495" y="227947"/>
                    <a:pt x="3119733" y="222233"/>
                  </a:cubicBezTo>
                  <a:cubicBezTo>
                    <a:pt x="3094776" y="192132"/>
                    <a:pt x="3070201" y="161843"/>
                    <a:pt x="3045436" y="131742"/>
                  </a:cubicBezTo>
                  <a:cubicBezTo>
                    <a:pt x="3042958" y="128884"/>
                    <a:pt x="3040292" y="125455"/>
                    <a:pt x="3037054" y="124121"/>
                  </a:cubicBezTo>
                  <a:cubicBezTo>
                    <a:pt x="3003525" y="110215"/>
                    <a:pt x="2969614" y="97070"/>
                    <a:pt x="2936466" y="82400"/>
                  </a:cubicBezTo>
                  <a:cubicBezTo>
                    <a:pt x="2923702" y="76686"/>
                    <a:pt x="2910558" y="69637"/>
                    <a:pt x="2901031" y="59731"/>
                  </a:cubicBezTo>
                  <a:cubicBezTo>
                    <a:pt x="2879314" y="37250"/>
                    <a:pt x="2859502" y="12866"/>
                    <a:pt x="2828259" y="3149"/>
                  </a:cubicBezTo>
                  <a:cubicBezTo>
                    <a:pt x="2819114" y="293"/>
                    <a:pt x="2808256" y="-1231"/>
                    <a:pt x="2799492" y="1245"/>
                  </a:cubicBezTo>
                  <a:cubicBezTo>
                    <a:pt x="2763867" y="11532"/>
                    <a:pt x="2729005" y="24296"/>
                    <a:pt x="2693570" y="35154"/>
                  </a:cubicBezTo>
                  <a:cubicBezTo>
                    <a:pt x="2671092" y="41823"/>
                    <a:pt x="2650707" y="49825"/>
                    <a:pt x="2639847" y="73448"/>
                  </a:cubicBezTo>
                  <a:cubicBezTo>
                    <a:pt x="2636801" y="80114"/>
                    <a:pt x="2628226" y="87354"/>
                    <a:pt x="2621178" y="88688"/>
                  </a:cubicBezTo>
                  <a:cubicBezTo>
                    <a:pt x="2575839" y="97260"/>
                    <a:pt x="2531069" y="101451"/>
                    <a:pt x="2489348" y="72304"/>
                  </a:cubicBezTo>
                  <a:cubicBezTo>
                    <a:pt x="2480585" y="66017"/>
                    <a:pt x="2464201" y="66017"/>
                    <a:pt x="2452580" y="68683"/>
                  </a:cubicBezTo>
                  <a:cubicBezTo>
                    <a:pt x="2407811" y="78590"/>
                    <a:pt x="2365328" y="82020"/>
                    <a:pt x="2326464" y="50395"/>
                  </a:cubicBezTo>
                  <a:cubicBezTo>
                    <a:pt x="2321892" y="46585"/>
                    <a:pt x="2307224" y="50015"/>
                    <a:pt x="2300365" y="54777"/>
                  </a:cubicBezTo>
                  <a:cubicBezTo>
                    <a:pt x="2234259" y="101261"/>
                    <a:pt x="2198064" y="102405"/>
                    <a:pt x="2130434" y="58397"/>
                  </a:cubicBezTo>
                  <a:cubicBezTo>
                    <a:pt x="2126052" y="55539"/>
                    <a:pt x="2120337" y="52301"/>
                    <a:pt x="2118621" y="47919"/>
                  </a:cubicBezTo>
                  <a:cubicBezTo>
                    <a:pt x="2107001" y="19914"/>
                    <a:pt x="2082236" y="19152"/>
                    <a:pt x="2057659" y="16866"/>
                  </a:cubicBezTo>
                  <a:cubicBezTo>
                    <a:pt x="2030608" y="14390"/>
                    <a:pt x="2003555" y="11152"/>
                    <a:pt x="1976314" y="8865"/>
                  </a:cubicBezTo>
                  <a:cubicBezTo>
                    <a:pt x="1971550" y="8483"/>
                    <a:pt x="1966216" y="10007"/>
                    <a:pt x="1961454" y="11724"/>
                  </a:cubicBezTo>
                  <a:cubicBezTo>
                    <a:pt x="1943165" y="18010"/>
                    <a:pt x="1925449" y="27154"/>
                    <a:pt x="1906588" y="30964"/>
                  </a:cubicBezTo>
                  <a:cubicBezTo>
                    <a:pt x="1865821" y="39156"/>
                    <a:pt x="1826385" y="55539"/>
                    <a:pt x="1783330" y="48871"/>
                  </a:cubicBezTo>
                  <a:cubicBezTo>
                    <a:pt x="1775902" y="47729"/>
                    <a:pt x="1767327" y="53253"/>
                    <a:pt x="1759327" y="55349"/>
                  </a:cubicBezTo>
                  <a:cubicBezTo>
                    <a:pt x="1744849" y="58969"/>
                    <a:pt x="1730750" y="64111"/>
                    <a:pt x="1716082" y="65445"/>
                  </a:cubicBezTo>
                  <a:cubicBezTo>
                    <a:pt x="1677218" y="68875"/>
                    <a:pt x="1637975" y="71924"/>
                    <a:pt x="1598920" y="72114"/>
                  </a:cubicBezTo>
                  <a:cubicBezTo>
                    <a:pt x="1580061" y="72304"/>
                    <a:pt x="1561201" y="65065"/>
                    <a:pt x="1542150" y="62207"/>
                  </a:cubicBezTo>
                  <a:cubicBezTo>
                    <a:pt x="1533578" y="60873"/>
                    <a:pt x="1519669" y="58587"/>
                    <a:pt x="1516813" y="62779"/>
                  </a:cubicBezTo>
                  <a:cubicBezTo>
                    <a:pt x="1494714" y="94592"/>
                    <a:pt x="1463661" y="88496"/>
                    <a:pt x="1432228" y="88116"/>
                  </a:cubicBezTo>
                  <a:cubicBezTo>
                    <a:pt x="1362884" y="87354"/>
                    <a:pt x="1295826" y="60493"/>
                    <a:pt x="1224765" y="71924"/>
                  </a:cubicBezTo>
                  <a:cubicBezTo>
                    <a:pt x="1204191" y="75162"/>
                    <a:pt x="1181330" y="62397"/>
                    <a:pt x="1159231" y="58207"/>
                  </a:cubicBezTo>
                  <a:cubicBezTo>
                    <a:pt x="1147801" y="56111"/>
                    <a:pt x="1135228" y="53633"/>
                    <a:pt x="1124370" y="56301"/>
                  </a:cubicBezTo>
                  <a:cubicBezTo>
                    <a:pt x="1107605" y="60493"/>
                    <a:pt x="1091411" y="68113"/>
                    <a:pt x="1075600" y="75542"/>
                  </a:cubicBezTo>
                  <a:cubicBezTo>
                    <a:pt x="1046261" y="89258"/>
                    <a:pt x="1016162" y="89258"/>
                    <a:pt x="986633" y="79162"/>
                  </a:cubicBezTo>
                  <a:cubicBezTo>
                    <a:pt x="944722" y="64873"/>
                    <a:pt x="903193" y="64873"/>
                    <a:pt x="861089" y="76304"/>
                  </a:cubicBezTo>
                  <a:cubicBezTo>
                    <a:pt x="826990" y="85638"/>
                    <a:pt x="791935" y="92116"/>
                    <a:pt x="759168" y="104689"/>
                  </a:cubicBezTo>
                  <a:cubicBezTo>
                    <a:pt x="744689" y="110215"/>
                    <a:pt x="732497" y="126597"/>
                    <a:pt x="723735" y="140696"/>
                  </a:cubicBezTo>
                  <a:cubicBezTo>
                    <a:pt x="706018" y="169271"/>
                    <a:pt x="674013" y="169081"/>
                    <a:pt x="647532" y="147934"/>
                  </a:cubicBezTo>
                  <a:cubicBezTo>
                    <a:pt x="619717" y="125645"/>
                    <a:pt x="584664" y="112501"/>
                    <a:pt x="552659" y="95926"/>
                  </a:cubicBezTo>
                  <a:cubicBezTo>
                    <a:pt x="549993" y="94592"/>
                    <a:pt x="545039" y="96116"/>
                    <a:pt x="541800" y="97640"/>
                  </a:cubicBezTo>
                  <a:cubicBezTo>
                    <a:pt x="488649" y="122407"/>
                    <a:pt x="433593" y="126979"/>
                    <a:pt x="375107" y="123169"/>
                  </a:cubicBezTo>
                  <a:cubicBezTo>
                    <a:pt x="341960" y="121073"/>
                    <a:pt x="307289" y="137076"/>
                    <a:pt x="273567" y="145458"/>
                  </a:cubicBezTo>
                  <a:cubicBezTo>
                    <a:pt x="269757" y="146410"/>
                    <a:pt x="266519" y="151174"/>
                    <a:pt x="264043" y="154792"/>
                  </a:cubicBezTo>
                  <a:cubicBezTo>
                    <a:pt x="240228" y="190800"/>
                    <a:pt x="208223" y="200706"/>
                    <a:pt x="169360" y="177273"/>
                  </a:cubicBezTo>
                  <a:cubicBezTo>
                    <a:pt x="143643" y="161651"/>
                    <a:pt x="118114" y="158032"/>
                    <a:pt x="89347" y="157460"/>
                  </a:cubicBezTo>
                  <a:cubicBezTo>
                    <a:pt x="71059" y="157078"/>
                    <a:pt x="52962" y="147934"/>
                    <a:pt x="34291" y="145268"/>
                  </a:cubicBezTo>
                  <a:lnTo>
                    <a:pt x="0" y="142056"/>
                  </a:lnTo>
                  <a:lnTo>
                    <a:pt x="0" y="849556"/>
                  </a:lnTo>
                  <a:lnTo>
                    <a:pt x="60652" y="844783"/>
                  </a:lnTo>
                  <a:cubicBezTo>
                    <a:pt x="80251" y="839473"/>
                    <a:pt x="99446" y="832043"/>
                    <a:pt x="119068" y="827281"/>
                  </a:cubicBezTo>
                  <a:cubicBezTo>
                    <a:pt x="137355" y="822899"/>
                    <a:pt x="154501" y="812802"/>
                    <a:pt x="171840" y="804420"/>
                  </a:cubicBezTo>
                  <a:cubicBezTo>
                    <a:pt x="204985" y="788417"/>
                    <a:pt x="240420" y="798514"/>
                    <a:pt x="274329" y="794324"/>
                  </a:cubicBezTo>
                  <a:cubicBezTo>
                    <a:pt x="285188" y="792990"/>
                    <a:pt x="296046" y="791466"/>
                    <a:pt x="306715" y="788798"/>
                  </a:cubicBezTo>
                  <a:cubicBezTo>
                    <a:pt x="335864" y="781749"/>
                    <a:pt x="365583" y="775653"/>
                    <a:pt x="393967" y="765937"/>
                  </a:cubicBezTo>
                  <a:cubicBezTo>
                    <a:pt x="426165" y="755078"/>
                    <a:pt x="457028" y="740600"/>
                    <a:pt x="493793" y="725549"/>
                  </a:cubicBezTo>
                  <a:cubicBezTo>
                    <a:pt x="506557" y="729360"/>
                    <a:pt x="526180" y="739648"/>
                    <a:pt x="546373" y="740600"/>
                  </a:cubicBezTo>
                  <a:cubicBezTo>
                    <a:pt x="611337" y="743838"/>
                    <a:pt x="672107" y="726121"/>
                    <a:pt x="730211" y="698116"/>
                  </a:cubicBezTo>
                  <a:cubicBezTo>
                    <a:pt x="747927" y="689734"/>
                    <a:pt x="766980" y="684210"/>
                    <a:pt x="784889" y="676018"/>
                  </a:cubicBezTo>
                  <a:cubicBezTo>
                    <a:pt x="791173" y="673161"/>
                    <a:pt x="799365" y="667065"/>
                    <a:pt x="800509" y="661349"/>
                  </a:cubicBezTo>
                  <a:cubicBezTo>
                    <a:pt x="807175" y="628201"/>
                    <a:pt x="831942" y="628772"/>
                    <a:pt x="857661" y="626868"/>
                  </a:cubicBezTo>
                  <a:cubicBezTo>
                    <a:pt x="888332" y="624582"/>
                    <a:pt x="918621" y="619248"/>
                    <a:pt x="949102" y="614676"/>
                  </a:cubicBezTo>
                  <a:cubicBezTo>
                    <a:pt x="953104" y="614104"/>
                    <a:pt x="956722" y="610104"/>
                    <a:pt x="960342" y="607435"/>
                  </a:cubicBezTo>
                  <a:cubicBezTo>
                    <a:pt x="965867" y="603435"/>
                    <a:pt x="971011" y="597339"/>
                    <a:pt x="977109" y="595815"/>
                  </a:cubicBezTo>
                  <a:cubicBezTo>
                    <a:pt x="1008350" y="588385"/>
                    <a:pt x="1039783" y="582099"/>
                    <a:pt x="1071218" y="575240"/>
                  </a:cubicBezTo>
                  <a:cubicBezTo>
                    <a:pt x="1078266" y="573716"/>
                    <a:pt x="1085505" y="571812"/>
                    <a:pt x="1091983" y="568764"/>
                  </a:cubicBezTo>
                  <a:cubicBezTo>
                    <a:pt x="1098079" y="565906"/>
                    <a:pt x="1103223" y="560952"/>
                    <a:pt x="1109321" y="557904"/>
                  </a:cubicBezTo>
                  <a:cubicBezTo>
                    <a:pt x="1125892" y="549714"/>
                    <a:pt x="1142851" y="542093"/>
                    <a:pt x="1162279" y="532949"/>
                  </a:cubicBezTo>
                  <a:cubicBezTo>
                    <a:pt x="1173138" y="550094"/>
                    <a:pt x="1187810" y="540377"/>
                    <a:pt x="1206097" y="532187"/>
                  </a:cubicBezTo>
                  <a:cubicBezTo>
                    <a:pt x="1224765" y="523805"/>
                    <a:pt x="1246292" y="521137"/>
                    <a:pt x="1266867" y="518088"/>
                  </a:cubicBezTo>
                  <a:cubicBezTo>
                    <a:pt x="1304588" y="512564"/>
                    <a:pt x="1342499" y="509134"/>
                    <a:pt x="1380219" y="504182"/>
                  </a:cubicBezTo>
                  <a:cubicBezTo>
                    <a:pt x="1388221" y="503038"/>
                    <a:pt x="1397365" y="500944"/>
                    <a:pt x="1403461" y="496180"/>
                  </a:cubicBezTo>
                  <a:cubicBezTo>
                    <a:pt x="1445181" y="464175"/>
                    <a:pt x="1495858" y="455222"/>
                    <a:pt x="1544054" y="458268"/>
                  </a:cubicBezTo>
                  <a:cubicBezTo>
                    <a:pt x="1581965" y="460557"/>
                    <a:pt x="1619114" y="462270"/>
                    <a:pt x="1656644" y="459032"/>
                  </a:cubicBezTo>
                  <a:cubicBezTo>
                    <a:pt x="1659502" y="458841"/>
                    <a:pt x="1663312" y="459223"/>
                    <a:pt x="1665406" y="460747"/>
                  </a:cubicBezTo>
                  <a:cubicBezTo>
                    <a:pt x="1678360" y="470843"/>
                    <a:pt x="1691887" y="471605"/>
                    <a:pt x="1708461" y="473318"/>
                  </a:cubicBezTo>
                  <a:cubicBezTo>
                    <a:pt x="1731894" y="475797"/>
                    <a:pt x="1753421" y="474081"/>
                    <a:pt x="1775140" y="469891"/>
                  </a:cubicBezTo>
                  <a:cubicBezTo>
                    <a:pt x="1790952" y="466843"/>
                    <a:pt x="1806953" y="460557"/>
                    <a:pt x="1821051" y="452554"/>
                  </a:cubicBezTo>
                  <a:cubicBezTo>
                    <a:pt x="1840672" y="441314"/>
                    <a:pt x="1859535" y="436934"/>
                    <a:pt x="1878203" y="451792"/>
                  </a:cubicBezTo>
                  <a:cubicBezTo>
                    <a:pt x="1898396" y="467605"/>
                    <a:pt x="1921257" y="462081"/>
                    <a:pt x="1943547" y="462651"/>
                  </a:cubicBezTo>
                  <a:cubicBezTo>
                    <a:pt x="1953262" y="462843"/>
                    <a:pt x="1963550" y="462461"/>
                    <a:pt x="1972884" y="464937"/>
                  </a:cubicBezTo>
                  <a:cubicBezTo>
                    <a:pt x="1999935" y="471987"/>
                    <a:pt x="2026036" y="482655"/>
                    <a:pt x="2053469" y="487417"/>
                  </a:cubicBezTo>
                  <a:cubicBezTo>
                    <a:pt x="2068710" y="490084"/>
                    <a:pt x="2085664" y="485321"/>
                    <a:pt x="2101477" y="481893"/>
                  </a:cubicBezTo>
                  <a:cubicBezTo>
                    <a:pt x="2117479" y="478273"/>
                    <a:pt x="2133290" y="472749"/>
                    <a:pt x="2148722" y="467033"/>
                  </a:cubicBezTo>
                  <a:cubicBezTo>
                    <a:pt x="2159199" y="463223"/>
                    <a:pt x="2170629" y="459603"/>
                    <a:pt x="2179011" y="452744"/>
                  </a:cubicBezTo>
                  <a:cubicBezTo>
                    <a:pt x="2198064" y="437124"/>
                    <a:pt x="2217685" y="434455"/>
                    <a:pt x="2240165" y="442648"/>
                  </a:cubicBezTo>
                  <a:cubicBezTo>
                    <a:pt x="2243593" y="443982"/>
                    <a:pt x="2247594" y="443982"/>
                    <a:pt x="2251404" y="444172"/>
                  </a:cubicBezTo>
                  <a:cubicBezTo>
                    <a:pt x="2312370" y="448172"/>
                    <a:pt x="2373330" y="450650"/>
                    <a:pt x="2433912" y="456746"/>
                  </a:cubicBezTo>
                  <a:cubicBezTo>
                    <a:pt x="2458485" y="459223"/>
                    <a:pt x="2482107" y="470081"/>
                    <a:pt x="2506302" y="476939"/>
                  </a:cubicBezTo>
                  <a:cubicBezTo>
                    <a:pt x="2511256" y="478273"/>
                    <a:pt x="2516783" y="480369"/>
                    <a:pt x="2521735" y="479415"/>
                  </a:cubicBezTo>
                  <a:cubicBezTo>
                    <a:pt x="2575647" y="469891"/>
                    <a:pt x="2626132" y="483797"/>
                    <a:pt x="2675854" y="502086"/>
                  </a:cubicBezTo>
                  <a:cubicBezTo>
                    <a:pt x="2680996" y="503992"/>
                    <a:pt x="2687282" y="503419"/>
                    <a:pt x="2692998" y="503038"/>
                  </a:cubicBezTo>
                  <a:cubicBezTo>
                    <a:pt x="2709003" y="501706"/>
                    <a:pt x="2726337" y="495038"/>
                    <a:pt x="2740816" y="499037"/>
                  </a:cubicBezTo>
                  <a:cubicBezTo>
                    <a:pt x="2779297" y="510088"/>
                    <a:pt x="2817398" y="523423"/>
                    <a:pt x="2853596" y="540187"/>
                  </a:cubicBezTo>
                  <a:cubicBezTo>
                    <a:pt x="2890365" y="557142"/>
                    <a:pt x="2924464" y="571430"/>
                    <a:pt x="2966565" y="554286"/>
                  </a:cubicBezTo>
                  <a:cubicBezTo>
                    <a:pt x="2984472" y="547045"/>
                    <a:pt x="3008095" y="552190"/>
                    <a:pt x="3028671" y="554094"/>
                  </a:cubicBezTo>
                  <a:cubicBezTo>
                    <a:pt x="3043720" y="555618"/>
                    <a:pt x="3058198" y="564192"/>
                    <a:pt x="3073059" y="564192"/>
                  </a:cubicBezTo>
                  <a:cubicBezTo>
                    <a:pt x="3112686" y="564192"/>
                    <a:pt x="3147927" y="574288"/>
                    <a:pt x="3182219" y="594862"/>
                  </a:cubicBezTo>
                  <a:cubicBezTo>
                    <a:pt x="3195557" y="602863"/>
                    <a:pt x="3216322" y="597529"/>
                    <a:pt x="3233656" y="599625"/>
                  </a:cubicBezTo>
                  <a:cubicBezTo>
                    <a:pt x="3251947" y="602101"/>
                    <a:pt x="3270804" y="604387"/>
                    <a:pt x="3288332" y="609914"/>
                  </a:cubicBezTo>
                  <a:cubicBezTo>
                    <a:pt x="3333672" y="624392"/>
                    <a:pt x="3378441" y="640774"/>
                    <a:pt x="3423591" y="656015"/>
                  </a:cubicBezTo>
                  <a:cubicBezTo>
                    <a:pt x="3460738" y="668590"/>
                    <a:pt x="3497317" y="658683"/>
                    <a:pt x="3534084" y="653349"/>
                  </a:cubicBezTo>
                  <a:cubicBezTo>
                    <a:pt x="3557137" y="649919"/>
                    <a:pt x="3578662" y="641727"/>
                    <a:pt x="3604571" y="653918"/>
                  </a:cubicBezTo>
                  <a:cubicBezTo>
                    <a:pt x="3629338" y="665541"/>
                    <a:pt x="3660771" y="662873"/>
                    <a:pt x="3688586" y="669160"/>
                  </a:cubicBezTo>
                  <a:cubicBezTo>
                    <a:pt x="3712020" y="674494"/>
                    <a:pt x="3734687" y="683068"/>
                    <a:pt x="3757358" y="691450"/>
                  </a:cubicBezTo>
                  <a:cubicBezTo>
                    <a:pt x="3788221" y="702881"/>
                    <a:pt x="3818700" y="714881"/>
                    <a:pt x="3852421" y="709167"/>
                  </a:cubicBezTo>
                  <a:cubicBezTo>
                    <a:pt x="3890714" y="702689"/>
                    <a:pt x="3917001" y="727073"/>
                    <a:pt x="3947104" y="743267"/>
                  </a:cubicBezTo>
                  <a:cubicBezTo>
                    <a:pt x="3967869" y="754316"/>
                    <a:pt x="3990538" y="762509"/>
                    <a:pt x="4013208" y="769367"/>
                  </a:cubicBezTo>
                  <a:cubicBezTo>
                    <a:pt x="4043497" y="778321"/>
                    <a:pt x="4074740" y="783655"/>
                    <a:pt x="4105222" y="792417"/>
                  </a:cubicBezTo>
                  <a:cubicBezTo>
                    <a:pt x="4151325" y="805561"/>
                    <a:pt x="4198001" y="815850"/>
                    <a:pt x="4246006" y="808610"/>
                  </a:cubicBezTo>
                  <a:cubicBezTo>
                    <a:pt x="4268105" y="805372"/>
                    <a:pt x="4288682" y="805561"/>
                    <a:pt x="4310779" y="810326"/>
                  </a:cubicBezTo>
                  <a:cubicBezTo>
                    <a:pt x="4346974" y="818136"/>
                    <a:pt x="4384123" y="819089"/>
                    <a:pt x="4413272" y="848235"/>
                  </a:cubicBezTo>
                  <a:cubicBezTo>
                    <a:pt x="4423558" y="858524"/>
                    <a:pt x="4442037" y="861190"/>
                    <a:pt x="4457087" y="866524"/>
                  </a:cubicBezTo>
                  <a:cubicBezTo>
                    <a:pt x="4474424" y="872812"/>
                    <a:pt x="4487186" y="869572"/>
                    <a:pt x="4496523" y="851284"/>
                  </a:cubicBezTo>
                  <a:cubicBezTo>
                    <a:pt x="4500713" y="843093"/>
                    <a:pt x="4512715" y="835091"/>
                    <a:pt x="4522050" y="833757"/>
                  </a:cubicBezTo>
                  <a:cubicBezTo>
                    <a:pt x="4550055" y="829757"/>
                    <a:pt x="4575773" y="835663"/>
                    <a:pt x="4602824" y="848618"/>
                  </a:cubicBezTo>
                  <a:cubicBezTo>
                    <a:pt x="4628161" y="860810"/>
                    <a:pt x="4659786" y="859476"/>
                    <a:pt x="4688553" y="864238"/>
                  </a:cubicBezTo>
                  <a:cubicBezTo>
                    <a:pt x="4708936" y="867668"/>
                    <a:pt x="4729321" y="874716"/>
                    <a:pt x="4749895" y="874716"/>
                  </a:cubicBezTo>
                  <a:cubicBezTo>
                    <a:pt x="4775424" y="874716"/>
                    <a:pt x="4800761" y="868620"/>
                    <a:pt x="4826480" y="866334"/>
                  </a:cubicBezTo>
                  <a:cubicBezTo>
                    <a:pt x="4846482" y="864430"/>
                    <a:pt x="4866867" y="865192"/>
                    <a:pt x="4886870" y="862906"/>
                  </a:cubicBezTo>
                  <a:cubicBezTo>
                    <a:pt x="4903254" y="861190"/>
                    <a:pt x="4919447" y="856810"/>
                    <a:pt x="4935639" y="853190"/>
                  </a:cubicBezTo>
                  <a:cubicBezTo>
                    <a:pt x="4941546" y="851856"/>
                    <a:pt x="4947452" y="846711"/>
                    <a:pt x="4952784" y="847473"/>
                  </a:cubicBezTo>
                  <a:cubicBezTo>
                    <a:pt x="5005745" y="855666"/>
                    <a:pt x="5043847" y="819089"/>
                    <a:pt x="5088617" y="802896"/>
                  </a:cubicBezTo>
                  <a:cubicBezTo>
                    <a:pt x="5135672" y="785749"/>
                    <a:pt x="5181204" y="759461"/>
                    <a:pt x="5233781" y="767271"/>
                  </a:cubicBezTo>
                  <a:cubicBezTo>
                    <a:pt x="5265596" y="772033"/>
                    <a:pt x="5296267" y="783083"/>
                    <a:pt x="5327893" y="789752"/>
                  </a:cubicBezTo>
                  <a:cubicBezTo>
                    <a:pt x="5339132" y="792038"/>
                    <a:pt x="5351705" y="791656"/>
                    <a:pt x="5362946" y="789370"/>
                  </a:cubicBezTo>
                  <a:cubicBezTo>
                    <a:pt x="5417240" y="778891"/>
                    <a:pt x="5470771" y="777367"/>
                    <a:pt x="5524115" y="794514"/>
                  </a:cubicBezTo>
                  <a:cubicBezTo>
                    <a:pt x="5533257" y="797372"/>
                    <a:pt x="5542974" y="800038"/>
                    <a:pt x="5552500" y="800038"/>
                  </a:cubicBezTo>
                  <a:cubicBezTo>
                    <a:pt x="5604697" y="800038"/>
                    <a:pt x="5655944" y="796038"/>
                    <a:pt x="5705857" y="777367"/>
                  </a:cubicBezTo>
                  <a:cubicBezTo>
                    <a:pt x="5722622" y="771080"/>
                    <a:pt x="5743006" y="775081"/>
                    <a:pt x="5761485" y="773557"/>
                  </a:cubicBezTo>
                  <a:cubicBezTo>
                    <a:pt x="5778629" y="772224"/>
                    <a:pt x="5796156" y="771653"/>
                    <a:pt x="5812731" y="767271"/>
                  </a:cubicBezTo>
                  <a:cubicBezTo>
                    <a:pt x="5836925" y="760795"/>
                    <a:pt x="5859404" y="760033"/>
                    <a:pt x="5884361" y="765747"/>
                  </a:cubicBezTo>
                  <a:cubicBezTo>
                    <a:pt x="5908174" y="771080"/>
                    <a:pt x="5933892" y="768415"/>
                    <a:pt x="5958660" y="768605"/>
                  </a:cubicBezTo>
                  <a:cubicBezTo>
                    <a:pt x="5986282" y="768795"/>
                    <a:pt x="6013906" y="768984"/>
                    <a:pt x="6041528" y="768033"/>
                  </a:cubicBezTo>
                  <a:cubicBezTo>
                    <a:pt x="6052579" y="767653"/>
                    <a:pt x="6065151" y="760033"/>
                    <a:pt x="6074297" y="763081"/>
                  </a:cubicBezTo>
                  <a:cubicBezTo>
                    <a:pt x="6103824" y="773366"/>
                    <a:pt x="6133353" y="760985"/>
                    <a:pt x="6162880" y="766509"/>
                  </a:cubicBezTo>
                  <a:cubicBezTo>
                    <a:pt x="6177360" y="769367"/>
                    <a:pt x="6193743" y="761557"/>
                    <a:pt x="6209364" y="760795"/>
                  </a:cubicBezTo>
                  <a:cubicBezTo>
                    <a:pt x="6234892" y="759461"/>
                    <a:pt x="6260419" y="760033"/>
                    <a:pt x="6285948" y="759651"/>
                  </a:cubicBezTo>
                  <a:cubicBezTo>
                    <a:pt x="6294330" y="759461"/>
                    <a:pt x="6302523" y="758699"/>
                    <a:pt x="6310905" y="758316"/>
                  </a:cubicBezTo>
                  <a:cubicBezTo>
                    <a:pt x="6318335" y="757936"/>
                    <a:pt x="6326145" y="756222"/>
                    <a:pt x="6333194" y="757554"/>
                  </a:cubicBezTo>
                  <a:cubicBezTo>
                    <a:pt x="6358723" y="762318"/>
                    <a:pt x="6383869" y="770129"/>
                    <a:pt x="6409586" y="773177"/>
                  </a:cubicBezTo>
                  <a:cubicBezTo>
                    <a:pt x="6431875" y="775843"/>
                    <a:pt x="6454928" y="772224"/>
                    <a:pt x="6477407" y="774129"/>
                  </a:cubicBezTo>
                  <a:cubicBezTo>
                    <a:pt x="6517032" y="777367"/>
                    <a:pt x="6556657" y="783083"/>
                    <a:pt x="6596283" y="786703"/>
                  </a:cubicBezTo>
                  <a:cubicBezTo>
                    <a:pt x="6604857" y="787465"/>
                    <a:pt x="6613809" y="782701"/>
                    <a:pt x="6622573" y="782321"/>
                  </a:cubicBezTo>
                  <a:cubicBezTo>
                    <a:pt x="6650006" y="781369"/>
                    <a:pt x="6677439" y="781177"/>
                    <a:pt x="6704872" y="780607"/>
                  </a:cubicBezTo>
                  <a:cubicBezTo>
                    <a:pt x="6720493" y="780415"/>
                    <a:pt x="6736305" y="780987"/>
                    <a:pt x="6751738" y="779273"/>
                  </a:cubicBezTo>
                  <a:cubicBezTo>
                    <a:pt x="6772120" y="776987"/>
                    <a:pt x="6790599" y="773557"/>
                    <a:pt x="6809650" y="788417"/>
                  </a:cubicBezTo>
                  <a:cubicBezTo>
                    <a:pt x="6816984" y="794180"/>
                    <a:pt x="6824819" y="797942"/>
                    <a:pt x="6832976" y="800428"/>
                  </a:cubicBezTo>
                  <a:close/>
                </a:path>
              </a:pathLst>
            </a:custGeom>
            <a:blipFill dpi="0" rotWithShape="1">
              <a:blip r:embed="rId6">
                <a:alphaModFix amt="57000"/>
              </a:blip>
              <a:srcRect/>
              <a:tile tx="0" ty="0" sx="100000" sy="100000" flip="none" algn="tl"/>
            </a:blip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anchor="ctr">
              <a:noAutofit/>
            </a:bodyPr>
            <a:lstStyle/>
            <a:p>
              <a:pPr algn="ctr"/>
              <a:endParaRPr lang="en-US"/>
            </a:p>
          </p:txBody>
        </p:sp>
      </p:grpSp>
      <p:sp>
        <p:nvSpPr>
          <p:cNvPr id="12" name="TextBox 11">
            <a:extLst>
              <a:ext uri="{FF2B5EF4-FFF2-40B4-BE49-F238E27FC236}">
                <a16:creationId xmlns:a16="http://schemas.microsoft.com/office/drawing/2014/main" id="{AE2F0DBD-B417-1DF3-FBD8-9734F3E61429}"/>
              </a:ext>
            </a:extLst>
          </p:cNvPr>
          <p:cNvSpPr txBox="1"/>
          <p:nvPr/>
        </p:nvSpPr>
        <p:spPr>
          <a:xfrm>
            <a:off x="5299113" y="2325493"/>
            <a:ext cx="6510969" cy="3535479"/>
          </a:xfrm>
          <a:prstGeom prst="rect">
            <a:avLst/>
          </a:prstGeom>
        </p:spPr>
        <p:txBody>
          <a:bodyPr vert="horz" lIns="91440" tIns="45720" rIns="91440" bIns="45720">
            <a:normAutofit/>
          </a:bodyPr>
          <a:lstStyle/>
          <a:p>
            <a:pPr marL="171450" indent="-171450" algn="just">
              <a:lnSpc>
                <a:spcPct val="90000"/>
              </a:lnSpc>
              <a:spcAft>
                <a:spcPts val="600"/>
              </a:spcAft>
              <a:buFont typeface="Arial" panose="020B0604020202020204" pitchFamily="34" charset="0"/>
              <a:buChar char="•"/>
              <a:defRPr sz="1100">
                <a:solidFill>
                  <a:schemeClr val="bg1">
                    <a:alpha val="80000"/>
                  </a:schemeClr>
                </a:solidFill>
              </a:defRPr>
            </a:pPr>
            <a:r>
              <a:rPr dirty="0" err="1"/>
              <a:t>Bisiklet</a:t>
            </a:r>
            <a:r>
              <a:rPr dirty="0"/>
              <a:t> </a:t>
            </a:r>
            <a:r>
              <a:rPr dirty="0" err="1"/>
              <a:t>şeritleri</a:t>
            </a:r>
            <a:r>
              <a:rPr dirty="0"/>
              <a:t> </a:t>
            </a:r>
            <a:r>
              <a:rPr dirty="0" err="1"/>
              <a:t>ve</a:t>
            </a:r>
            <a:r>
              <a:rPr dirty="0"/>
              <a:t> </a:t>
            </a:r>
            <a:r>
              <a:rPr dirty="0" err="1"/>
              <a:t>şarj</a:t>
            </a:r>
            <a:r>
              <a:rPr dirty="0"/>
              <a:t> </a:t>
            </a:r>
            <a:r>
              <a:rPr dirty="0" err="1"/>
              <a:t>istasyonları</a:t>
            </a:r>
            <a:r>
              <a:rPr dirty="0"/>
              <a:t> </a:t>
            </a:r>
            <a:r>
              <a:rPr dirty="0" err="1"/>
              <a:t>gibi</a:t>
            </a:r>
            <a:r>
              <a:rPr dirty="0"/>
              <a:t> </a:t>
            </a:r>
            <a:r>
              <a:rPr dirty="0" err="1"/>
              <a:t>yetersiz</a:t>
            </a:r>
            <a:r>
              <a:rPr dirty="0"/>
              <a:t> </a:t>
            </a:r>
            <a:r>
              <a:rPr dirty="0" err="1"/>
              <a:t>altyapı</a:t>
            </a:r>
            <a:r>
              <a:rPr dirty="0"/>
              <a:t> </a:t>
            </a:r>
            <a:r>
              <a:rPr dirty="0" err="1"/>
              <a:t>paylaşımlı</a:t>
            </a:r>
            <a:r>
              <a:rPr dirty="0"/>
              <a:t> </a:t>
            </a:r>
            <a:r>
              <a:rPr dirty="0" err="1"/>
              <a:t>hareketlilik</a:t>
            </a:r>
            <a:r>
              <a:rPr dirty="0"/>
              <a:t> </a:t>
            </a:r>
            <a:r>
              <a:rPr dirty="0" err="1"/>
              <a:t>hizmetlerinin</a:t>
            </a:r>
            <a:r>
              <a:rPr dirty="0"/>
              <a:t> </a:t>
            </a:r>
            <a:r>
              <a:rPr dirty="0" err="1"/>
              <a:t>kullanılabilirliğini</a:t>
            </a:r>
            <a:r>
              <a:rPr dirty="0"/>
              <a:t> </a:t>
            </a:r>
            <a:r>
              <a:rPr dirty="0" err="1"/>
              <a:t>ve</a:t>
            </a:r>
            <a:r>
              <a:rPr dirty="0"/>
              <a:t> </a:t>
            </a:r>
            <a:r>
              <a:rPr dirty="0" err="1"/>
              <a:t>kullanımını</a:t>
            </a:r>
            <a:r>
              <a:rPr dirty="0"/>
              <a:t> </a:t>
            </a:r>
            <a:r>
              <a:rPr dirty="0" err="1"/>
              <a:t>sınırlayabilir</a:t>
            </a:r>
            <a:r>
              <a:rPr dirty="0"/>
              <a:t>.</a:t>
            </a:r>
          </a:p>
          <a:p>
            <a:pPr marL="171450" indent="-171450" algn="just">
              <a:lnSpc>
                <a:spcPct val="90000"/>
              </a:lnSpc>
              <a:spcAft>
                <a:spcPts val="600"/>
              </a:spcAft>
              <a:buFont typeface="Arial" panose="020B0604020202020204" pitchFamily="34" charset="0"/>
              <a:buChar char="•"/>
              <a:defRPr sz="1100">
                <a:solidFill>
                  <a:schemeClr val="bg1">
                    <a:alpha val="80000"/>
                  </a:schemeClr>
                </a:solidFill>
              </a:defRPr>
            </a:pPr>
            <a:r>
              <a:rPr dirty="0" err="1"/>
              <a:t>Güvenlik</a:t>
            </a:r>
            <a:r>
              <a:rPr dirty="0"/>
              <a:t> </a:t>
            </a:r>
            <a:r>
              <a:rPr dirty="0" err="1"/>
              <a:t>endişeleri</a:t>
            </a:r>
            <a:r>
              <a:rPr dirty="0"/>
              <a:t>, </a:t>
            </a:r>
            <a:r>
              <a:rPr dirty="0" err="1"/>
              <a:t>özellikle</a:t>
            </a:r>
            <a:r>
              <a:rPr dirty="0"/>
              <a:t> </a:t>
            </a:r>
            <a:r>
              <a:rPr dirty="0" err="1"/>
              <a:t>kask</a:t>
            </a:r>
            <a:r>
              <a:rPr dirty="0"/>
              <a:t> </a:t>
            </a:r>
            <a:r>
              <a:rPr dirty="0" err="1"/>
              <a:t>kullanımı</a:t>
            </a:r>
            <a:r>
              <a:rPr dirty="0"/>
              <a:t> </a:t>
            </a:r>
            <a:r>
              <a:rPr dirty="0" err="1"/>
              <a:t>ve</a:t>
            </a:r>
            <a:r>
              <a:rPr dirty="0"/>
              <a:t> </a:t>
            </a:r>
            <a:r>
              <a:rPr dirty="0" err="1"/>
              <a:t>yolcu</a:t>
            </a:r>
            <a:r>
              <a:rPr dirty="0"/>
              <a:t> </a:t>
            </a:r>
            <a:r>
              <a:rPr dirty="0" err="1"/>
              <a:t>davranışları</a:t>
            </a:r>
            <a:r>
              <a:rPr dirty="0"/>
              <a:t>, </a:t>
            </a:r>
            <a:r>
              <a:rPr dirty="0" err="1"/>
              <a:t>bisiklet</a:t>
            </a:r>
            <a:r>
              <a:rPr dirty="0"/>
              <a:t> </a:t>
            </a:r>
            <a:r>
              <a:rPr dirty="0" err="1"/>
              <a:t>ve</a:t>
            </a:r>
            <a:r>
              <a:rPr dirty="0"/>
              <a:t> scooter </a:t>
            </a:r>
            <a:r>
              <a:rPr dirty="0" err="1"/>
              <a:t>paylaşım</a:t>
            </a:r>
            <a:r>
              <a:rPr dirty="0"/>
              <a:t> </a:t>
            </a:r>
            <a:r>
              <a:rPr dirty="0" err="1"/>
              <a:t>hizmetlerinin</a:t>
            </a:r>
            <a:r>
              <a:rPr dirty="0"/>
              <a:t> </a:t>
            </a:r>
            <a:r>
              <a:rPr dirty="0" err="1"/>
              <a:t>karşısında</a:t>
            </a:r>
            <a:r>
              <a:rPr dirty="0"/>
              <a:t> </a:t>
            </a:r>
            <a:r>
              <a:rPr dirty="0" err="1"/>
              <a:t>bir</a:t>
            </a:r>
            <a:r>
              <a:rPr dirty="0"/>
              <a:t> </a:t>
            </a:r>
            <a:r>
              <a:rPr dirty="0" err="1"/>
              <a:t>zorluk</a:t>
            </a:r>
            <a:r>
              <a:rPr dirty="0"/>
              <a:t> </a:t>
            </a:r>
            <a:r>
              <a:rPr dirty="0" err="1"/>
              <a:t>teşkil</a:t>
            </a:r>
            <a:r>
              <a:rPr dirty="0"/>
              <a:t> </a:t>
            </a:r>
            <a:r>
              <a:rPr dirty="0" err="1"/>
              <a:t>edebilir</a:t>
            </a:r>
            <a:r>
              <a:rPr dirty="0"/>
              <a:t>.</a:t>
            </a:r>
          </a:p>
          <a:p>
            <a:pPr marL="171450" indent="-171450" algn="just">
              <a:lnSpc>
                <a:spcPct val="90000"/>
              </a:lnSpc>
              <a:spcAft>
                <a:spcPts val="600"/>
              </a:spcAft>
              <a:buFont typeface="Arial" panose="020B0604020202020204" pitchFamily="34" charset="0"/>
              <a:buChar char="•"/>
              <a:defRPr sz="1100">
                <a:solidFill>
                  <a:schemeClr val="bg1">
                    <a:alpha val="80000"/>
                  </a:schemeClr>
                </a:solidFill>
              </a:defRPr>
            </a:pPr>
            <a:r>
              <a:rPr dirty="0" err="1"/>
              <a:t>Lisanslama</a:t>
            </a:r>
            <a:r>
              <a:rPr dirty="0"/>
              <a:t> </a:t>
            </a:r>
            <a:r>
              <a:rPr dirty="0" err="1"/>
              <a:t>ve</a:t>
            </a:r>
            <a:r>
              <a:rPr dirty="0"/>
              <a:t> </a:t>
            </a:r>
            <a:r>
              <a:rPr dirty="0" err="1"/>
              <a:t>sigorta</a:t>
            </a:r>
            <a:r>
              <a:rPr dirty="0"/>
              <a:t> </a:t>
            </a:r>
            <a:r>
              <a:rPr dirty="0" err="1"/>
              <a:t>gereklilikleri</a:t>
            </a:r>
            <a:r>
              <a:rPr dirty="0"/>
              <a:t> </a:t>
            </a:r>
            <a:r>
              <a:rPr dirty="0" err="1"/>
              <a:t>gibi</a:t>
            </a:r>
            <a:r>
              <a:rPr dirty="0"/>
              <a:t> </a:t>
            </a:r>
            <a:r>
              <a:rPr dirty="0" err="1"/>
              <a:t>yasal</a:t>
            </a:r>
            <a:r>
              <a:rPr dirty="0"/>
              <a:t> </a:t>
            </a:r>
            <a:r>
              <a:rPr dirty="0" err="1"/>
              <a:t>zorluklar</a:t>
            </a:r>
            <a:r>
              <a:rPr dirty="0"/>
              <a:t>, </a:t>
            </a:r>
            <a:r>
              <a:rPr dirty="0" err="1"/>
              <a:t>paylaşımlı</a:t>
            </a:r>
            <a:r>
              <a:rPr dirty="0"/>
              <a:t> </a:t>
            </a:r>
            <a:r>
              <a:rPr dirty="0" err="1"/>
              <a:t>hareketlilik</a:t>
            </a:r>
            <a:r>
              <a:rPr dirty="0"/>
              <a:t> </a:t>
            </a:r>
            <a:r>
              <a:rPr dirty="0" err="1"/>
              <a:t>hizmet</a:t>
            </a:r>
            <a:r>
              <a:rPr dirty="0"/>
              <a:t> </a:t>
            </a:r>
            <a:r>
              <a:rPr dirty="0" err="1"/>
              <a:t>sağlayıcılarının</a:t>
            </a:r>
            <a:r>
              <a:rPr dirty="0"/>
              <a:t> </a:t>
            </a:r>
            <a:r>
              <a:rPr dirty="0" err="1"/>
              <a:t>girişi</a:t>
            </a:r>
            <a:r>
              <a:rPr dirty="0"/>
              <a:t> </a:t>
            </a:r>
            <a:r>
              <a:rPr dirty="0" err="1"/>
              <a:t>için</a:t>
            </a:r>
            <a:r>
              <a:rPr dirty="0"/>
              <a:t> </a:t>
            </a:r>
            <a:r>
              <a:rPr dirty="0" err="1"/>
              <a:t>bir</a:t>
            </a:r>
            <a:r>
              <a:rPr dirty="0"/>
              <a:t> </a:t>
            </a:r>
            <a:r>
              <a:rPr dirty="0" err="1"/>
              <a:t>engel</a:t>
            </a:r>
            <a:r>
              <a:rPr dirty="0"/>
              <a:t> </a:t>
            </a:r>
            <a:r>
              <a:rPr dirty="0" err="1"/>
              <a:t>teşkil</a:t>
            </a:r>
            <a:r>
              <a:rPr dirty="0"/>
              <a:t> </a:t>
            </a:r>
            <a:r>
              <a:rPr dirty="0" err="1"/>
              <a:t>edebilir</a:t>
            </a:r>
            <a:r>
              <a:rPr dirty="0"/>
              <a:t>.</a:t>
            </a:r>
          </a:p>
          <a:p>
            <a:pPr marL="171450" indent="-171450" algn="just">
              <a:lnSpc>
                <a:spcPct val="90000"/>
              </a:lnSpc>
              <a:spcAft>
                <a:spcPts val="600"/>
              </a:spcAft>
              <a:buFont typeface="Arial" panose="020B0604020202020204" pitchFamily="34" charset="0"/>
              <a:buChar char="•"/>
              <a:defRPr sz="1100">
                <a:solidFill>
                  <a:schemeClr val="bg1">
                    <a:alpha val="80000"/>
                  </a:schemeClr>
                </a:solidFill>
              </a:defRPr>
            </a:pPr>
            <a:r>
              <a:rPr dirty="0" err="1"/>
              <a:t>Aktif</a:t>
            </a:r>
            <a:r>
              <a:rPr dirty="0"/>
              <a:t> </a:t>
            </a:r>
            <a:r>
              <a:rPr dirty="0" err="1"/>
              <a:t>hareketlilik</a:t>
            </a:r>
            <a:r>
              <a:rPr dirty="0"/>
              <a:t> </a:t>
            </a:r>
            <a:r>
              <a:rPr dirty="0" err="1"/>
              <a:t>hizmetlerinden</a:t>
            </a:r>
            <a:r>
              <a:rPr dirty="0"/>
              <a:t> </a:t>
            </a:r>
            <a:r>
              <a:rPr dirty="0" err="1"/>
              <a:t>yararlanmak</a:t>
            </a:r>
            <a:r>
              <a:rPr dirty="0"/>
              <a:t> </a:t>
            </a:r>
            <a:r>
              <a:rPr dirty="0" err="1"/>
              <a:t>isteyen</a:t>
            </a:r>
            <a:r>
              <a:rPr dirty="0"/>
              <a:t> </a:t>
            </a:r>
            <a:r>
              <a:rPr dirty="0" err="1"/>
              <a:t>kullanıcılar</a:t>
            </a:r>
            <a:r>
              <a:rPr dirty="0"/>
              <a:t>, </a:t>
            </a:r>
            <a:r>
              <a:rPr dirty="0" err="1"/>
              <a:t>kolaylık</a:t>
            </a:r>
            <a:r>
              <a:rPr dirty="0"/>
              <a:t>, </a:t>
            </a:r>
            <a:r>
              <a:rPr dirty="0" err="1"/>
              <a:t>maliyet</a:t>
            </a:r>
            <a:r>
              <a:rPr dirty="0"/>
              <a:t> </a:t>
            </a:r>
            <a:r>
              <a:rPr dirty="0" err="1"/>
              <a:t>ve</a:t>
            </a:r>
            <a:r>
              <a:rPr dirty="0"/>
              <a:t> </a:t>
            </a:r>
            <a:r>
              <a:rPr dirty="0" err="1"/>
              <a:t>güvenilirlik</a:t>
            </a:r>
            <a:r>
              <a:rPr dirty="0"/>
              <a:t> </a:t>
            </a:r>
            <a:r>
              <a:rPr dirty="0" err="1"/>
              <a:t>gibi</a:t>
            </a:r>
            <a:r>
              <a:rPr dirty="0"/>
              <a:t> </a:t>
            </a:r>
            <a:r>
              <a:rPr dirty="0" err="1"/>
              <a:t>endişelerle</a:t>
            </a:r>
            <a:r>
              <a:rPr dirty="0"/>
              <a:t> </a:t>
            </a:r>
            <a:r>
              <a:rPr dirty="0" err="1"/>
              <a:t>yüzleştiğinde</a:t>
            </a:r>
            <a:r>
              <a:rPr dirty="0"/>
              <a:t>, </a:t>
            </a:r>
            <a:r>
              <a:rPr dirty="0" err="1"/>
              <a:t>paylaşılan</a:t>
            </a:r>
            <a:r>
              <a:rPr dirty="0"/>
              <a:t> </a:t>
            </a:r>
            <a:r>
              <a:rPr dirty="0" err="1"/>
              <a:t>mobilite</a:t>
            </a:r>
            <a:r>
              <a:rPr dirty="0"/>
              <a:t> </a:t>
            </a:r>
            <a:r>
              <a:rPr dirty="0" err="1"/>
              <a:t>hizmetlerine</a:t>
            </a:r>
            <a:r>
              <a:rPr dirty="0"/>
              <a:t> </a:t>
            </a:r>
            <a:r>
              <a:rPr dirty="0" err="1"/>
              <a:t>sıcak</a:t>
            </a:r>
            <a:r>
              <a:rPr dirty="0"/>
              <a:t> </a:t>
            </a:r>
            <a:r>
              <a:rPr dirty="0" err="1"/>
              <a:t>bakmayabilirler</a:t>
            </a:r>
            <a:r>
              <a:rPr dirty="0"/>
              <a:t>.</a:t>
            </a:r>
          </a:p>
          <a:p>
            <a:pPr marL="171450" indent="-171450" algn="just">
              <a:lnSpc>
                <a:spcPct val="90000"/>
              </a:lnSpc>
              <a:spcAft>
                <a:spcPts val="600"/>
              </a:spcAft>
              <a:buFont typeface="Arial" panose="020B0604020202020204" pitchFamily="34" charset="0"/>
              <a:buChar char="•"/>
              <a:defRPr sz="1100">
                <a:solidFill>
                  <a:schemeClr val="bg1">
                    <a:alpha val="80000"/>
                  </a:schemeClr>
                </a:solidFill>
              </a:defRPr>
            </a:pPr>
            <a:r>
              <a:rPr dirty="0" err="1"/>
              <a:t>Paylaşılan</a:t>
            </a:r>
            <a:r>
              <a:rPr dirty="0"/>
              <a:t> </a:t>
            </a:r>
            <a:r>
              <a:rPr dirty="0" err="1"/>
              <a:t>hareketlilik</a:t>
            </a:r>
            <a:r>
              <a:rPr dirty="0"/>
              <a:t> </a:t>
            </a:r>
            <a:r>
              <a:rPr dirty="0" err="1"/>
              <a:t>hizmetlerinde</a:t>
            </a:r>
            <a:r>
              <a:rPr dirty="0"/>
              <a:t> </a:t>
            </a:r>
            <a:r>
              <a:rPr dirty="0" err="1"/>
              <a:t>hizmet</a:t>
            </a:r>
            <a:r>
              <a:rPr dirty="0"/>
              <a:t> </a:t>
            </a:r>
            <a:r>
              <a:rPr dirty="0" err="1"/>
              <a:t>sağlayıcılar</a:t>
            </a:r>
            <a:r>
              <a:rPr dirty="0"/>
              <a:t>, </a:t>
            </a:r>
            <a:r>
              <a:rPr dirty="0" err="1"/>
              <a:t>kullanıcılar</a:t>
            </a:r>
            <a:r>
              <a:rPr dirty="0"/>
              <a:t> </a:t>
            </a:r>
            <a:r>
              <a:rPr dirty="0" err="1"/>
              <a:t>ve</a:t>
            </a:r>
            <a:r>
              <a:rPr dirty="0"/>
              <a:t> </a:t>
            </a:r>
            <a:r>
              <a:rPr dirty="0" err="1"/>
              <a:t>yerel</a:t>
            </a:r>
            <a:r>
              <a:rPr dirty="0"/>
              <a:t> </a:t>
            </a:r>
            <a:r>
              <a:rPr dirty="0" err="1"/>
              <a:t>halkın</a:t>
            </a:r>
            <a:r>
              <a:rPr dirty="0"/>
              <a:t> </a:t>
            </a:r>
            <a:r>
              <a:rPr dirty="0" err="1"/>
              <a:t>ihtiyaçlarını</a:t>
            </a:r>
            <a:r>
              <a:rPr dirty="0"/>
              <a:t> </a:t>
            </a:r>
            <a:r>
              <a:rPr dirty="0" err="1"/>
              <a:t>dengelemek</a:t>
            </a:r>
            <a:r>
              <a:rPr dirty="0"/>
              <a:t> </a:t>
            </a:r>
            <a:r>
              <a:rPr dirty="0" err="1"/>
              <a:t>karmaşık</a:t>
            </a:r>
            <a:r>
              <a:rPr dirty="0"/>
              <a:t> </a:t>
            </a:r>
            <a:r>
              <a:rPr dirty="0" err="1"/>
              <a:t>bir</a:t>
            </a:r>
            <a:r>
              <a:rPr dirty="0"/>
              <a:t> </a:t>
            </a:r>
            <a:r>
              <a:rPr dirty="0" err="1"/>
              <a:t>denklem</a:t>
            </a:r>
            <a:r>
              <a:rPr dirty="0"/>
              <a:t> </a:t>
            </a:r>
            <a:r>
              <a:rPr dirty="0" err="1"/>
              <a:t>olabilir</a:t>
            </a:r>
            <a:r>
              <a:rPr dirty="0"/>
              <a:t>.</a:t>
            </a:r>
          </a:p>
          <a:p>
            <a:pPr marL="171450" indent="-171450" algn="just">
              <a:lnSpc>
                <a:spcPct val="90000"/>
              </a:lnSpc>
              <a:spcAft>
                <a:spcPts val="600"/>
              </a:spcAft>
              <a:buFont typeface="Arial" panose="020B0604020202020204" pitchFamily="34" charset="0"/>
              <a:buChar char="•"/>
              <a:defRPr sz="1100">
                <a:solidFill>
                  <a:schemeClr val="bg1">
                    <a:alpha val="80000"/>
                  </a:schemeClr>
                </a:solidFill>
              </a:defRPr>
            </a:pPr>
            <a:r>
              <a:rPr dirty="0" err="1"/>
              <a:t>Paylaşımlı</a:t>
            </a:r>
            <a:r>
              <a:rPr dirty="0"/>
              <a:t> </a:t>
            </a:r>
            <a:r>
              <a:rPr dirty="0" err="1"/>
              <a:t>mobilite</a:t>
            </a:r>
            <a:r>
              <a:rPr dirty="0"/>
              <a:t> </a:t>
            </a:r>
            <a:r>
              <a:rPr dirty="0" err="1"/>
              <a:t>hizmetlerinin</a:t>
            </a:r>
            <a:r>
              <a:rPr dirty="0"/>
              <a:t> </a:t>
            </a:r>
            <a:r>
              <a:rPr lang="tr-TR" dirty="0"/>
              <a:t>şehir içi</a:t>
            </a:r>
            <a:r>
              <a:rPr dirty="0"/>
              <a:t> </a:t>
            </a:r>
            <a:r>
              <a:rPr dirty="0" err="1"/>
              <a:t>ulaşım</a:t>
            </a:r>
            <a:r>
              <a:rPr dirty="0"/>
              <a:t> </a:t>
            </a:r>
            <a:r>
              <a:rPr dirty="0" err="1"/>
              <a:t>sistemleriyle</a:t>
            </a:r>
            <a:r>
              <a:rPr dirty="0"/>
              <a:t> </a:t>
            </a:r>
            <a:r>
              <a:rPr dirty="0" err="1"/>
              <a:t>entegrasyonu</a:t>
            </a:r>
            <a:r>
              <a:rPr dirty="0"/>
              <a:t>, </a:t>
            </a:r>
            <a:r>
              <a:rPr dirty="0" err="1"/>
              <a:t>gelişmiş</a:t>
            </a:r>
            <a:r>
              <a:rPr dirty="0"/>
              <a:t> </a:t>
            </a:r>
            <a:r>
              <a:rPr dirty="0" err="1"/>
              <a:t>veri</a:t>
            </a:r>
            <a:r>
              <a:rPr dirty="0"/>
              <a:t> </a:t>
            </a:r>
            <a:r>
              <a:rPr dirty="0" err="1"/>
              <a:t>paylaşımı</a:t>
            </a:r>
            <a:r>
              <a:rPr dirty="0"/>
              <a:t> </a:t>
            </a:r>
            <a:r>
              <a:rPr dirty="0" err="1"/>
              <a:t>ve</a:t>
            </a:r>
            <a:r>
              <a:rPr dirty="0"/>
              <a:t> </a:t>
            </a:r>
            <a:r>
              <a:rPr dirty="0" err="1"/>
              <a:t>entegrasyon</a:t>
            </a:r>
            <a:r>
              <a:rPr dirty="0"/>
              <a:t> </a:t>
            </a:r>
            <a:r>
              <a:rPr dirty="0" err="1"/>
              <a:t>teknolojilerinin</a:t>
            </a:r>
            <a:r>
              <a:rPr dirty="0"/>
              <a:t> </a:t>
            </a:r>
            <a:r>
              <a:rPr dirty="0" err="1"/>
              <a:t>kullanılmasını</a:t>
            </a:r>
            <a:r>
              <a:rPr dirty="0"/>
              <a:t> </a:t>
            </a:r>
            <a:r>
              <a:rPr dirty="0" err="1"/>
              <a:t>gerektirebilir</a:t>
            </a:r>
            <a:r>
              <a:rPr dirty="0"/>
              <a:t>.</a:t>
            </a:r>
          </a:p>
          <a:p>
            <a:pPr marL="171450" indent="-171450" algn="just">
              <a:lnSpc>
                <a:spcPct val="90000"/>
              </a:lnSpc>
              <a:spcAft>
                <a:spcPts val="600"/>
              </a:spcAft>
              <a:buFont typeface="Arial" panose="020B0604020202020204" pitchFamily="34" charset="0"/>
              <a:buChar char="•"/>
              <a:defRPr sz="1100">
                <a:solidFill>
                  <a:schemeClr val="bg1">
                    <a:alpha val="80000"/>
                  </a:schemeClr>
                </a:solidFill>
              </a:defRPr>
            </a:pPr>
            <a:r>
              <a:rPr dirty="0" err="1"/>
              <a:t>Paylaşımlı</a:t>
            </a:r>
            <a:r>
              <a:rPr dirty="0"/>
              <a:t> </a:t>
            </a:r>
            <a:r>
              <a:rPr dirty="0" err="1"/>
              <a:t>mobilite</a:t>
            </a:r>
            <a:r>
              <a:rPr dirty="0"/>
              <a:t> </a:t>
            </a:r>
            <a:r>
              <a:rPr dirty="0" err="1"/>
              <a:t>hizmetleri</a:t>
            </a:r>
            <a:r>
              <a:rPr dirty="0"/>
              <a:t> </a:t>
            </a:r>
            <a:r>
              <a:rPr dirty="0" err="1"/>
              <a:t>tarafından</a:t>
            </a:r>
            <a:r>
              <a:rPr dirty="0"/>
              <a:t> </a:t>
            </a:r>
            <a:r>
              <a:rPr dirty="0" err="1"/>
              <a:t>üretilen</a:t>
            </a:r>
            <a:r>
              <a:rPr dirty="0"/>
              <a:t> </a:t>
            </a:r>
            <a:r>
              <a:rPr dirty="0" err="1"/>
              <a:t>büyük</a:t>
            </a:r>
            <a:r>
              <a:rPr dirty="0"/>
              <a:t> </a:t>
            </a:r>
            <a:r>
              <a:rPr dirty="0" err="1"/>
              <a:t>miktarda</a:t>
            </a:r>
            <a:r>
              <a:rPr dirty="0"/>
              <a:t> </a:t>
            </a:r>
            <a:r>
              <a:rPr dirty="0" err="1"/>
              <a:t>kullanıcı</a:t>
            </a:r>
            <a:r>
              <a:rPr dirty="0"/>
              <a:t> </a:t>
            </a:r>
            <a:r>
              <a:rPr dirty="0" err="1"/>
              <a:t>verisinin</a:t>
            </a:r>
            <a:r>
              <a:rPr dirty="0"/>
              <a:t> </a:t>
            </a:r>
            <a:r>
              <a:rPr dirty="0" err="1"/>
              <a:t>toplanması</a:t>
            </a:r>
            <a:r>
              <a:rPr dirty="0"/>
              <a:t>, </a:t>
            </a:r>
            <a:r>
              <a:rPr dirty="0" err="1"/>
              <a:t>yönetilmesi</a:t>
            </a:r>
            <a:r>
              <a:rPr dirty="0"/>
              <a:t> </a:t>
            </a:r>
            <a:r>
              <a:rPr dirty="0" err="1"/>
              <a:t>ve</a:t>
            </a:r>
            <a:r>
              <a:rPr dirty="0"/>
              <a:t> </a:t>
            </a:r>
            <a:r>
              <a:rPr dirty="0" err="1"/>
              <a:t>analiz</a:t>
            </a:r>
            <a:r>
              <a:rPr dirty="0"/>
              <a:t> </a:t>
            </a:r>
            <a:r>
              <a:rPr dirty="0" err="1"/>
              <a:t>edilmesi</a:t>
            </a:r>
            <a:r>
              <a:rPr dirty="0"/>
              <a:t>, </a:t>
            </a:r>
            <a:r>
              <a:rPr dirty="0" err="1"/>
              <a:t>gizlilik</a:t>
            </a:r>
            <a:r>
              <a:rPr dirty="0"/>
              <a:t> </a:t>
            </a:r>
            <a:r>
              <a:rPr dirty="0" err="1"/>
              <a:t>ve</a:t>
            </a:r>
            <a:r>
              <a:rPr dirty="0"/>
              <a:t> </a:t>
            </a:r>
            <a:r>
              <a:rPr dirty="0" err="1"/>
              <a:t>güvenlik</a:t>
            </a:r>
            <a:r>
              <a:rPr dirty="0"/>
              <a:t> </a:t>
            </a:r>
            <a:r>
              <a:rPr dirty="0" err="1"/>
              <a:t>endişelerini</a:t>
            </a:r>
            <a:r>
              <a:rPr dirty="0"/>
              <a:t> </a:t>
            </a:r>
            <a:r>
              <a:rPr dirty="0" err="1"/>
              <a:t>artırabilir</a:t>
            </a:r>
            <a:r>
              <a:rPr dirty="0"/>
              <a:t>.</a:t>
            </a:r>
          </a:p>
          <a:p>
            <a:pPr marL="171450" indent="-171450" algn="just">
              <a:lnSpc>
                <a:spcPct val="90000"/>
              </a:lnSpc>
              <a:spcAft>
                <a:spcPts val="600"/>
              </a:spcAft>
              <a:buFont typeface="Arial" panose="020B0604020202020204" pitchFamily="34" charset="0"/>
              <a:buChar char="•"/>
              <a:defRPr sz="1100">
                <a:solidFill>
                  <a:schemeClr val="bg1">
                    <a:alpha val="80000"/>
                  </a:schemeClr>
                </a:solidFill>
              </a:defRPr>
            </a:pPr>
            <a:r>
              <a:rPr dirty="0" err="1"/>
              <a:t>Özellikle</a:t>
            </a:r>
            <a:r>
              <a:rPr dirty="0"/>
              <a:t> </a:t>
            </a:r>
            <a:r>
              <a:rPr dirty="0" err="1"/>
              <a:t>motorlu</a:t>
            </a:r>
            <a:r>
              <a:rPr dirty="0"/>
              <a:t> </a:t>
            </a:r>
            <a:r>
              <a:rPr dirty="0" err="1"/>
              <a:t>araçlarla</a:t>
            </a:r>
            <a:r>
              <a:rPr dirty="0"/>
              <a:t> </a:t>
            </a:r>
            <a:r>
              <a:rPr dirty="0" err="1"/>
              <a:t>sağlanan</a:t>
            </a:r>
            <a:r>
              <a:rPr dirty="0"/>
              <a:t> </a:t>
            </a:r>
            <a:r>
              <a:rPr dirty="0" err="1"/>
              <a:t>paylaşımlı</a:t>
            </a:r>
            <a:r>
              <a:rPr dirty="0"/>
              <a:t> </a:t>
            </a:r>
            <a:r>
              <a:rPr dirty="0" err="1"/>
              <a:t>hareketlilik</a:t>
            </a:r>
            <a:r>
              <a:rPr dirty="0"/>
              <a:t> </a:t>
            </a:r>
            <a:r>
              <a:rPr dirty="0" err="1"/>
              <a:t>hizmetlerinin</a:t>
            </a:r>
            <a:r>
              <a:rPr dirty="0"/>
              <a:t> </a:t>
            </a:r>
            <a:r>
              <a:rPr dirty="0" err="1"/>
              <a:t>sürdürülebilirliği</a:t>
            </a:r>
            <a:r>
              <a:rPr dirty="0"/>
              <a:t>, </a:t>
            </a:r>
            <a:r>
              <a:rPr dirty="0" err="1"/>
              <a:t>gaz</a:t>
            </a:r>
            <a:r>
              <a:rPr dirty="0"/>
              <a:t> </a:t>
            </a:r>
            <a:r>
              <a:rPr dirty="0" err="1"/>
              <a:t>emisyonları</a:t>
            </a:r>
            <a:r>
              <a:rPr dirty="0"/>
              <a:t> </a:t>
            </a:r>
            <a:r>
              <a:rPr dirty="0" err="1"/>
              <a:t>ve</a:t>
            </a:r>
            <a:r>
              <a:rPr dirty="0"/>
              <a:t> </a:t>
            </a:r>
            <a:r>
              <a:rPr dirty="0" err="1"/>
              <a:t>enerji</a:t>
            </a:r>
            <a:r>
              <a:rPr dirty="0"/>
              <a:t> </a:t>
            </a:r>
            <a:r>
              <a:rPr dirty="0" err="1"/>
              <a:t>tüketimi</a:t>
            </a:r>
            <a:r>
              <a:rPr dirty="0"/>
              <a:t> </a:t>
            </a:r>
            <a:r>
              <a:rPr dirty="0" err="1"/>
              <a:t>konusundaki</a:t>
            </a:r>
            <a:r>
              <a:rPr dirty="0"/>
              <a:t> </a:t>
            </a:r>
            <a:r>
              <a:rPr dirty="0" err="1"/>
              <a:t>endişeler</a:t>
            </a:r>
            <a:r>
              <a:rPr dirty="0"/>
              <a:t> </a:t>
            </a:r>
            <a:r>
              <a:rPr dirty="0" err="1"/>
              <a:t>nedeniyle</a:t>
            </a:r>
            <a:r>
              <a:rPr dirty="0"/>
              <a:t> </a:t>
            </a:r>
            <a:r>
              <a:rPr dirty="0" err="1"/>
              <a:t>zorlaşabilir</a:t>
            </a:r>
            <a:r>
              <a:rPr dirty="0"/>
              <a:t>.</a:t>
            </a:r>
          </a:p>
          <a:p>
            <a:pPr marL="171450" indent="-171450" algn="just">
              <a:lnSpc>
                <a:spcPct val="90000"/>
              </a:lnSpc>
              <a:spcAft>
                <a:spcPts val="600"/>
              </a:spcAft>
              <a:buFont typeface="Arial" panose="020B0604020202020204" pitchFamily="34" charset="0"/>
              <a:buChar char="•"/>
              <a:defRPr sz="1100">
                <a:solidFill>
                  <a:schemeClr val="bg1">
                    <a:alpha val="80000"/>
                  </a:schemeClr>
                </a:solidFill>
              </a:defRPr>
            </a:pPr>
            <a:r>
              <a:rPr dirty="0" err="1"/>
              <a:t>Düşük</a:t>
            </a:r>
            <a:r>
              <a:rPr dirty="0"/>
              <a:t> </a:t>
            </a:r>
            <a:r>
              <a:rPr dirty="0" err="1"/>
              <a:t>gelirli</a:t>
            </a:r>
            <a:r>
              <a:rPr dirty="0"/>
              <a:t> </a:t>
            </a:r>
            <a:r>
              <a:rPr dirty="0" err="1"/>
              <a:t>ve</a:t>
            </a:r>
            <a:r>
              <a:rPr dirty="0"/>
              <a:t> </a:t>
            </a:r>
            <a:r>
              <a:rPr dirty="0" err="1"/>
              <a:t>marjinalleşmiş</a:t>
            </a:r>
            <a:r>
              <a:rPr dirty="0"/>
              <a:t> </a:t>
            </a:r>
            <a:r>
              <a:rPr dirty="0" err="1"/>
              <a:t>toplulukların</a:t>
            </a:r>
            <a:r>
              <a:rPr dirty="0"/>
              <a:t> </a:t>
            </a:r>
            <a:r>
              <a:rPr dirty="0" err="1"/>
              <a:t>paylaşımlı</a:t>
            </a:r>
            <a:r>
              <a:rPr dirty="0"/>
              <a:t> </a:t>
            </a:r>
            <a:r>
              <a:rPr dirty="0" err="1"/>
              <a:t>mobilite</a:t>
            </a:r>
            <a:r>
              <a:rPr dirty="0"/>
              <a:t> </a:t>
            </a:r>
            <a:r>
              <a:rPr dirty="0" err="1"/>
              <a:t>hizmetlerine</a:t>
            </a:r>
            <a:r>
              <a:rPr dirty="0"/>
              <a:t> </a:t>
            </a:r>
            <a:r>
              <a:rPr dirty="0" err="1"/>
              <a:t>adil</a:t>
            </a:r>
            <a:r>
              <a:rPr dirty="0"/>
              <a:t> </a:t>
            </a:r>
            <a:r>
              <a:rPr dirty="0" err="1"/>
              <a:t>erişimi</a:t>
            </a:r>
            <a:r>
              <a:rPr dirty="0"/>
              <a:t>, </a:t>
            </a:r>
            <a:r>
              <a:rPr dirty="0" err="1"/>
              <a:t>karşılanabilirlik</a:t>
            </a:r>
            <a:r>
              <a:rPr dirty="0"/>
              <a:t>, </a:t>
            </a:r>
            <a:r>
              <a:rPr dirty="0" err="1"/>
              <a:t>erişilebilirlik</a:t>
            </a:r>
            <a:r>
              <a:rPr dirty="0"/>
              <a:t> </a:t>
            </a:r>
            <a:r>
              <a:rPr dirty="0" err="1"/>
              <a:t>ve</a:t>
            </a:r>
            <a:r>
              <a:rPr dirty="0"/>
              <a:t> </a:t>
            </a:r>
            <a:r>
              <a:rPr dirty="0" err="1"/>
              <a:t>diğer</a:t>
            </a:r>
            <a:r>
              <a:rPr dirty="0"/>
              <a:t> </a:t>
            </a:r>
            <a:r>
              <a:rPr dirty="0" err="1"/>
              <a:t>engellerle</a:t>
            </a:r>
            <a:r>
              <a:rPr dirty="0"/>
              <a:t> </a:t>
            </a:r>
            <a:r>
              <a:rPr dirty="0" err="1"/>
              <a:t>karşılaşabilir</a:t>
            </a:r>
            <a:r>
              <a:rPr dirty="0"/>
              <a:t>.</a:t>
            </a:r>
          </a:p>
        </p:txBody>
      </p:sp>
    </p:spTree>
    <p:extLst>
      <p:ext uri="{BB962C8B-B14F-4D97-AF65-F5344CB8AC3E}">
        <p14:creationId xmlns:p14="http://schemas.microsoft.com/office/powerpoint/2010/main" val="18860483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ekstniOkvir 3">
            <a:extLst>
              <a:ext uri="{FF2B5EF4-FFF2-40B4-BE49-F238E27FC236}">
                <a16:creationId xmlns:a16="http://schemas.microsoft.com/office/drawing/2014/main" id="{5DED7F4D-3234-4574-EEDF-09BF7A0A8E91}"/>
              </a:ext>
            </a:extLst>
          </p:cNvPr>
          <p:cNvSpPr txBox="1"/>
          <p:nvPr/>
        </p:nvSpPr>
        <p:spPr>
          <a:xfrm>
            <a:off x="-504899" y="1486886"/>
            <a:ext cx="6129102" cy="584775"/>
          </a:xfrm>
          <a:prstGeom prst="rect">
            <a:avLst/>
          </a:prstGeom>
          <a:noFill/>
        </p:spPr>
        <p:txBody>
          <a:bodyPr wrap="square">
            <a:spAutoFit/>
          </a:bodyPr>
          <a:lstStyle/>
          <a:p>
            <a:pPr algn="ctr">
              <a:defRPr sz="3200" b="1"/>
            </a:pPr>
            <a:r>
              <a:rPr dirty="0"/>
              <a:t>Ulaşım </a:t>
            </a:r>
            <a:r>
              <a:rPr dirty="0" err="1"/>
              <a:t>Planlama</a:t>
            </a:r>
            <a:r>
              <a:rPr dirty="0"/>
              <a:t> </a:t>
            </a:r>
            <a:r>
              <a:rPr dirty="0" err="1"/>
              <a:t>Süreci</a:t>
            </a:r>
            <a:endParaRPr lang="hr-HR" sz="3200" b="1" dirty="0">
              <a:ea typeface="MS Mincho" panose="02020609040205080304" pitchFamily="49" charset="-128"/>
              <a:cs typeface="Calibri" panose="020F0502020204030204" pitchFamily="34" charset="0"/>
            </a:endParaRPr>
          </a:p>
        </p:txBody>
      </p:sp>
      <p:sp>
        <p:nvSpPr>
          <p:cNvPr id="3" name="Rectangle 3">
            <a:extLst>
              <a:ext uri="{FF2B5EF4-FFF2-40B4-BE49-F238E27FC236}">
                <a16:creationId xmlns:a16="http://schemas.microsoft.com/office/drawing/2014/main" id="{8D203125-3DCE-A950-9CB6-13DE232AE4A1}"/>
              </a:ext>
            </a:extLst>
          </p:cNvPr>
          <p:cNvSpPr>
            <a:spLocks noChangeArrowheads="1"/>
          </p:cNvSpPr>
          <p:nvPr/>
        </p:nvSpPr>
        <p:spPr bwMode="auto">
          <a:xfrm>
            <a:off x="6201719" y="2648330"/>
            <a:ext cx="5676523" cy="2585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tabLst/>
              <a:defRPr altLang="en-US" sz="1800">
                <a:ln>
                  <a:noFill/>
                </a:ln>
                <a:solidFill>
                  <a:schemeClr val="tx1"/>
                </a:solidFill>
                <a:effectLst/>
              </a:defRPr>
            </a:pPr>
            <a:r>
              <a:rPr dirty="0" err="1"/>
              <a:t>Adım</a:t>
            </a:r>
            <a:r>
              <a:rPr dirty="0"/>
              <a:t> 4: </a:t>
            </a:r>
            <a:r>
              <a:rPr dirty="0" err="1"/>
              <a:t>Talep</a:t>
            </a:r>
            <a:r>
              <a:rPr dirty="0"/>
              <a:t> </a:t>
            </a:r>
            <a:r>
              <a:rPr dirty="0" err="1"/>
              <a:t>Yönetimi</a:t>
            </a:r>
            <a:r>
              <a:rPr dirty="0"/>
              <a:t> </a:t>
            </a:r>
            <a:r>
              <a:rPr dirty="0" err="1"/>
              <a:t>ve</a:t>
            </a:r>
            <a:r>
              <a:rPr dirty="0"/>
              <a:t> </a:t>
            </a:r>
            <a:r>
              <a:rPr dirty="0" err="1"/>
              <a:t>Seyahat</a:t>
            </a:r>
            <a:r>
              <a:rPr dirty="0"/>
              <a:t> </a:t>
            </a:r>
            <a:r>
              <a:rPr dirty="0" err="1"/>
              <a:t>Davranışı</a:t>
            </a:r>
            <a:r>
              <a:rPr dirty="0"/>
              <a:t>:</a:t>
            </a:r>
          </a:p>
          <a:p>
            <a:pPr marL="0" marR="0" lvl="0" indent="0" algn="just" defTabSz="914400" rtl="0" eaLnBrk="0" fontAlgn="base" latinLnBrk="0" hangingPunct="0">
              <a:lnSpc>
                <a:spcPct val="100000"/>
              </a:lnSpc>
              <a:spcBef>
                <a:spcPct val="0"/>
              </a:spcBef>
              <a:spcAft>
                <a:spcPct val="0"/>
              </a:spcAft>
              <a:buClrTx/>
              <a:buSzTx/>
              <a:buFontTx/>
              <a:buChar char="•"/>
              <a:tabLst/>
            </a:pPr>
            <a:endParaRPr kumimoji="0" lang="en-US" altLang="en-US" sz="1800" b="0" i="0" u="none" strike="noStrike" cap="none" normalizeH="0" baseline="0" dirty="0">
              <a:ln>
                <a:noFill/>
              </a:ln>
              <a:solidFill>
                <a:schemeClr val="tx1"/>
              </a:solidFill>
              <a:effectLst/>
            </a:endParaRPr>
          </a:p>
          <a:p>
            <a:pPr marL="285750" marR="0" lvl="0" indent="-285750" algn="just" defTabSz="914400" rtl="0" eaLnBrk="0" fontAlgn="base" latinLnBrk="0" hangingPunct="0">
              <a:lnSpc>
                <a:spcPct val="100000"/>
              </a:lnSpc>
              <a:spcBef>
                <a:spcPct val="0"/>
              </a:spcBef>
              <a:spcAft>
                <a:spcPct val="0"/>
              </a:spcAft>
              <a:buClrTx/>
              <a:buSzTx/>
              <a:buFont typeface="Arial" panose="020B0604020202020204" pitchFamily="34" charset="0"/>
              <a:buChar char="•"/>
              <a:tabLst/>
              <a:defRPr altLang="en-US" sz="1800">
                <a:ln>
                  <a:noFill/>
                </a:ln>
                <a:solidFill>
                  <a:schemeClr val="tx1"/>
                </a:solidFill>
                <a:effectLst/>
              </a:defRPr>
            </a:pPr>
            <a:r>
              <a:rPr dirty="0"/>
              <a:t>Özel </a:t>
            </a:r>
            <a:r>
              <a:rPr dirty="0" err="1"/>
              <a:t>araç</a:t>
            </a:r>
            <a:r>
              <a:rPr dirty="0"/>
              <a:t> </a:t>
            </a:r>
            <a:r>
              <a:rPr dirty="0" err="1"/>
              <a:t>kullanımını</a:t>
            </a:r>
            <a:r>
              <a:rPr dirty="0"/>
              <a:t> </a:t>
            </a:r>
            <a:r>
              <a:rPr dirty="0" err="1"/>
              <a:t>azaltmak</a:t>
            </a:r>
            <a:r>
              <a:rPr dirty="0"/>
              <a:t> </a:t>
            </a:r>
            <a:r>
              <a:rPr dirty="0" err="1"/>
              <a:t>ve</a:t>
            </a:r>
            <a:r>
              <a:rPr dirty="0"/>
              <a:t> </a:t>
            </a:r>
            <a:r>
              <a:rPr dirty="0" err="1"/>
              <a:t>sürdürülebilir</a:t>
            </a:r>
            <a:r>
              <a:rPr dirty="0"/>
              <a:t> </a:t>
            </a:r>
            <a:r>
              <a:rPr dirty="0" err="1"/>
              <a:t>ulaşım</a:t>
            </a:r>
            <a:r>
              <a:rPr dirty="0"/>
              <a:t> </a:t>
            </a:r>
            <a:r>
              <a:rPr lang="tr-TR" dirty="0"/>
              <a:t>türlerini</a:t>
            </a:r>
            <a:r>
              <a:rPr dirty="0"/>
              <a:t> </a:t>
            </a:r>
            <a:r>
              <a:rPr dirty="0" err="1"/>
              <a:t>teşvik</a:t>
            </a:r>
            <a:r>
              <a:rPr dirty="0"/>
              <a:t> </a:t>
            </a:r>
            <a:r>
              <a:rPr dirty="0" err="1"/>
              <a:t>etmek</a:t>
            </a:r>
            <a:r>
              <a:rPr dirty="0"/>
              <a:t> </a:t>
            </a:r>
            <a:r>
              <a:rPr dirty="0" err="1"/>
              <a:t>için</a:t>
            </a:r>
            <a:r>
              <a:rPr dirty="0"/>
              <a:t> </a:t>
            </a:r>
            <a:r>
              <a:rPr dirty="0" err="1"/>
              <a:t>talep</a:t>
            </a:r>
            <a:r>
              <a:rPr dirty="0"/>
              <a:t> </a:t>
            </a:r>
            <a:r>
              <a:rPr lang="tr-TR" dirty="0"/>
              <a:t>yönetim</a:t>
            </a:r>
            <a:r>
              <a:rPr dirty="0"/>
              <a:t> </a:t>
            </a:r>
            <a:r>
              <a:rPr dirty="0" err="1"/>
              <a:t>stratejileri</a:t>
            </a:r>
            <a:r>
              <a:rPr dirty="0"/>
              <a:t> </a:t>
            </a:r>
            <a:r>
              <a:rPr dirty="0" err="1"/>
              <a:t>uygulanır</a:t>
            </a:r>
            <a:r>
              <a:rPr dirty="0"/>
              <a:t>.</a:t>
            </a:r>
            <a:endParaRPr kumimoji="0" lang="hr-HR" altLang="en-US" sz="1800" b="0" i="0" u="none" strike="noStrike" cap="none" normalizeH="0" baseline="0" dirty="0">
              <a:ln>
                <a:noFill/>
              </a:ln>
              <a:solidFill>
                <a:schemeClr val="tx1"/>
              </a:solidFill>
              <a:effectLst/>
            </a:endParaRPr>
          </a:p>
          <a:p>
            <a:pPr marL="285750" marR="0" lvl="0" indent="-285750" algn="just" defTabSz="914400" rtl="0" eaLnBrk="0" fontAlgn="base" latinLnBrk="0" hangingPunct="0">
              <a:lnSpc>
                <a:spcPct val="100000"/>
              </a:lnSpc>
              <a:spcBef>
                <a:spcPct val="0"/>
              </a:spcBef>
              <a:spcAft>
                <a:spcPct val="0"/>
              </a:spcAft>
              <a:buClrTx/>
              <a:buSzTx/>
              <a:buFont typeface="Arial" panose="020B0604020202020204" pitchFamily="34" charset="0"/>
              <a:buChar char="•"/>
              <a:tabLst/>
              <a:defRPr altLang="en-US" sz="1800">
                <a:ln>
                  <a:noFill/>
                </a:ln>
                <a:solidFill>
                  <a:schemeClr val="tx1"/>
                </a:solidFill>
                <a:effectLst/>
              </a:defRPr>
            </a:pPr>
            <a:r>
              <a:rPr dirty="0" err="1"/>
              <a:t>Teşvikler</a:t>
            </a:r>
            <a:r>
              <a:rPr dirty="0"/>
              <a:t>, </a:t>
            </a:r>
            <a:r>
              <a:rPr dirty="0" err="1"/>
              <a:t>fiyatlandırma</a:t>
            </a:r>
            <a:r>
              <a:rPr dirty="0"/>
              <a:t> </a:t>
            </a:r>
            <a:r>
              <a:rPr dirty="0" err="1"/>
              <a:t>mekanizmaları</a:t>
            </a:r>
            <a:r>
              <a:rPr dirty="0"/>
              <a:t>, </a:t>
            </a:r>
            <a:r>
              <a:rPr dirty="0" err="1"/>
              <a:t>halk</a:t>
            </a:r>
            <a:r>
              <a:rPr dirty="0"/>
              <a:t> </a:t>
            </a:r>
            <a:r>
              <a:rPr dirty="0" err="1"/>
              <a:t>bilinçlendirme</a:t>
            </a:r>
            <a:r>
              <a:rPr dirty="0"/>
              <a:t> </a:t>
            </a:r>
            <a:r>
              <a:rPr dirty="0" err="1"/>
              <a:t>kampanyaları</a:t>
            </a:r>
            <a:r>
              <a:rPr dirty="0"/>
              <a:t> </a:t>
            </a:r>
            <a:r>
              <a:rPr dirty="0" err="1"/>
              <a:t>ve</a:t>
            </a:r>
            <a:r>
              <a:rPr dirty="0"/>
              <a:t> </a:t>
            </a:r>
            <a:r>
              <a:rPr dirty="0" err="1"/>
              <a:t>eğitim</a:t>
            </a:r>
            <a:r>
              <a:rPr dirty="0"/>
              <a:t> </a:t>
            </a:r>
            <a:r>
              <a:rPr dirty="0" err="1"/>
              <a:t>yoluyla</a:t>
            </a:r>
            <a:r>
              <a:rPr dirty="0"/>
              <a:t> </a:t>
            </a:r>
            <a:r>
              <a:rPr dirty="0" err="1"/>
              <a:t>davranış</a:t>
            </a:r>
            <a:r>
              <a:rPr dirty="0"/>
              <a:t> </a:t>
            </a:r>
            <a:r>
              <a:rPr dirty="0" err="1"/>
              <a:t>değişiklik</a:t>
            </a:r>
            <a:r>
              <a:rPr dirty="0"/>
              <a:t> </a:t>
            </a:r>
            <a:r>
              <a:rPr dirty="0" err="1"/>
              <a:t>ön</a:t>
            </a:r>
            <a:r>
              <a:rPr dirty="0"/>
              <a:t> plana </a:t>
            </a:r>
            <a:r>
              <a:rPr dirty="0" err="1"/>
              <a:t>çıkarılır</a:t>
            </a:r>
            <a:r>
              <a:rPr dirty="0"/>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endParaRPr>
          </a:p>
        </p:txBody>
      </p:sp>
      <p:pic>
        <p:nvPicPr>
          <p:cNvPr id="4" name="Picture 3" descr="A person standing in front of a road  Description automatically generated with low confidence">
            <a:extLst>
              <a:ext uri="{FF2B5EF4-FFF2-40B4-BE49-F238E27FC236}">
                <a16:creationId xmlns:a16="http://schemas.microsoft.com/office/drawing/2014/main" id="{9DB2143A-966B-0F6B-531C-98F36AB4D86B}"/>
              </a:ext>
            </a:extLst>
          </p:cNvPr>
          <p:cNvPicPr>
            <a:picLocks noChangeAspect="1"/>
          </p:cNvPicPr>
          <p:nvPr/>
        </p:nvPicPr>
        <p:blipFill>
          <a:blip r:embed="rId4"/>
          <a:stretch>
            <a:fillRect/>
          </a:stretch>
        </p:blipFill>
        <p:spPr>
          <a:xfrm>
            <a:off x="789619" y="2317465"/>
            <a:ext cx="4291448" cy="3633426"/>
          </a:xfrm>
          <a:prstGeom prst="rect">
            <a:avLst/>
          </a:prstGeom>
        </p:spPr>
      </p:pic>
    </p:spTree>
    <p:extLst>
      <p:ext uri="{BB962C8B-B14F-4D97-AF65-F5344CB8AC3E}">
        <p14:creationId xmlns:p14="http://schemas.microsoft.com/office/powerpoint/2010/main" val="347014735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ABB9A-8381-E048-B51B-ADFD36312BC9}"/>
              </a:ext>
            </a:extLst>
          </p:cNvPr>
          <p:cNvSpPr>
            <a:spLocks noGrp="1"/>
          </p:cNvSpPr>
          <p:nvPr>
            <p:ph type="ctrTitle"/>
          </p:nvPr>
        </p:nvSpPr>
        <p:spPr>
          <a:xfrm>
            <a:off x="3730752" y="2450360"/>
            <a:ext cx="4730496" cy="1947904"/>
          </a:xfrm>
        </p:spPr>
        <p:txBody>
          <a:bodyPr>
            <a:noAutofit/>
          </a:bodyPr>
          <a:lstStyle/>
          <a:p>
            <a:pPr>
              <a:defRPr sz="6000" b="1"/>
            </a:pPr>
            <a:r>
              <a:t>Akıllı Ulaşım Sistemleri (AUS) </a:t>
            </a:r>
          </a:p>
        </p:txBody>
      </p:sp>
    </p:spTree>
    <p:extLst>
      <p:ext uri="{BB962C8B-B14F-4D97-AF65-F5344CB8AC3E}">
        <p14:creationId xmlns:p14="http://schemas.microsoft.com/office/powerpoint/2010/main" val="74339124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765977C3-A98E-6F98-1E0D-B64AF5BE7225}"/>
              </a:ext>
            </a:extLst>
          </p:cNvPr>
          <p:cNvSpPr txBox="1"/>
          <p:nvPr/>
        </p:nvSpPr>
        <p:spPr>
          <a:xfrm>
            <a:off x="97325" y="1236728"/>
            <a:ext cx="6097508" cy="584775"/>
          </a:xfrm>
          <a:prstGeom prst="rect">
            <a:avLst/>
          </a:prstGeom>
          <a:noFill/>
        </p:spPr>
        <p:txBody>
          <a:bodyPr wrap="square">
            <a:spAutoFit/>
          </a:bodyPr>
          <a:lstStyle/>
          <a:p>
            <a:pPr>
              <a:defRPr sz="3200"/>
            </a:pPr>
            <a:r>
              <a:t>Akıllı Ulaşım Sistemleri</a:t>
            </a:r>
            <a:endParaRPr lang="en-US" sz="3200" dirty="0"/>
          </a:p>
        </p:txBody>
      </p:sp>
      <p:graphicFrame>
        <p:nvGraphicFramePr>
          <p:cNvPr id="15" name="Diagram 14">
            <a:extLst>
              <a:ext uri="{FF2B5EF4-FFF2-40B4-BE49-F238E27FC236}">
                <a16:creationId xmlns:a16="http://schemas.microsoft.com/office/drawing/2014/main" id="{E878A10B-874C-6A79-BA2D-EBDC3111C7A1}"/>
              </a:ext>
            </a:extLst>
          </p:cNvPr>
          <p:cNvGraphicFramePr/>
          <p:nvPr>
            <p:extLst>
              <p:ext uri="{D42A27DB-BD31-4B8C-83A1-F6EECF244321}">
                <p14:modId xmlns:p14="http://schemas.microsoft.com/office/powerpoint/2010/main" val="1699264266"/>
              </p:ext>
            </p:extLst>
          </p:nvPr>
        </p:nvGraphicFramePr>
        <p:xfrm>
          <a:off x="5736417" y="856357"/>
          <a:ext cx="5820333" cy="535950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17" name="Picture 16">
            <a:extLst>
              <a:ext uri="{FF2B5EF4-FFF2-40B4-BE49-F238E27FC236}">
                <a16:creationId xmlns:a16="http://schemas.microsoft.com/office/drawing/2014/main" id="{B8579FE3-1B5D-BB74-A4CB-348229DA65FD}"/>
              </a:ext>
            </a:extLst>
          </p:cNvPr>
          <p:cNvPicPr>
            <a:picLocks noChangeAspect="1"/>
          </p:cNvPicPr>
          <p:nvPr/>
        </p:nvPicPr>
        <p:blipFill>
          <a:blip r:embed="rId9"/>
          <a:stretch>
            <a:fillRect/>
          </a:stretch>
        </p:blipFill>
        <p:spPr>
          <a:xfrm>
            <a:off x="2478334" y="2642475"/>
            <a:ext cx="3258083" cy="1852839"/>
          </a:xfrm>
          <a:prstGeom prst="snip2DiagRect">
            <a:avLst>
              <a:gd name="adj1" fmla="val 49436"/>
              <a:gd name="adj2" fmla="val 16667"/>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pic>
        <p:nvPicPr>
          <p:cNvPr id="19" name="Picture 18" descr="A picture containing vehicle, land vehicle, wheel, toy vehicle  Description automatically generated">
            <a:extLst>
              <a:ext uri="{FF2B5EF4-FFF2-40B4-BE49-F238E27FC236}">
                <a16:creationId xmlns:a16="http://schemas.microsoft.com/office/drawing/2014/main" id="{A5BFD68F-E165-DF76-8B82-483E7B98192C}"/>
              </a:ext>
            </a:extLst>
          </p:cNvPr>
          <p:cNvPicPr>
            <a:picLocks noChangeAspect="1"/>
          </p:cNvPicPr>
          <p:nvPr/>
        </p:nvPicPr>
        <p:blipFill>
          <a:blip r:embed="rId10"/>
          <a:stretch>
            <a:fillRect/>
          </a:stretch>
        </p:blipFill>
        <p:spPr>
          <a:xfrm>
            <a:off x="10095805" y="1101013"/>
            <a:ext cx="1922105" cy="1922105"/>
          </a:xfrm>
          <a:prstGeom prst="round2DiagRect">
            <a:avLst>
              <a:gd name="adj1" fmla="val 15211"/>
              <a:gd name="adj2" fmla="val 0"/>
            </a:avLst>
          </a:prstGeom>
          <a:ln w="88900" cap="sq">
            <a:solidFill>
              <a:srgbClr val="FFFFFF"/>
            </a:solidFill>
            <a:miter lim="800000"/>
          </a:ln>
          <a:effectLst>
            <a:outerShdw blurRad="254000" algn="tl" rotWithShape="0">
              <a:srgbClr val="000000">
                <a:alpha val="43000"/>
              </a:srgbClr>
            </a:outerShdw>
          </a:effectLst>
        </p:spPr>
      </p:pic>
      <p:pic>
        <p:nvPicPr>
          <p:cNvPr id="21" name="Picture 20" descr="A car on a map  Description automatically generated">
            <a:extLst>
              <a:ext uri="{FF2B5EF4-FFF2-40B4-BE49-F238E27FC236}">
                <a16:creationId xmlns:a16="http://schemas.microsoft.com/office/drawing/2014/main" id="{EB847619-17EF-9E03-C692-E95C1CF463EA}"/>
              </a:ext>
            </a:extLst>
          </p:cNvPr>
          <p:cNvPicPr>
            <a:picLocks noChangeAspect="1"/>
          </p:cNvPicPr>
          <p:nvPr/>
        </p:nvPicPr>
        <p:blipFill>
          <a:blip r:embed="rId11"/>
          <a:stretch>
            <a:fillRect/>
          </a:stretch>
        </p:blipFill>
        <p:spPr>
          <a:xfrm>
            <a:off x="314228" y="3624298"/>
            <a:ext cx="1801640" cy="1801640"/>
          </a:xfrm>
          <a:prstGeom prst="round2DiagRect">
            <a:avLst>
              <a:gd name="adj1" fmla="val 41667"/>
              <a:gd name="adj2" fmla="val 0"/>
            </a:avLst>
          </a:prstGeom>
          <a:ln w="88900" cap="sq">
            <a:solidFill>
              <a:srgbClr val="FFFFFF"/>
            </a:solidFill>
            <a:miter lim="800000"/>
          </a:ln>
          <a:effectLst>
            <a:outerShdw blurRad="254000" algn="tl" rotWithShape="0">
              <a:srgbClr val="000000">
                <a:alpha val="43000"/>
              </a:srgbClr>
            </a:outerShdw>
          </a:effectLst>
        </p:spPr>
      </p:pic>
    </p:spTree>
    <p:extLst>
      <p:ext uri="{BB962C8B-B14F-4D97-AF65-F5344CB8AC3E}">
        <p14:creationId xmlns:p14="http://schemas.microsoft.com/office/powerpoint/2010/main" val="3445495989"/>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765977C3-A98E-6F98-1E0D-B64AF5BE7225}"/>
              </a:ext>
            </a:extLst>
          </p:cNvPr>
          <p:cNvSpPr txBox="1"/>
          <p:nvPr/>
        </p:nvSpPr>
        <p:spPr>
          <a:xfrm>
            <a:off x="97325" y="876299"/>
            <a:ext cx="5806668" cy="1077218"/>
          </a:xfrm>
          <a:prstGeom prst="rect">
            <a:avLst/>
          </a:prstGeom>
          <a:noFill/>
        </p:spPr>
        <p:txBody>
          <a:bodyPr wrap="square">
            <a:spAutoFit/>
          </a:bodyPr>
          <a:lstStyle/>
          <a:p>
            <a:pPr>
              <a:defRPr sz="3200"/>
            </a:pPr>
            <a:r>
              <a:t>Akıllı Ulaşım Sistemleri Türleri</a:t>
            </a:r>
          </a:p>
        </p:txBody>
      </p:sp>
      <p:pic>
        <p:nvPicPr>
          <p:cNvPr id="2" name="Picture 1" descr="Aerial view of a city skyline">
            <a:extLst>
              <a:ext uri="{FF2B5EF4-FFF2-40B4-BE49-F238E27FC236}">
                <a16:creationId xmlns:a16="http://schemas.microsoft.com/office/drawing/2014/main" id="{44E61472-2541-CEB7-7B22-AEAE62DEB36F}"/>
              </a:ext>
            </a:extLst>
          </p:cNvPr>
          <p:cNvPicPr>
            <a:picLocks noChangeAspect="1"/>
          </p:cNvPicPr>
          <p:nvPr/>
        </p:nvPicPr>
        <p:blipFill rotWithShape="1">
          <a:blip r:embed="rId4"/>
          <a:srcRect l="2333" r="3549" b="-1"/>
          <a:stretch/>
        </p:blipFill>
        <p:spPr>
          <a:xfrm>
            <a:off x="6194833" y="647710"/>
            <a:ext cx="7520830" cy="5333990"/>
          </a:xfrm>
          <a:prstGeom prst="rect">
            <a:avLst/>
          </a:prstGeom>
          <a:effectLst>
            <a:softEdge rad="635000"/>
          </a:effectLst>
        </p:spPr>
      </p:pic>
      <p:graphicFrame>
        <p:nvGraphicFramePr>
          <p:cNvPr id="6" name="Diagram 5">
            <a:extLst>
              <a:ext uri="{FF2B5EF4-FFF2-40B4-BE49-F238E27FC236}">
                <a16:creationId xmlns:a16="http://schemas.microsoft.com/office/drawing/2014/main" id="{BD341994-4E5C-9118-BCB3-9AB25E2DE21E}"/>
              </a:ext>
            </a:extLst>
          </p:cNvPr>
          <p:cNvGraphicFramePr/>
          <p:nvPr>
            <p:extLst>
              <p:ext uri="{D42A27DB-BD31-4B8C-83A1-F6EECF244321}">
                <p14:modId xmlns:p14="http://schemas.microsoft.com/office/powerpoint/2010/main" val="1429262506"/>
              </p:ext>
            </p:extLst>
          </p:nvPr>
        </p:nvGraphicFramePr>
        <p:xfrm>
          <a:off x="190500" y="2313947"/>
          <a:ext cx="5806668" cy="3667754"/>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186276119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765977C3-A98E-6F98-1E0D-B64AF5BE7225}"/>
              </a:ext>
            </a:extLst>
          </p:cNvPr>
          <p:cNvSpPr txBox="1"/>
          <p:nvPr/>
        </p:nvSpPr>
        <p:spPr>
          <a:xfrm>
            <a:off x="2377956" y="1293366"/>
            <a:ext cx="7820104" cy="584775"/>
          </a:xfrm>
          <a:prstGeom prst="rect">
            <a:avLst/>
          </a:prstGeom>
          <a:noFill/>
        </p:spPr>
        <p:txBody>
          <a:bodyPr wrap="square">
            <a:spAutoFit/>
          </a:bodyPr>
          <a:lstStyle/>
          <a:p>
            <a:pPr>
              <a:defRPr sz="3200"/>
            </a:pPr>
            <a:r>
              <a:t>Akıllı Ulaşım Sistemlerinin Faydaları</a:t>
            </a:r>
          </a:p>
        </p:txBody>
      </p:sp>
      <p:graphicFrame>
        <p:nvGraphicFramePr>
          <p:cNvPr id="7" name="Diagram 6">
            <a:extLst>
              <a:ext uri="{FF2B5EF4-FFF2-40B4-BE49-F238E27FC236}">
                <a16:creationId xmlns:a16="http://schemas.microsoft.com/office/drawing/2014/main" id="{3EE1226F-59CE-CC1C-CC3F-7CD6C7420053}"/>
              </a:ext>
            </a:extLst>
          </p:cNvPr>
          <p:cNvGraphicFramePr/>
          <p:nvPr>
            <p:extLst>
              <p:ext uri="{D42A27DB-BD31-4B8C-83A1-F6EECF244321}">
                <p14:modId xmlns:p14="http://schemas.microsoft.com/office/powerpoint/2010/main" val="315951869"/>
              </p:ext>
            </p:extLst>
          </p:nvPr>
        </p:nvGraphicFramePr>
        <p:xfrm>
          <a:off x="2263696" y="1585754"/>
          <a:ext cx="8048625" cy="470898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cxnSp>
        <p:nvCxnSpPr>
          <p:cNvPr id="9" name="Straight Arrow Connector 8">
            <a:extLst>
              <a:ext uri="{FF2B5EF4-FFF2-40B4-BE49-F238E27FC236}">
                <a16:creationId xmlns:a16="http://schemas.microsoft.com/office/drawing/2014/main" id="{33D21AE2-A2F7-CE6C-763C-7EA6D4DDF37C}"/>
              </a:ext>
            </a:extLst>
          </p:cNvPr>
          <p:cNvCxnSpPr/>
          <p:nvPr/>
        </p:nvCxnSpPr>
        <p:spPr>
          <a:xfrm>
            <a:off x="11036300" y="1953517"/>
            <a:ext cx="0" cy="3964683"/>
          </a:xfrm>
          <a:prstGeom prst="straightConnector1">
            <a:avLst/>
          </a:prstGeom>
          <a:ln w="38100">
            <a:solidFill>
              <a:schemeClr val="tx1">
                <a:lumMod val="95000"/>
                <a:lumOff val="5000"/>
              </a:schemeClr>
            </a:solidFill>
            <a:prstDash val="lgDashDotDot"/>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90C88B6A-FA78-0351-70A5-620E08C460F5}"/>
              </a:ext>
            </a:extLst>
          </p:cNvPr>
          <p:cNvCxnSpPr/>
          <p:nvPr/>
        </p:nvCxnSpPr>
        <p:spPr>
          <a:xfrm>
            <a:off x="1485900" y="1953517"/>
            <a:ext cx="0" cy="3964683"/>
          </a:xfrm>
          <a:prstGeom prst="straightConnector1">
            <a:avLst/>
          </a:prstGeom>
          <a:ln w="38100">
            <a:solidFill>
              <a:schemeClr val="tx1">
                <a:lumMod val="95000"/>
                <a:lumOff val="5000"/>
              </a:schemeClr>
            </a:solidFill>
            <a:prstDash val="lgDashDotDot"/>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1654711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765977C3-A98E-6F98-1E0D-B64AF5BE7225}"/>
              </a:ext>
            </a:extLst>
          </p:cNvPr>
          <p:cNvSpPr txBox="1"/>
          <p:nvPr/>
        </p:nvSpPr>
        <p:spPr>
          <a:xfrm>
            <a:off x="254000" y="1265932"/>
            <a:ext cx="7820104" cy="584775"/>
          </a:xfrm>
          <a:prstGeom prst="rect">
            <a:avLst/>
          </a:prstGeom>
          <a:noFill/>
        </p:spPr>
        <p:txBody>
          <a:bodyPr wrap="square">
            <a:spAutoFit/>
          </a:bodyPr>
          <a:lstStyle/>
          <a:p>
            <a:pPr>
              <a:defRPr sz="3200"/>
            </a:pPr>
            <a:r>
              <a:t>AUS uygulamasının teknik zorlukları</a:t>
            </a:r>
          </a:p>
        </p:txBody>
      </p:sp>
      <p:graphicFrame>
        <p:nvGraphicFramePr>
          <p:cNvPr id="4" name="Diagram 3">
            <a:extLst>
              <a:ext uri="{FF2B5EF4-FFF2-40B4-BE49-F238E27FC236}">
                <a16:creationId xmlns:a16="http://schemas.microsoft.com/office/drawing/2014/main" id="{31070619-5B26-9895-1D89-38EDCB265703}"/>
              </a:ext>
            </a:extLst>
          </p:cNvPr>
          <p:cNvGraphicFramePr/>
          <p:nvPr>
            <p:extLst>
              <p:ext uri="{D42A27DB-BD31-4B8C-83A1-F6EECF244321}">
                <p14:modId xmlns:p14="http://schemas.microsoft.com/office/powerpoint/2010/main" val="447765677"/>
              </p:ext>
            </p:extLst>
          </p:nvPr>
        </p:nvGraphicFramePr>
        <p:xfrm>
          <a:off x="254000" y="1729472"/>
          <a:ext cx="7010400" cy="4219266"/>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6" name="Picture 5" descr="A picture containing cartoon, person, clothing, clipart  Description automatically generated">
            <a:extLst>
              <a:ext uri="{FF2B5EF4-FFF2-40B4-BE49-F238E27FC236}">
                <a16:creationId xmlns:a16="http://schemas.microsoft.com/office/drawing/2014/main" id="{B900EC01-CBC4-49DE-9857-F4650070B38C}"/>
              </a:ext>
            </a:extLst>
          </p:cNvPr>
          <p:cNvPicPr>
            <a:picLocks noChangeAspect="1"/>
          </p:cNvPicPr>
          <p:nvPr/>
        </p:nvPicPr>
        <p:blipFill>
          <a:blip r:embed="rId9"/>
          <a:stretch>
            <a:fillRect/>
          </a:stretch>
        </p:blipFill>
        <p:spPr>
          <a:xfrm>
            <a:off x="7689850" y="3421686"/>
            <a:ext cx="4248150" cy="2832100"/>
          </a:xfrm>
          <a:prstGeom prst="rect">
            <a:avLst/>
          </a:prstGeom>
        </p:spPr>
      </p:pic>
      <p:pic>
        <p:nvPicPr>
          <p:cNvPr id="12" name="Picture 11" descr="A group of people working on a project  Description automatically generated with low confidence">
            <a:extLst>
              <a:ext uri="{FF2B5EF4-FFF2-40B4-BE49-F238E27FC236}">
                <a16:creationId xmlns:a16="http://schemas.microsoft.com/office/drawing/2014/main" id="{FED7C1E0-99E0-1BE0-2700-B97A41949AA6}"/>
              </a:ext>
            </a:extLst>
          </p:cNvPr>
          <p:cNvPicPr>
            <a:picLocks noChangeAspect="1"/>
          </p:cNvPicPr>
          <p:nvPr/>
        </p:nvPicPr>
        <p:blipFill>
          <a:blip r:embed="rId10"/>
          <a:stretch>
            <a:fillRect/>
          </a:stretch>
        </p:blipFill>
        <p:spPr>
          <a:xfrm>
            <a:off x="7886700" y="1558320"/>
            <a:ext cx="3110820" cy="2073880"/>
          </a:xfrm>
          <a:prstGeom prst="rect">
            <a:avLst/>
          </a:prstGeom>
        </p:spPr>
      </p:pic>
    </p:spTree>
    <p:extLst>
      <p:ext uri="{BB962C8B-B14F-4D97-AF65-F5344CB8AC3E}">
        <p14:creationId xmlns:p14="http://schemas.microsoft.com/office/powerpoint/2010/main" val="1125543219"/>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ABB9A-8381-E048-B51B-ADFD36312BC9}"/>
              </a:ext>
            </a:extLst>
          </p:cNvPr>
          <p:cNvSpPr>
            <a:spLocks noGrp="1"/>
          </p:cNvSpPr>
          <p:nvPr>
            <p:ph type="ctrTitle"/>
          </p:nvPr>
        </p:nvSpPr>
        <p:spPr>
          <a:xfrm>
            <a:off x="2841774" y="2139580"/>
            <a:ext cx="6508451" cy="2578840"/>
          </a:xfrm>
        </p:spPr>
        <p:txBody>
          <a:bodyPr>
            <a:noAutofit/>
          </a:bodyPr>
          <a:lstStyle/>
          <a:p>
            <a:pPr>
              <a:defRPr b="1"/>
            </a:pPr>
            <a:r>
              <a:rPr sz="6000"/>
              <a:t>Ankara'da </a:t>
            </a:r>
            <a:r>
              <a:t>ulaşım planlama tedbirlerinin</a:t>
            </a:r>
            <a:r>
              <a:rPr sz="6000"/>
              <a:t> etkisi</a:t>
            </a:r>
            <a:endParaRPr lang="en-US" sz="6000" b="1" dirty="0"/>
          </a:p>
        </p:txBody>
      </p:sp>
    </p:spTree>
    <p:extLst>
      <p:ext uri="{BB962C8B-B14F-4D97-AF65-F5344CB8AC3E}">
        <p14:creationId xmlns:p14="http://schemas.microsoft.com/office/powerpoint/2010/main" val="2089018287"/>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8" name="Diagram 7">
            <a:extLst>
              <a:ext uri="{FF2B5EF4-FFF2-40B4-BE49-F238E27FC236}">
                <a16:creationId xmlns:a16="http://schemas.microsoft.com/office/drawing/2014/main" id="{507636AF-1B75-C946-F6B8-E27CA8D32A98}"/>
              </a:ext>
            </a:extLst>
          </p:cNvPr>
          <p:cNvGraphicFramePr/>
          <p:nvPr>
            <p:extLst>
              <p:ext uri="{D42A27DB-BD31-4B8C-83A1-F6EECF244321}">
                <p14:modId xmlns:p14="http://schemas.microsoft.com/office/powerpoint/2010/main" val="1308519277"/>
              </p:ext>
            </p:extLst>
          </p:nvPr>
        </p:nvGraphicFramePr>
        <p:xfrm>
          <a:off x="0" y="1814442"/>
          <a:ext cx="8788400" cy="440120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1" name="TextBox 10">
            <a:extLst>
              <a:ext uri="{FF2B5EF4-FFF2-40B4-BE49-F238E27FC236}">
                <a16:creationId xmlns:a16="http://schemas.microsoft.com/office/drawing/2014/main" id="{0A5E0C84-CFA6-9FFC-6F82-7004E118A988}"/>
              </a:ext>
            </a:extLst>
          </p:cNvPr>
          <p:cNvSpPr txBox="1"/>
          <p:nvPr/>
        </p:nvSpPr>
        <p:spPr>
          <a:xfrm>
            <a:off x="513533" y="1177313"/>
            <a:ext cx="8274867" cy="1077218"/>
          </a:xfrm>
          <a:prstGeom prst="rect">
            <a:avLst/>
          </a:prstGeom>
          <a:noFill/>
        </p:spPr>
        <p:txBody>
          <a:bodyPr wrap="square">
            <a:spAutoFit/>
          </a:bodyPr>
          <a:lstStyle/>
          <a:p>
            <a:pPr>
              <a:defRPr sz="3200"/>
            </a:pPr>
            <a:r>
              <a:rPr dirty="0"/>
              <a:t>Ulaşım </a:t>
            </a:r>
            <a:r>
              <a:rPr dirty="0" err="1"/>
              <a:t>planlama</a:t>
            </a:r>
            <a:r>
              <a:rPr dirty="0"/>
              <a:t> </a:t>
            </a:r>
            <a:r>
              <a:rPr dirty="0" err="1"/>
              <a:t>tedbirlerinin</a:t>
            </a:r>
            <a:r>
              <a:rPr dirty="0"/>
              <a:t> </a:t>
            </a:r>
            <a:r>
              <a:rPr dirty="0" err="1"/>
              <a:t>uygulanmasının</a:t>
            </a:r>
            <a:r>
              <a:rPr dirty="0"/>
              <a:t> </a:t>
            </a:r>
            <a:r>
              <a:rPr dirty="0" err="1"/>
              <a:t>Ankara'ya</a:t>
            </a:r>
            <a:r>
              <a:rPr dirty="0"/>
              <a:t> </a:t>
            </a:r>
            <a:r>
              <a:rPr dirty="0" err="1"/>
              <a:t>etkisi</a:t>
            </a:r>
            <a:endParaRPr dirty="0"/>
          </a:p>
        </p:txBody>
      </p:sp>
      <p:pic>
        <p:nvPicPr>
          <p:cNvPr id="14" name="Picture 13" descr="A picture containing text, clothing, outdoor, person  Description automatically generated">
            <a:extLst>
              <a:ext uri="{FF2B5EF4-FFF2-40B4-BE49-F238E27FC236}">
                <a16:creationId xmlns:a16="http://schemas.microsoft.com/office/drawing/2014/main" id="{67F1D08B-6981-D86B-255E-5334C653034E}"/>
              </a:ext>
            </a:extLst>
          </p:cNvPr>
          <p:cNvPicPr>
            <a:picLocks noChangeAspect="1"/>
          </p:cNvPicPr>
          <p:nvPr/>
        </p:nvPicPr>
        <p:blipFill>
          <a:blip r:embed="rId9"/>
          <a:stretch>
            <a:fillRect/>
          </a:stretch>
        </p:blipFill>
        <p:spPr>
          <a:xfrm>
            <a:off x="9159939" y="1236017"/>
            <a:ext cx="2957604" cy="2063750"/>
          </a:xfrm>
          <a:prstGeom prst="round2DiagRect">
            <a:avLst>
              <a:gd name="adj1" fmla="val 50000"/>
              <a:gd name="adj2" fmla="val 0"/>
            </a:avLst>
          </a:prstGeom>
          <a:ln w="88900" cap="sq">
            <a:solidFill>
              <a:srgbClr val="FFFFFF"/>
            </a:solidFill>
            <a:miter lim="800000"/>
          </a:ln>
          <a:effectLst>
            <a:outerShdw blurRad="254000" algn="tl" rotWithShape="0">
              <a:srgbClr val="000000">
                <a:alpha val="43000"/>
              </a:srgbClr>
            </a:outerShdw>
          </a:effectLst>
        </p:spPr>
      </p:pic>
      <p:pic>
        <p:nvPicPr>
          <p:cNvPr id="16" name="Picture 15" descr="A group of bicycles parked on the side of a road  Description automatically generated with low confidence">
            <a:extLst>
              <a:ext uri="{FF2B5EF4-FFF2-40B4-BE49-F238E27FC236}">
                <a16:creationId xmlns:a16="http://schemas.microsoft.com/office/drawing/2014/main" id="{680ADF9E-B28D-0C75-625B-C1FCEAC8D5D3}"/>
              </a:ext>
            </a:extLst>
          </p:cNvPr>
          <p:cNvPicPr>
            <a:picLocks noChangeAspect="1"/>
          </p:cNvPicPr>
          <p:nvPr/>
        </p:nvPicPr>
        <p:blipFill>
          <a:blip r:embed="rId10"/>
          <a:stretch>
            <a:fillRect/>
          </a:stretch>
        </p:blipFill>
        <p:spPr>
          <a:xfrm>
            <a:off x="8529417" y="3491417"/>
            <a:ext cx="3959665" cy="2063750"/>
          </a:xfrm>
          <a:prstGeom prst="rect">
            <a:avLst/>
          </a:prstGeom>
          <a:effectLst>
            <a:softEdge rad="635000"/>
          </a:effectLst>
        </p:spPr>
      </p:pic>
    </p:spTree>
    <p:extLst>
      <p:ext uri="{BB962C8B-B14F-4D97-AF65-F5344CB8AC3E}">
        <p14:creationId xmlns:p14="http://schemas.microsoft.com/office/powerpoint/2010/main" val="332977153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pic>
        <p:nvPicPr>
          <p:cNvPr id="9" name="Picture 8" descr="A picture containing scale model, construction set toy, toy, LEGO  Description automatically generated">
            <a:extLst>
              <a:ext uri="{FF2B5EF4-FFF2-40B4-BE49-F238E27FC236}">
                <a16:creationId xmlns:a16="http://schemas.microsoft.com/office/drawing/2014/main" id="{53435C18-C270-2B68-AF10-5B57DA797E6C}"/>
              </a:ext>
            </a:extLst>
          </p:cNvPr>
          <p:cNvPicPr>
            <a:picLocks noChangeAspect="1"/>
          </p:cNvPicPr>
          <p:nvPr/>
        </p:nvPicPr>
        <p:blipFill>
          <a:blip r:embed="rId4"/>
          <a:stretch>
            <a:fillRect/>
          </a:stretch>
        </p:blipFill>
        <p:spPr>
          <a:xfrm>
            <a:off x="0" y="3781299"/>
            <a:ext cx="3802404" cy="2499116"/>
          </a:xfrm>
          <a:prstGeom prst="rect">
            <a:avLst/>
          </a:prstGeom>
          <a:effectLst>
            <a:softEdge rad="127000"/>
          </a:effectLst>
        </p:spPr>
      </p:pic>
      <p:sp>
        <p:nvSpPr>
          <p:cNvPr id="11" name="TextBox 10">
            <a:extLst>
              <a:ext uri="{FF2B5EF4-FFF2-40B4-BE49-F238E27FC236}">
                <a16:creationId xmlns:a16="http://schemas.microsoft.com/office/drawing/2014/main" id="{0A5E0C84-CFA6-9FFC-6F82-7004E118A988}"/>
              </a:ext>
            </a:extLst>
          </p:cNvPr>
          <p:cNvSpPr txBox="1"/>
          <p:nvPr/>
        </p:nvSpPr>
        <p:spPr>
          <a:xfrm>
            <a:off x="0" y="874825"/>
            <a:ext cx="3657600" cy="1569660"/>
          </a:xfrm>
          <a:prstGeom prst="rect">
            <a:avLst/>
          </a:prstGeom>
          <a:noFill/>
        </p:spPr>
        <p:txBody>
          <a:bodyPr wrap="square">
            <a:spAutoFit/>
          </a:bodyPr>
          <a:lstStyle/>
          <a:p>
            <a:pPr>
              <a:defRPr sz="3200"/>
            </a:pPr>
            <a:r>
              <a:rPr dirty="0" err="1"/>
              <a:t>Ankara'da</a:t>
            </a:r>
            <a:r>
              <a:rPr dirty="0"/>
              <a:t> </a:t>
            </a:r>
            <a:r>
              <a:rPr dirty="0" err="1"/>
              <a:t>ulaşım</a:t>
            </a:r>
            <a:r>
              <a:rPr dirty="0"/>
              <a:t> </a:t>
            </a:r>
            <a:r>
              <a:rPr dirty="0" err="1"/>
              <a:t>planlamada</a:t>
            </a:r>
            <a:r>
              <a:rPr dirty="0"/>
              <a:t> </a:t>
            </a:r>
            <a:r>
              <a:rPr dirty="0" err="1"/>
              <a:t>yaşanan</a:t>
            </a:r>
            <a:r>
              <a:rPr dirty="0"/>
              <a:t> </a:t>
            </a:r>
            <a:r>
              <a:rPr dirty="0" err="1"/>
              <a:t>zorluklar</a:t>
            </a:r>
            <a:endParaRPr dirty="0"/>
          </a:p>
        </p:txBody>
      </p:sp>
      <p:pic>
        <p:nvPicPr>
          <p:cNvPr id="6" name="Picture 5" descr="A picture containing text, screenshot, design, illustration  Description automatically generated">
            <a:extLst>
              <a:ext uri="{FF2B5EF4-FFF2-40B4-BE49-F238E27FC236}">
                <a16:creationId xmlns:a16="http://schemas.microsoft.com/office/drawing/2014/main" id="{B33CDD8E-8726-6A41-1D87-96A2D6B0B95C}"/>
              </a:ext>
            </a:extLst>
          </p:cNvPr>
          <p:cNvPicPr>
            <a:picLocks noChangeAspect="1"/>
          </p:cNvPicPr>
          <p:nvPr/>
        </p:nvPicPr>
        <p:blipFill>
          <a:blip r:embed="rId5"/>
          <a:stretch>
            <a:fillRect/>
          </a:stretch>
        </p:blipFill>
        <p:spPr>
          <a:xfrm>
            <a:off x="3583654" y="1659656"/>
            <a:ext cx="2703722" cy="2499116"/>
          </a:xfrm>
          <a:prstGeom prst="rect">
            <a:avLst/>
          </a:prstGeom>
        </p:spPr>
      </p:pic>
      <p:graphicFrame>
        <p:nvGraphicFramePr>
          <p:cNvPr id="7" name="Diagram 6">
            <a:extLst>
              <a:ext uri="{FF2B5EF4-FFF2-40B4-BE49-F238E27FC236}">
                <a16:creationId xmlns:a16="http://schemas.microsoft.com/office/drawing/2014/main" id="{0992571A-D2AE-212C-4F0F-69B9CFFC65B7}"/>
              </a:ext>
            </a:extLst>
          </p:cNvPr>
          <p:cNvGraphicFramePr/>
          <p:nvPr>
            <p:extLst>
              <p:ext uri="{D42A27DB-BD31-4B8C-83A1-F6EECF244321}">
                <p14:modId xmlns:p14="http://schemas.microsoft.com/office/powerpoint/2010/main" val="1159699542"/>
              </p:ext>
            </p:extLst>
          </p:nvPr>
        </p:nvGraphicFramePr>
        <p:xfrm>
          <a:off x="6287376" y="1321806"/>
          <a:ext cx="5904624" cy="4492462"/>
        </p:xfrm>
        <a:graphic>
          <a:graphicData uri="http://schemas.openxmlformats.org/drawingml/2006/diagram">
            <dgm:relIds xmlns:dgm="http://schemas.openxmlformats.org/drawingml/2006/diagram" xmlns:r="http://schemas.openxmlformats.org/officeDocument/2006/relationships" r:dm="rId6" r:lo="rId7" r:qs="rId8" r:cs="rId9"/>
          </a:graphicData>
        </a:graphic>
      </p:graphicFrame>
    </p:spTree>
    <p:extLst>
      <p:ext uri="{BB962C8B-B14F-4D97-AF65-F5344CB8AC3E}">
        <p14:creationId xmlns:p14="http://schemas.microsoft.com/office/powerpoint/2010/main" val="47812040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7C79B2A7-11E7-1A85-E2B2-FB28E4EF41A2}"/>
              </a:ext>
            </a:extLst>
          </p:cNvPr>
          <p:cNvSpPr txBox="1"/>
          <p:nvPr/>
        </p:nvSpPr>
        <p:spPr>
          <a:xfrm>
            <a:off x="625987" y="1326452"/>
            <a:ext cx="10940025" cy="584775"/>
          </a:xfrm>
          <a:prstGeom prst="rect">
            <a:avLst/>
          </a:prstGeom>
          <a:noFill/>
        </p:spPr>
        <p:txBody>
          <a:bodyPr wrap="square">
            <a:spAutoFit/>
          </a:bodyPr>
          <a:lstStyle/>
          <a:p>
            <a:pPr>
              <a:defRPr sz="3200"/>
            </a:pPr>
            <a:r>
              <a:t>Ankara'da Uygulanan Başarılı Ulaşım Planlama Tedbirleri</a:t>
            </a:r>
            <a:endParaRPr lang="en-US" sz="3200" b="1" dirty="0"/>
          </a:p>
        </p:txBody>
      </p:sp>
      <p:graphicFrame>
        <p:nvGraphicFramePr>
          <p:cNvPr id="4" name="Diagram 3">
            <a:extLst>
              <a:ext uri="{FF2B5EF4-FFF2-40B4-BE49-F238E27FC236}">
                <a16:creationId xmlns:a16="http://schemas.microsoft.com/office/drawing/2014/main" id="{D5929E39-646D-D64A-7971-473ED7F35E34}"/>
              </a:ext>
            </a:extLst>
          </p:cNvPr>
          <p:cNvGraphicFramePr/>
          <p:nvPr>
            <p:extLst>
              <p:ext uri="{D42A27DB-BD31-4B8C-83A1-F6EECF244321}">
                <p14:modId xmlns:p14="http://schemas.microsoft.com/office/powerpoint/2010/main" val="1985286271"/>
              </p:ext>
            </p:extLst>
          </p:nvPr>
        </p:nvGraphicFramePr>
        <p:xfrm>
          <a:off x="875924" y="2255336"/>
          <a:ext cx="6097508" cy="348557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11" name="Diagram 10">
            <a:extLst>
              <a:ext uri="{FF2B5EF4-FFF2-40B4-BE49-F238E27FC236}">
                <a16:creationId xmlns:a16="http://schemas.microsoft.com/office/drawing/2014/main" id="{F4D05696-3BA4-176E-39C6-056D400013A8}"/>
              </a:ext>
            </a:extLst>
          </p:cNvPr>
          <p:cNvGraphicFramePr/>
          <p:nvPr>
            <p:extLst>
              <p:ext uri="{D42A27DB-BD31-4B8C-83A1-F6EECF244321}">
                <p14:modId xmlns:p14="http://schemas.microsoft.com/office/powerpoint/2010/main" val="90285351"/>
              </p:ext>
            </p:extLst>
          </p:nvPr>
        </p:nvGraphicFramePr>
        <p:xfrm>
          <a:off x="7380513" y="1840804"/>
          <a:ext cx="4592580" cy="4230834"/>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Tree>
    <p:extLst>
      <p:ext uri="{BB962C8B-B14F-4D97-AF65-F5344CB8AC3E}">
        <p14:creationId xmlns:p14="http://schemas.microsoft.com/office/powerpoint/2010/main" val="1818603305"/>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4ABB9A-8381-E048-B51B-ADFD36312BC9}"/>
              </a:ext>
            </a:extLst>
          </p:cNvPr>
          <p:cNvSpPr>
            <a:spLocks noGrp="1"/>
          </p:cNvSpPr>
          <p:nvPr>
            <p:ph type="ctrTitle"/>
          </p:nvPr>
        </p:nvSpPr>
        <p:spPr>
          <a:xfrm>
            <a:off x="2841774" y="2139580"/>
            <a:ext cx="6508451" cy="2578840"/>
          </a:xfrm>
        </p:spPr>
        <p:txBody>
          <a:bodyPr>
            <a:noAutofit/>
          </a:bodyPr>
          <a:lstStyle/>
          <a:p>
            <a:pPr>
              <a:defRPr sz="6000" b="1"/>
            </a:pPr>
            <a:r>
              <a:t>Ulaşım Planlama Örnekleri ve En İyi Uygulamalar </a:t>
            </a:r>
          </a:p>
        </p:txBody>
      </p:sp>
    </p:spTree>
    <p:extLst>
      <p:ext uri="{BB962C8B-B14F-4D97-AF65-F5344CB8AC3E}">
        <p14:creationId xmlns:p14="http://schemas.microsoft.com/office/powerpoint/2010/main" val="23961428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ekstniOkvir 3">
            <a:extLst>
              <a:ext uri="{FF2B5EF4-FFF2-40B4-BE49-F238E27FC236}">
                <a16:creationId xmlns:a16="http://schemas.microsoft.com/office/drawing/2014/main" id="{F5953A16-2A94-48C9-F753-5102C786BC9C}"/>
              </a:ext>
            </a:extLst>
          </p:cNvPr>
          <p:cNvSpPr txBox="1"/>
          <p:nvPr/>
        </p:nvSpPr>
        <p:spPr>
          <a:xfrm>
            <a:off x="-33102" y="1474891"/>
            <a:ext cx="6129102" cy="584775"/>
          </a:xfrm>
          <a:prstGeom prst="rect">
            <a:avLst/>
          </a:prstGeom>
          <a:noFill/>
        </p:spPr>
        <p:txBody>
          <a:bodyPr wrap="square">
            <a:spAutoFit/>
          </a:bodyPr>
          <a:lstStyle/>
          <a:p>
            <a:pPr algn="ctr">
              <a:defRPr sz="3200" b="1"/>
            </a:pPr>
            <a:r>
              <a:rPr dirty="0"/>
              <a:t>Ulaşım </a:t>
            </a:r>
            <a:r>
              <a:rPr dirty="0" err="1"/>
              <a:t>Planlama</a:t>
            </a:r>
            <a:r>
              <a:rPr dirty="0"/>
              <a:t> </a:t>
            </a:r>
            <a:r>
              <a:rPr dirty="0" err="1"/>
              <a:t>Süreci</a:t>
            </a:r>
            <a:endParaRPr lang="hr-HR" sz="3200" b="1" dirty="0">
              <a:ea typeface="MS Mincho" panose="02020609040205080304" pitchFamily="49" charset="-128"/>
              <a:cs typeface="Calibri" panose="020F0502020204030204" pitchFamily="34" charset="0"/>
            </a:endParaRPr>
          </a:p>
        </p:txBody>
      </p:sp>
      <p:sp>
        <p:nvSpPr>
          <p:cNvPr id="3" name="Rectangle 2">
            <a:extLst>
              <a:ext uri="{FF2B5EF4-FFF2-40B4-BE49-F238E27FC236}">
                <a16:creationId xmlns:a16="http://schemas.microsoft.com/office/drawing/2014/main" id="{2278D82C-4A43-2A76-305C-8AA7A4B19DCE}"/>
              </a:ext>
            </a:extLst>
          </p:cNvPr>
          <p:cNvSpPr>
            <a:spLocks noChangeArrowheads="1"/>
          </p:cNvSpPr>
          <p:nvPr/>
        </p:nvSpPr>
        <p:spPr bwMode="auto">
          <a:xfrm>
            <a:off x="641334" y="2548908"/>
            <a:ext cx="4941319" cy="258532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pPr marL="0" marR="0" lvl="0" indent="0" algn="just" defTabSz="914400" rtl="0" eaLnBrk="0" fontAlgn="base" latinLnBrk="0" hangingPunct="0">
              <a:lnSpc>
                <a:spcPct val="100000"/>
              </a:lnSpc>
              <a:spcBef>
                <a:spcPct val="0"/>
              </a:spcBef>
              <a:spcAft>
                <a:spcPct val="0"/>
              </a:spcAft>
              <a:buClrTx/>
              <a:buSzTx/>
              <a:tabLst/>
              <a:defRPr altLang="en-US" sz="1800">
                <a:ln>
                  <a:noFill/>
                </a:ln>
                <a:solidFill>
                  <a:schemeClr val="tx1"/>
                </a:solidFill>
                <a:effectLst/>
              </a:defRPr>
            </a:pPr>
            <a:r>
              <a:rPr dirty="0" err="1"/>
              <a:t>Adım</a:t>
            </a:r>
            <a:r>
              <a:rPr dirty="0"/>
              <a:t> 5: </a:t>
            </a:r>
            <a:r>
              <a:rPr dirty="0" err="1"/>
              <a:t>Uygulama</a:t>
            </a:r>
            <a:r>
              <a:rPr dirty="0"/>
              <a:t> </a:t>
            </a:r>
            <a:r>
              <a:rPr dirty="0" err="1"/>
              <a:t>ve</a:t>
            </a:r>
            <a:r>
              <a:rPr dirty="0"/>
              <a:t> </a:t>
            </a:r>
            <a:r>
              <a:rPr dirty="0" err="1"/>
              <a:t>Değerlendirme</a:t>
            </a:r>
            <a:r>
              <a:rPr dirty="0"/>
              <a:t>:</a:t>
            </a:r>
          </a:p>
          <a:p>
            <a:pPr marL="0" marR="0" lvl="0" indent="0" algn="just" defTabSz="914400" rtl="0" eaLnBrk="0" fontAlgn="base" latinLnBrk="0" hangingPunct="0">
              <a:lnSpc>
                <a:spcPct val="100000"/>
              </a:lnSpc>
              <a:spcBef>
                <a:spcPct val="0"/>
              </a:spcBef>
              <a:spcAft>
                <a:spcPct val="0"/>
              </a:spcAft>
              <a:buClrTx/>
              <a:buSzTx/>
              <a:tabLst/>
            </a:pPr>
            <a:endParaRPr kumimoji="0" lang="en-US" altLang="en-US" sz="1800" b="0" i="0" u="none" strike="noStrike" cap="none" normalizeH="0" baseline="0" dirty="0">
              <a:ln>
                <a:noFill/>
              </a:ln>
              <a:solidFill>
                <a:schemeClr val="tx1"/>
              </a:solidFill>
              <a:effectLst/>
            </a:endParaRPr>
          </a:p>
          <a:p>
            <a:pPr marL="285750" marR="0" lvl="0" indent="-285750" algn="just" defTabSz="914400" rtl="0" eaLnBrk="0" fontAlgn="base" latinLnBrk="0" hangingPunct="0">
              <a:lnSpc>
                <a:spcPct val="100000"/>
              </a:lnSpc>
              <a:spcBef>
                <a:spcPct val="0"/>
              </a:spcBef>
              <a:spcAft>
                <a:spcPct val="0"/>
              </a:spcAft>
              <a:buClrTx/>
              <a:buSzTx/>
              <a:buFont typeface="Arial" panose="020B0604020202020204" pitchFamily="34" charset="0"/>
              <a:buChar char="•"/>
              <a:tabLst/>
              <a:defRPr altLang="en-US" sz="1800">
                <a:ln>
                  <a:noFill/>
                </a:ln>
                <a:solidFill>
                  <a:schemeClr val="tx1"/>
                </a:solidFill>
                <a:effectLst/>
              </a:defRPr>
            </a:pPr>
            <a:r>
              <a:rPr dirty="0" err="1"/>
              <a:t>Önceliklendirilmiş</a:t>
            </a:r>
            <a:r>
              <a:rPr dirty="0"/>
              <a:t> </a:t>
            </a:r>
            <a:r>
              <a:rPr dirty="0" err="1"/>
              <a:t>proje</a:t>
            </a:r>
            <a:r>
              <a:rPr dirty="0"/>
              <a:t>, </a:t>
            </a:r>
            <a:r>
              <a:rPr dirty="0" err="1"/>
              <a:t>politika</a:t>
            </a:r>
            <a:r>
              <a:rPr dirty="0"/>
              <a:t> </a:t>
            </a:r>
            <a:r>
              <a:rPr dirty="0" err="1"/>
              <a:t>ve</a:t>
            </a:r>
            <a:r>
              <a:rPr dirty="0"/>
              <a:t> program </a:t>
            </a:r>
            <a:r>
              <a:rPr dirty="0" err="1"/>
              <a:t>listeleri</a:t>
            </a:r>
            <a:r>
              <a:rPr dirty="0"/>
              <a:t> </a:t>
            </a:r>
            <a:r>
              <a:rPr lang="tr-TR" dirty="0"/>
              <a:t>hazırlanır ve</a:t>
            </a:r>
            <a:r>
              <a:rPr dirty="0"/>
              <a:t> </a:t>
            </a:r>
            <a:r>
              <a:rPr dirty="0" err="1"/>
              <a:t>bir</a:t>
            </a:r>
            <a:r>
              <a:rPr dirty="0"/>
              <a:t> </a:t>
            </a:r>
            <a:r>
              <a:rPr dirty="0" err="1"/>
              <a:t>uygulama</a:t>
            </a:r>
            <a:r>
              <a:rPr dirty="0"/>
              <a:t> </a:t>
            </a:r>
            <a:r>
              <a:rPr dirty="0" err="1"/>
              <a:t>planı</a:t>
            </a:r>
            <a:r>
              <a:rPr dirty="0"/>
              <a:t> </a:t>
            </a:r>
            <a:r>
              <a:rPr dirty="0" err="1"/>
              <a:t>geliştirilir</a:t>
            </a:r>
            <a:r>
              <a:rPr dirty="0"/>
              <a:t>.</a:t>
            </a:r>
            <a:endParaRPr kumimoji="0" lang="hr-HR" altLang="en-US" sz="1800" b="0" i="0" u="none" strike="noStrike" cap="none" normalizeH="0" baseline="0" dirty="0">
              <a:ln>
                <a:noFill/>
              </a:ln>
              <a:solidFill>
                <a:schemeClr val="tx1"/>
              </a:solidFill>
              <a:effectLst/>
            </a:endParaRPr>
          </a:p>
          <a:p>
            <a:pPr marL="285750" marR="0" lvl="0" indent="-285750" algn="just" defTabSz="914400" rtl="0" eaLnBrk="0" fontAlgn="base" latinLnBrk="0" hangingPunct="0">
              <a:lnSpc>
                <a:spcPct val="100000"/>
              </a:lnSpc>
              <a:spcBef>
                <a:spcPct val="0"/>
              </a:spcBef>
              <a:spcAft>
                <a:spcPct val="0"/>
              </a:spcAft>
              <a:buClrTx/>
              <a:buSzTx/>
              <a:buFont typeface="Arial" panose="020B0604020202020204" pitchFamily="34" charset="0"/>
              <a:buChar char="•"/>
              <a:tabLst/>
              <a:defRPr altLang="en-US" sz="1800">
                <a:ln>
                  <a:noFill/>
                </a:ln>
                <a:solidFill>
                  <a:schemeClr val="tx1"/>
                </a:solidFill>
                <a:effectLst/>
              </a:defRPr>
            </a:pPr>
            <a:r>
              <a:rPr dirty="0"/>
              <a:t>Ulaşım </a:t>
            </a:r>
            <a:r>
              <a:rPr dirty="0" err="1"/>
              <a:t>planının</a:t>
            </a:r>
            <a:r>
              <a:rPr dirty="0"/>
              <a:t> </a:t>
            </a:r>
            <a:r>
              <a:rPr dirty="0" err="1"/>
              <a:t>etkinliği</a:t>
            </a:r>
            <a:r>
              <a:rPr dirty="0"/>
              <a:t> </a:t>
            </a:r>
            <a:r>
              <a:rPr dirty="0" err="1"/>
              <a:t>sürekli</a:t>
            </a:r>
            <a:r>
              <a:rPr dirty="0"/>
              <a:t> </a:t>
            </a:r>
            <a:r>
              <a:rPr dirty="0" err="1"/>
              <a:t>olarak</a:t>
            </a:r>
            <a:r>
              <a:rPr dirty="0"/>
              <a:t> </a:t>
            </a:r>
            <a:r>
              <a:rPr dirty="0" err="1"/>
              <a:t>izlenir</a:t>
            </a:r>
            <a:r>
              <a:rPr lang="tr-TR" dirty="0"/>
              <a:t>, </a:t>
            </a:r>
            <a:r>
              <a:rPr dirty="0" err="1"/>
              <a:t>değerlendirilir</a:t>
            </a:r>
            <a:r>
              <a:rPr dirty="0"/>
              <a:t> </a:t>
            </a:r>
            <a:r>
              <a:rPr dirty="0" err="1"/>
              <a:t>ve</a:t>
            </a:r>
            <a:r>
              <a:rPr dirty="0"/>
              <a:t> </a:t>
            </a:r>
            <a:r>
              <a:rPr dirty="0" err="1"/>
              <a:t>gerektiğinde</a:t>
            </a:r>
            <a:r>
              <a:rPr dirty="0"/>
              <a:t> </a:t>
            </a:r>
            <a:r>
              <a:rPr lang="tr-TR" dirty="0"/>
              <a:t>düzenlemeler</a:t>
            </a:r>
            <a:r>
              <a:rPr dirty="0"/>
              <a:t> </a:t>
            </a:r>
            <a:r>
              <a:rPr dirty="0" err="1"/>
              <a:t>yapılır</a:t>
            </a:r>
            <a:r>
              <a:rPr dirty="0"/>
              <a:t>.</a:t>
            </a: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a:ln>
                <a:noFill/>
              </a:ln>
              <a:solidFill>
                <a:schemeClr val="tx1"/>
              </a:solidFill>
              <a:effectLst/>
            </a:endParaRPr>
          </a:p>
        </p:txBody>
      </p:sp>
      <p:pic>
        <p:nvPicPr>
          <p:cNvPr id="4" name="Picture 3" descr="A group of people working on a project  Description automatically generated with low confidence">
            <a:extLst>
              <a:ext uri="{FF2B5EF4-FFF2-40B4-BE49-F238E27FC236}">
                <a16:creationId xmlns:a16="http://schemas.microsoft.com/office/drawing/2014/main" id="{C18424A9-D637-2720-0BF2-995A1A8DCB9E}"/>
              </a:ext>
            </a:extLst>
          </p:cNvPr>
          <p:cNvPicPr>
            <a:picLocks noChangeAspect="1"/>
          </p:cNvPicPr>
          <p:nvPr/>
        </p:nvPicPr>
        <p:blipFill>
          <a:blip r:embed="rId4"/>
          <a:stretch>
            <a:fillRect/>
          </a:stretch>
        </p:blipFill>
        <p:spPr>
          <a:xfrm>
            <a:off x="5767095" y="2059666"/>
            <a:ext cx="5948265" cy="3965510"/>
          </a:xfrm>
          <a:prstGeom prst="rect">
            <a:avLst/>
          </a:prstGeom>
          <a:effectLst>
            <a:softEdge rad="635000"/>
          </a:effectLst>
        </p:spPr>
      </p:pic>
    </p:spTree>
    <p:extLst>
      <p:ext uri="{BB962C8B-B14F-4D97-AF65-F5344CB8AC3E}">
        <p14:creationId xmlns:p14="http://schemas.microsoft.com/office/powerpoint/2010/main" val="91405737"/>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A23527C1-AE30-8656-658F-3496FB3F510B}"/>
              </a:ext>
            </a:extLst>
          </p:cNvPr>
          <p:cNvSpPr txBox="1"/>
          <p:nvPr/>
        </p:nvSpPr>
        <p:spPr>
          <a:xfrm>
            <a:off x="0" y="927112"/>
            <a:ext cx="5864013" cy="584775"/>
          </a:xfrm>
          <a:prstGeom prst="rect">
            <a:avLst/>
          </a:prstGeom>
          <a:noFill/>
        </p:spPr>
        <p:txBody>
          <a:bodyPr wrap="square">
            <a:spAutoFit/>
          </a:bodyPr>
          <a:lstStyle/>
          <a:p>
            <a:pPr>
              <a:defRPr sz="3200"/>
            </a:pPr>
            <a:r>
              <a:t>Oslo, Norveç hareketlilik planı</a:t>
            </a:r>
            <a:endParaRPr lang="en-US" sz="3200" dirty="0"/>
          </a:p>
        </p:txBody>
      </p:sp>
      <p:graphicFrame>
        <p:nvGraphicFramePr>
          <p:cNvPr id="6" name="Diagram 5">
            <a:extLst>
              <a:ext uri="{FF2B5EF4-FFF2-40B4-BE49-F238E27FC236}">
                <a16:creationId xmlns:a16="http://schemas.microsoft.com/office/drawing/2014/main" id="{686C25E4-65B7-DDCA-826F-94C7965A1177}"/>
              </a:ext>
            </a:extLst>
          </p:cNvPr>
          <p:cNvGraphicFramePr/>
          <p:nvPr>
            <p:extLst>
              <p:ext uri="{D42A27DB-BD31-4B8C-83A1-F6EECF244321}">
                <p14:modId xmlns:p14="http://schemas.microsoft.com/office/powerpoint/2010/main" val="807380944"/>
              </p:ext>
            </p:extLst>
          </p:nvPr>
        </p:nvGraphicFramePr>
        <p:xfrm>
          <a:off x="135802" y="1814599"/>
          <a:ext cx="6174462" cy="397031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pic>
        <p:nvPicPr>
          <p:cNvPr id="9" name="Picture 8" descr="A picture containing child art, cartoon, clipart, art  Description automatically generated">
            <a:extLst>
              <a:ext uri="{FF2B5EF4-FFF2-40B4-BE49-F238E27FC236}">
                <a16:creationId xmlns:a16="http://schemas.microsoft.com/office/drawing/2014/main" id="{E185B93A-A8DB-5AAE-99DF-38ABC0553B38}"/>
              </a:ext>
            </a:extLst>
          </p:cNvPr>
          <p:cNvPicPr>
            <a:picLocks noChangeAspect="1"/>
          </p:cNvPicPr>
          <p:nvPr/>
        </p:nvPicPr>
        <p:blipFill>
          <a:blip r:embed="rId9"/>
          <a:stretch>
            <a:fillRect/>
          </a:stretch>
        </p:blipFill>
        <p:spPr>
          <a:xfrm>
            <a:off x="6691249" y="4276920"/>
            <a:ext cx="3224275" cy="1592036"/>
          </a:xfrm>
          <a:prstGeom prst="rect">
            <a:avLst/>
          </a:prstGeom>
        </p:spPr>
      </p:pic>
      <p:pic>
        <p:nvPicPr>
          <p:cNvPr id="12" name="Picture 11" descr="A picture containing text, diagram, map, font  Description automatically generated">
            <a:extLst>
              <a:ext uri="{FF2B5EF4-FFF2-40B4-BE49-F238E27FC236}">
                <a16:creationId xmlns:a16="http://schemas.microsoft.com/office/drawing/2014/main" id="{D7EA8F2D-3614-3ADC-52BA-4F077A6911B8}"/>
              </a:ext>
            </a:extLst>
          </p:cNvPr>
          <p:cNvPicPr>
            <a:picLocks noChangeAspect="1"/>
          </p:cNvPicPr>
          <p:nvPr/>
        </p:nvPicPr>
        <p:blipFill>
          <a:blip r:embed="rId10"/>
          <a:stretch>
            <a:fillRect/>
          </a:stretch>
        </p:blipFill>
        <p:spPr>
          <a:xfrm>
            <a:off x="7158827" y="1277534"/>
            <a:ext cx="4897371" cy="2781876"/>
          </a:xfrm>
          <a:prstGeom prst="rect">
            <a:avLst/>
          </a:prstGeom>
        </p:spPr>
      </p:pic>
    </p:spTree>
    <p:extLst>
      <p:ext uri="{BB962C8B-B14F-4D97-AF65-F5344CB8AC3E}">
        <p14:creationId xmlns:p14="http://schemas.microsoft.com/office/powerpoint/2010/main" val="248291607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2" name="Diagram 1">
            <a:extLst>
              <a:ext uri="{FF2B5EF4-FFF2-40B4-BE49-F238E27FC236}">
                <a16:creationId xmlns:a16="http://schemas.microsoft.com/office/drawing/2014/main" id="{26EACA31-769C-1D6D-F61A-5D1F868348C6}"/>
              </a:ext>
            </a:extLst>
          </p:cNvPr>
          <p:cNvGraphicFramePr/>
          <p:nvPr>
            <p:extLst>
              <p:ext uri="{D42A27DB-BD31-4B8C-83A1-F6EECF244321}">
                <p14:modId xmlns:p14="http://schemas.microsoft.com/office/powerpoint/2010/main" val="11024643"/>
              </p:ext>
            </p:extLst>
          </p:nvPr>
        </p:nvGraphicFramePr>
        <p:xfrm>
          <a:off x="694854" y="1809184"/>
          <a:ext cx="6206150" cy="393071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 name="TextBox 3">
            <a:extLst>
              <a:ext uri="{FF2B5EF4-FFF2-40B4-BE49-F238E27FC236}">
                <a16:creationId xmlns:a16="http://schemas.microsoft.com/office/drawing/2014/main" id="{36579901-8DD6-7107-6511-9C5C7F223E83}"/>
              </a:ext>
            </a:extLst>
          </p:cNvPr>
          <p:cNvSpPr txBox="1"/>
          <p:nvPr/>
        </p:nvSpPr>
        <p:spPr>
          <a:xfrm>
            <a:off x="260287" y="817767"/>
            <a:ext cx="6097508" cy="584775"/>
          </a:xfrm>
          <a:prstGeom prst="rect">
            <a:avLst/>
          </a:prstGeom>
          <a:noFill/>
        </p:spPr>
        <p:txBody>
          <a:bodyPr wrap="square">
            <a:spAutoFit/>
          </a:bodyPr>
          <a:lstStyle/>
          <a:p>
            <a:pPr>
              <a:defRPr sz="3200"/>
            </a:pPr>
            <a:r>
              <a:rPr dirty="0" err="1"/>
              <a:t>Curitiba'nın</a:t>
            </a:r>
            <a:r>
              <a:rPr dirty="0"/>
              <a:t> </a:t>
            </a:r>
            <a:r>
              <a:rPr dirty="0" err="1"/>
              <a:t>Hareketlilik</a:t>
            </a:r>
            <a:r>
              <a:rPr dirty="0"/>
              <a:t> Planı</a:t>
            </a:r>
          </a:p>
        </p:txBody>
      </p:sp>
      <p:pic>
        <p:nvPicPr>
          <p:cNvPr id="6" name="Picture 5" descr="A group of people crossing a street  Description automatically generated with medium confidence">
            <a:extLst>
              <a:ext uri="{FF2B5EF4-FFF2-40B4-BE49-F238E27FC236}">
                <a16:creationId xmlns:a16="http://schemas.microsoft.com/office/drawing/2014/main" id="{E1DE3C9E-38E1-CDC5-87C4-939F512A38A0}"/>
              </a:ext>
            </a:extLst>
          </p:cNvPr>
          <p:cNvPicPr>
            <a:picLocks noChangeAspect="1"/>
          </p:cNvPicPr>
          <p:nvPr/>
        </p:nvPicPr>
        <p:blipFill>
          <a:blip r:embed="rId9"/>
          <a:stretch>
            <a:fillRect/>
          </a:stretch>
        </p:blipFill>
        <p:spPr>
          <a:xfrm>
            <a:off x="7791062" y="1063691"/>
            <a:ext cx="4316963" cy="4978232"/>
          </a:xfrm>
          <a:prstGeom prst="rect">
            <a:avLst/>
          </a:prstGeom>
        </p:spPr>
      </p:pic>
    </p:spTree>
    <p:extLst>
      <p:ext uri="{BB962C8B-B14F-4D97-AF65-F5344CB8AC3E}">
        <p14:creationId xmlns:p14="http://schemas.microsoft.com/office/powerpoint/2010/main" val="3305703744"/>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F163B2D8-80D2-3E56-488A-1447091F5D3B}"/>
              </a:ext>
            </a:extLst>
          </p:cNvPr>
          <p:cNvSpPr txBox="1"/>
          <p:nvPr/>
        </p:nvSpPr>
        <p:spPr>
          <a:xfrm>
            <a:off x="97326" y="847429"/>
            <a:ext cx="6097508" cy="584775"/>
          </a:xfrm>
          <a:prstGeom prst="rect">
            <a:avLst/>
          </a:prstGeom>
          <a:noFill/>
        </p:spPr>
        <p:txBody>
          <a:bodyPr wrap="square">
            <a:spAutoFit/>
          </a:bodyPr>
          <a:lstStyle/>
          <a:p>
            <a:pPr>
              <a:defRPr sz="3200"/>
            </a:pPr>
            <a:r>
              <a:t>Tokyo Hareketlilik Planı</a:t>
            </a:r>
          </a:p>
        </p:txBody>
      </p:sp>
      <p:sp>
        <p:nvSpPr>
          <p:cNvPr id="5" name="TextBox 4">
            <a:extLst>
              <a:ext uri="{FF2B5EF4-FFF2-40B4-BE49-F238E27FC236}">
                <a16:creationId xmlns:a16="http://schemas.microsoft.com/office/drawing/2014/main" id="{64C29AE0-53FF-841D-EAF9-F276256D7762}"/>
              </a:ext>
            </a:extLst>
          </p:cNvPr>
          <p:cNvSpPr txBox="1"/>
          <p:nvPr/>
        </p:nvSpPr>
        <p:spPr>
          <a:xfrm>
            <a:off x="381000" y="1864846"/>
            <a:ext cx="6129196" cy="4185761"/>
          </a:xfrm>
          <a:prstGeom prst="rect">
            <a:avLst/>
          </a:prstGeom>
          <a:noFill/>
        </p:spPr>
        <p:txBody>
          <a:bodyPr wrap="square">
            <a:spAutoFit/>
          </a:bodyPr>
          <a:lstStyle/>
          <a:p>
            <a:pPr algn="just">
              <a:defRPr sz="1400"/>
            </a:pPr>
            <a:r>
              <a:t>Tokyo'nun başkenti Japonya tren, otobüs ve metro'yu kapsayan verimli ve kapsamlı toplu taşıma sistemi ile tanınır. Şehrin ulaşım planlaması kesintisiz bir seyahat için farklı ulaşım türlerini entegre etmeye odaklanır. İşte neler yapıldığına dair bazı örnekler:</a:t>
            </a:r>
            <a:endParaRPr lang="hr-HR" sz="1400" dirty="0"/>
          </a:p>
          <a:p>
            <a:pPr algn="just"/>
            <a:endParaRPr lang="en-US" sz="1400" dirty="0"/>
          </a:p>
          <a:p>
            <a:pPr marL="285750" indent="-285750" algn="just">
              <a:buFont typeface="Arial" panose="020B0604020202020204" pitchFamily="34" charset="0"/>
              <a:buChar char="•"/>
              <a:defRPr sz="1400"/>
            </a:pPr>
            <a:r>
              <a:rPr b="1"/>
              <a:t>Tokyo Metrosu:</a:t>
            </a:r>
            <a:r>
              <a:t> Tokyo'nun Tokyo Metrosu olarak bilinen metro sistemi, yıllık 3 milyardan fazla yolcusuyla dünyanın en işlek metrolarından biridir. 13 hat ve 285 istasyonu kapsar, bu da tokyo metrosunu dünyanın en kapsamlı metro istasyonlarından biri yapar. Metro sistemi dakik olması ile meşhurdur ve trenler genellikle %99'luk bir oranda düzenli olarak çalışır.</a:t>
            </a:r>
          </a:p>
          <a:p>
            <a:pPr marL="285750" indent="-285750" algn="just">
              <a:buFont typeface="Arial" panose="020B0604020202020204" pitchFamily="34" charset="0"/>
              <a:buChar char="•"/>
              <a:defRPr sz="1400"/>
            </a:pPr>
            <a:r>
              <a:rPr b="1"/>
              <a:t>Yüksek Hızlı Demiryolu:</a:t>
            </a:r>
            <a:r>
              <a:t>Japonya, büyük şehirleri birbirine bağlayan ve 320 km/s hıza kadar çıkabilen yüksek hızlı demiryolu sistemi Shinkansen ile tanınmaktadır. Shinkansen, trafik yoğunluğunu azaltma ve bölgesel kalkınmayı teşvik etme konusunda önemli bir rol üstlenmektedir.</a:t>
            </a:r>
          </a:p>
          <a:p>
            <a:pPr marL="285750" indent="-285750" algn="just">
              <a:buFont typeface="Arial" panose="020B0604020202020204" pitchFamily="34" charset="0"/>
              <a:buChar char="•"/>
              <a:defRPr sz="1400"/>
            </a:pPr>
            <a:r>
              <a:rPr b="1"/>
              <a:t>Yaya Dostu Alanlar: </a:t>
            </a:r>
            <a:r>
              <a:t>Tokyo, hafta sonları trafiğe kapalı olan Ginza bölgesi ve geniş yürüyüş yolları ve yeşil alanları ile tanınan Omotesando caddesi dahil çeşitli yaya dostu alanları barındırır. Şehir ayrıca tüm trafik ışıklarının aynı anda kırmızıya döndüğü ve yayaların her yöne geçişine izin veren tüm yönlere yaya geçidi sistemini de uygular.</a:t>
            </a:r>
          </a:p>
        </p:txBody>
      </p:sp>
      <p:pic>
        <p:nvPicPr>
          <p:cNvPr id="8" name="Picture 7" descr="A picture containing font, graphics, logo, text  Description automatically generated">
            <a:extLst>
              <a:ext uri="{FF2B5EF4-FFF2-40B4-BE49-F238E27FC236}">
                <a16:creationId xmlns:a16="http://schemas.microsoft.com/office/drawing/2014/main" id="{A26CDDFC-2D23-C6B2-CEE3-12C1F71D6527}"/>
              </a:ext>
            </a:extLst>
          </p:cNvPr>
          <p:cNvPicPr>
            <a:picLocks noChangeAspect="1"/>
          </p:cNvPicPr>
          <p:nvPr/>
        </p:nvPicPr>
        <p:blipFill>
          <a:blip r:embed="rId4"/>
          <a:stretch>
            <a:fillRect/>
          </a:stretch>
        </p:blipFill>
        <p:spPr>
          <a:xfrm>
            <a:off x="9141512" y="1013045"/>
            <a:ext cx="2953162" cy="838317"/>
          </a:xfrm>
          <a:prstGeom prst="rect">
            <a:avLst/>
          </a:prstGeom>
        </p:spPr>
      </p:pic>
      <p:pic>
        <p:nvPicPr>
          <p:cNvPr id="10" name="Picture 9" descr="A map of a subway system  Description automatically generated with low confidence">
            <a:extLst>
              <a:ext uri="{FF2B5EF4-FFF2-40B4-BE49-F238E27FC236}">
                <a16:creationId xmlns:a16="http://schemas.microsoft.com/office/drawing/2014/main" id="{1EE57B14-A5C1-0223-13B7-C642904D4AE5}"/>
              </a:ext>
            </a:extLst>
          </p:cNvPr>
          <p:cNvPicPr>
            <a:picLocks noChangeAspect="1"/>
          </p:cNvPicPr>
          <p:nvPr/>
        </p:nvPicPr>
        <p:blipFill>
          <a:blip r:embed="rId5"/>
          <a:stretch>
            <a:fillRect/>
          </a:stretch>
        </p:blipFill>
        <p:spPr>
          <a:xfrm>
            <a:off x="6510196" y="1947210"/>
            <a:ext cx="5681804" cy="4015051"/>
          </a:xfrm>
          <a:prstGeom prst="rect">
            <a:avLst/>
          </a:prstGeom>
        </p:spPr>
      </p:pic>
    </p:spTree>
    <p:extLst>
      <p:ext uri="{BB962C8B-B14F-4D97-AF65-F5344CB8AC3E}">
        <p14:creationId xmlns:p14="http://schemas.microsoft.com/office/powerpoint/2010/main" val="1742136960"/>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7" name="Title 5">
            <a:extLst>
              <a:ext uri="{FF2B5EF4-FFF2-40B4-BE49-F238E27FC236}">
                <a16:creationId xmlns:a16="http://schemas.microsoft.com/office/drawing/2014/main" id="{7E4C639C-D2F2-9171-6063-F93DA2F9A64D}"/>
              </a:ext>
            </a:extLst>
          </p:cNvPr>
          <p:cNvSpPr txBox="1">
            <a:spLocks/>
          </p:cNvSpPr>
          <p:nvPr/>
        </p:nvSpPr>
        <p:spPr>
          <a:xfrm>
            <a:off x="7059830" y="2001095"/>
            <a:ext cx="4937414" cy="3011989"/>
          </a:xfrm>
          <a:prstGeom prst="rect">
            <a:avLst/>
          </a:prstGeom>
        </p:spPr>
        <p:txBody>
          <a:bodyPr vert="horz" lIns="91440" tIns="45720" rIns="91440" bIns="4572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spcAft>
                <a:spcPts val="600"/>
              </a:spcAft>
              <a:defRPr sz="5400" kern="1200">
                <a:solidFill>
                  <a:schemeClr val="tx1"/>
                </a:solidFill>
                <a:effectLst/>
                <a:latin typeface="+mj-lt"/>
                <a:ea typeface="+mj-ea"/>
                <a:cs typeface="+mj-cs"/>
              </a:defRPr>
            </a:pPr>
            <a:r>
              <a:t>Soru zamanı</a:t>
            </a:r>
            <a:endParaRPr lang="en-US" sz="5400" kern="1200" dirty="0">
              <a:solidFill>
                <a:schemeClr val="tx1"/>
              </a:solidFill>
              <a:latin typeface="+mj-lt"/>
              <a:ea typeface="+mj-ea"/>
              <a:cs typeface="+mj-cs"/>
            </a:endParaRPr>
          </a:p>
        </p:txBody>
      </p:sp>
      <p:sp>
        <p:nvSpPr>
          <p:cNvPr id="8" name="Rectangle 7">
            <a:extLst>
              <a:ext uri="{FF2B5EF4-FFF2-40B4-BE49-F238E27FC236}">
                <a16:creationId xmlns:a16="http://schemas.microsoft.com/office/drawing/2014/main" id="{EDDF495F-5528-D6D9-7874-6F710C0950A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16200000">
            <a:off x="2645435" y="388575"/>
            <a:ext cx="946160" cy="623703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dirty="0"/>
          </a:p>
        </p:txBody>
      </p:sp>
      <p:sp>
        <p:nvSpPr>
          <p:cNvPr id="9" name="Rectangle 8">
            <a:extLst>
              <a:ext uri="{FF2B5EF4-FFF2-40B4-BE49-F238E27FC236}">
                <a16:creationId xmlns:a16="http://schemas.microsoft.com/office/drawing/2014/main" id="{69DA48F8-F832-B74D-6DED-5A16485FEA9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94756" y="1473958"/>
            <a:ext cx="5563506" cy="4449170"/>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pic>
        <p:nvPicPr>
          <p:cNvPr id="10" name="Picture 9" descr="A group of question marks on a blue background  Description automatically generated with medium confidence">
            <a:extLst>
              <a:ext uri="{FF2B5EF4-FFF2-40B4-BE49-F238E27FC236}">
                <a16:creationId xmlns:a16="http://schemas.microsoft.com/office/drawing/2014/main" id="{39EA272E-4B5C-F410-300C-E1B12C830F3B}"/>
              </a:ext>
            </a:extLst>
          </p:cNvPr>
          <p:cNvPicPr>
            <a:picLocks noChangeAspect="1"/>
          </p:cNvPicPr>
          <p:nvPr/>
        </p:nvPicPr>
        <p:blipFill rotWithShape="1">
          <a:blip r:embed="rId4"/>
          <a:srcRect l="28640" r="2" b="2"/>
          <a:stretch/>
        </p:blipFill>
        <p:spPr>
          <a:xfrm>
            <a:off x="403547" y="1726954"/>
            <a:ext cx="2410662" cy="3946684"/>
          </a:xfrm>
          <a:prstGeom prst="rect">
            <a:avLst/>
          </a:prstGeom>
        </p:spPr>
      </p:pic>
      <p:pic>
        <p:nvPicPr>
          <p:cNvPr id="11" name="Picture 10" descr="A picture containing text, screenshot, font, graphics  Description automatically generated">
            <a:extLst>
              <a:ext uri="{FF2B5EF4-FFF2-40B4-BE49-F238E27FC236}">
                <a16:creationId xmlns:a16="http://schemas.microsoft.com/office/drawing/2014/main" id="{E08398FA-43FA-3DB0-327F-EF9FE56DA2B3}"/>
              </a:ext>
            </a:extLst>
          </p:cNvPr>
          <p:cNvPicPr>
            <a:picLocks noChangeAspect="1"/>
          </p:cNvPicPr>
          <p:nvPr/>
        </p:nvPicPr>
        <p:blipFill rotWithShape="1">
          <a:blip r:embed="rId5"/>
          <a:srcRect t="26733" r="5" b="5281"/>
          <a:stretch/>
        </p:blipFill>
        <p:spPr>
          <a:xfrm rot="21600000">
            <a:off x="3091975" y="1726953"/>
            <a:ext cx="2388521" cy="1623957"/>
          </a:xfrm>
          <a:prstGeom prst="rect">
            <a:avLst/>
          </a:prstGeom>
        </p:spPr>
      </p:pic>
      <p:pic>
        <p:nvPicPr>
          <p:cNvPr id="12" name="Picture 11" descr="A notebook with a question mark on it  Description automatically generated with medium confidence">
            <a:extLst>
              <a:ext uri="{FF2B5EF4-FFF2-40B4-BE49-F238E27FC236}">
                <a16:creationId xmlns:a16="http://schemas.microsoft.com/office/drawing/2014/main" id="{50AC888B-6899-1681-4127-1E355DDAE3B6}"/>
              </a:ext>
            </a:extLst>
          </p:cNvPr>
          <p:cNvPicPr>
            <a:picLocks noChangeAspect="1"/>
          </p:cNvPicPr>
          <p:nvPr/>
        </p:nvPicPr>
        <p:blipFill rotWithShape="1">
          <a:blip r:embed="rId6"/>
          <a:srcRect r="1827" b="3"/>
          <a:stretch/>
        </p:blipFill>
        <p:spPr>
          <a:xfrm>
            <a:off x="3091975" y="4049681"/>
            <a:ext cx="2388520" cy="1623957"/>
          </a:xfrm>
          <a:prstGeom prst="rect">
            <a:avLst/>
          </a:prstGeom>
        </p:spPr>
      </p:pic>
      <p:sp>
        <p:nvSpPr>
          <p:cNvPr id="13" name="Rectangle 12">
            <a:extLst>
              <a:ext uri="{FF2B5EF4-FFF2-40B4-BE49-F238E27FC236}">
                <a16:creationId xmlns:a16="http://schemas.microsoft.com/office/drawing/2014/main" id="{18486190-8B5B-EAC4-F481-99AAE87F18E7}"/>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rot="5400000">
            <a:off x="6217043" y="3279780"/>
            <a:ext cx="948141" cy="456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p>
        </p:txBody>
      </p:sp>
    </p:spTree>
    <p:extLst>
      <p:ext uri="{BB962C8B-B14F-4D97-AF65-F5344CB8AC3E}">
        <p14:creationId xmlns:p14="http://schemas.microsoft.com/office/powerpoint/2010/main" val="2813756939"/>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4C2B591D-EF57-83FA-0387-27ED080AC1D3}"/>
              </a:ext>
            </a:extLst>
          </p:cNvPr>
          <p:cNvSpPr txBox="1"/>
          <p:nvPr/>
        </p:nvSpPr>
        <p:spPr>
          <a:xfrm>
            <a:off x="3215866" y="3004489"/>
            <a:ext cx="5095215" cy="1446550"/>
          </a:xfrm>
          <a:prstGeom prst="rect">
            <a:avLst/>
          </a:prstGeom>
          <a:noFill/>
        </p:spPr>
        <p:txBody>
          <a:bodyPr wrap="square">
            <a:spAutoFit/>
          </a:bodyPr>
          <a:lstStyle/>
          <a:p>
            <a:pPr algn="ctr">
              <a:defRPr sz="8800" b="1"/>
            </a:pPr>
            <a:r>
              <a:t>Tartışma </a:t>
            </a:r>
          </a:p>
        </p:txBody>
      </p:sp>
      <p:pic>
        <p:nvPicPr>
          <p:cNvPr id="5" name="Picture 4" descr="A group of people standing together  Description automatically generated with medium confidence">
            <a:extLst>
              <a:ext uri="{FF2B5EF4-FFF2-40B4-BE49-F238E27FC236}">
                <a16:creationId xmlns:a16="http://schemas.microsoft.com/office/drawing/2014/main" id="{C4992197-83FF-C9A9-3C0B-81CBE58025E4}"/>
              </a:ext>
            </a:extLst>
          </p:cNvPr>
          <p:cNvPicPr>
            <a:picLocks noChangeAspect="1"/>
          </p:cNvPicPr>
          <p:nvPr/>
        </p:nvPicPr>
        <p:blipFill>
          <a:blip r:embed="rId4"/>
          <a:stretch>
            <a:fillRect/>
          </a:stretch>
        </p:blipFill>
        <p:spPr>
          <a:xfrm>
            <a:off x="3312367" y="4152275"/>
            <a:ext cx="4634204" cy="1833533"/>
          </a:xfrm>
          <a:prstGeom prst="rect">
            <a:avLst/>
          </a:prstGeom>
        </p:spPr>
      </p:pic>
      <p:pic>
        <p:nvPicPr>
          <p:cNvPr id="14" name="Picture 13" descr="A group of people sitting on a bench  Description automatically generated with low confidence">
            <a:extLst>
              <a:ext uri="{FF2B5EF4-FFF2-40B4-BE49-F238E27FC236}">
                <a16:creationId xmlns:a16="http://schemas.microsoft.com/office/drawing/2014/main" id="{AA3E6D1F-7ABB-CCBA-F9D2-6F924BD598A7}"/>
              </a:ext>
            </a:extLst>
          </p:cNvPr>
          <p:cNvPicPr>
            <a:picLocks noChangeAspect="1"/>
          </p:cNvPicPr>
          <p:nvPr/>
        </p:nvPicPr>
        <p:blipFill>
          <a:blip r:embed="rId5"/>
          <a:stretch>
            <a:fillRect/>
          </a:stretch>
        </p:blipFill>
        <p:spPr>
          <a:xfrm rot="19949408">
            <a:off x="272248" y="1782358"/>
            <a:ext cx="4736974" cy="1846733"/>
          </a:xfrm>
          <a:prstGeom prst="rect">
            <a:avLst/>
          </a:prstGeom>
        </p:spPr>
      </p:pic>
      <p:pic>
        <p:nvPicPr>
          <p:cNvPr id="16" name="Picture 15" descr="A group of people standing in front of a puzzle arrow  Description automatically generated with low confidence">
            <a:extLst>
              <a:ext uri="{FF2B5EF4-FFF2-40B4-BE49-F238E27FC236}">
                <a16:creationId xmlns:a16="http://schemas.microsoft.com/office/drawing/2014/main" id="{A8F5AE97-4763-8FC7-6CD8-CD2216D0129F}"/>
              </a:ext>
            </a:extLst>
          </p:cNvPr>
          <p:cNvPicPr>
            <a:picLocks noChangeAspect="1"/>
          </p:cNvPicPr>
          <p:nvPr/>
        </p:nvPicPr>
        <p:blipFill>
          <a:blip r:embed="rId6"/>
          <a:stretch>
            <a:fillRect/>
          </a:stretch>
        </p:blipFill>
        <p:spPr>
          <a:xfrm>
            <a:off x="9092659" y="1278294"/>
            <a:ext cx="2985796" cy="2985796"/>
          </a:xfrm>
          <a:prstGeom prst="round2DiagRect">
            <a:avLst>
              <a:gd name="adj1" fmla="val 50000"/>
              <a:gd name="adj2" fmla="val 0"/>
            </a:avLst>
          </a:prstGeom>
          <a:ln w="88900" cap="sq">
            <a:solidFill>
              <a:srgbClr val="FFFFFF"/>
            </a:solidFill>
            <a:miter lim="800000"/>
          </a:ln>
          <a:effectLst>
            <a:outerShdw blurRad="254000" algn="tl" rotWithShape="0">
              <a:srgbClr val="000000">
                <a:alpha val="43000"/>
              </a:srgbClr>
            </a:outerShdw>
          </a:effectLst>
        </p:spPr>
      </p:pic>
    </p:spTree>
    <p:extLst>
      <p:ext uri="{BB962C8B-B14F-4D97-AF65-F5344CB8AC3E}">
        <p14:creationId xmlns:p14="http://schemas.microsoft.com/office/powerpoint/2010/main" val="22098317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
        <p:nvSpPr>
          <p:cNvPr id="2" name="TekstniOkvir 3">
            <a:extLst>
              <a:ext uri="{FF2B5EF4-FFF2-40B4-BE49-F238E27FC236}">
                <a16:creationId xmlns:a16="http://schemas.microsoft.com/office/drawing/2014/main" id="{DEDBDBDB-13C1-99BF-E860-BD68C15E8FBD}"/>
              </a:ext>
            </a:extLst>
          </p:cNvPr>
          <p:cNvSpPr txBox="1"/>
          <p:nvPr/>
        </p:nvSpPr>
        <p:spPr>
          <a:xfrm>
            <a:off x="419658" y="954801"/>
            <a:ext cx="3368379" cy="1077218"/>
          </a:xfrm>
          <a:prstGeom prst="rect">
            <a:avLst/>
          </a:prstGeom>
          <a:noFill/>
        </p:spPr>
        <p:txBody>
          <a:bodyPr wrap="square">
            <a:spAutoFit/>
          </a:bodyPr>
          <a:lstStyle/>
          <a:p>
            <a:pPr>
              <a:defRPr sz="3200" b="1"/>
            </a:pPr>
            <a:r>
              <a:t>Ulaşım Planlamasında Yaşanan Zorluklar</a:t>
            </a:r>
          </a:p>
        </p:txBody>
      </p:sp>
      <p:graphicFrame>
        <p:nvGraphicFramePr>
          <p:cNvPr id="3" name="Diagram 2">
            <a:extLst>
              <a:ext uri="{FF2B5EF4-FFF2-40B4-BE49-F238E27FC236}">
                <a16:creationId xmlns:a16="http://schemas.microsoft.com/office/drawing/2014/main" id="{4253D52F-A2F5-52B4-5229-8B19AD7C4805}"/>
              </a:ext>
            </a:extLst>
          </p:cNvPr>
          <p:cNvGraphicFramePr/>
          <p:nvPr>
            <p:extLst>
              <p:ext uri="{D42A27DB-BD31-4B8C-83A1-F6EECF244321}">
                <p14:modId xmlns:p14="http://schemas.microsoft.com/office/powerpoint/2010/main" val="3360165302"/>
              </p:ext>
            </p:extLst>
          </p:nvPr>
        </p:nvGraphicFramePr>
        <p:xfrm>
          <a:off x="4263103" y="5204083"/>
          <a:ext cx="3663966" cy="92333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4" name="Diagram 3">
            <a:extLst>
              <a:ext uri="{FF2B5EF4-FFF2-40B4-BE49-F238E27FC236}">
                <a16:creationId xmlns:a16="http://schemas.microsoft.com/office/drawing/2014/main" id="{CA657089-84C9-97C8-8B15-4D803CECC1D1}"/>
              </a:ext>
            </a:extLst>
          </p:cNvPr>
          <p:cNvGraphicFramePr/>
          <p:nvPr>
            <p:extLst>
              <p:ext uri="{D42A27DB-BD31-4B8C-83A1-F6EECF244321}">
                <p14:modId xmlns:p14="http://schemas.microsoft.com/office/powerpoint/2010/main" val="3691901034"/>
              </p:ext>
            </p:extLst>
          </p:nvPr>
        </p:nvGraphicFramePr>
        <p:xfrm>
          <a:off x="3786208" y="1326591"/>
          <a:ext cx="4617757" cy="923330"/>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graphicFrame>
        <p:nvGraphicFramePr>
          <p:cNvPr id="5" name="Diagram 4">
            <a:extLst>
              <a:ext uri="{FF2B5EF4-FFF2-40B4-BE49-F238E27FC236}">
                <a16:creationId xmlns:a16="http://schemas.microsoft.com/office/drawing/2014/main" id="{FC6B0991-2CEF-0EB9-CE70-E862A5BDD40A}"/>
              </a:ext>
            </a:extLst>
          </p:cNvPr>
          <p:cNvGraphicFramePr/>
          <p:nvPr>
            <p:extLst>
              <p:ext uri="{D42A27DB-BD31-4B8C-83A1-F6EECF244321}">
                <p14:modId xmlns:p14="http://schemas.microsoft.com/office/powerpoint/2010/main" val="2390700788"/>
              </p:ext>
            </p:extLst>
          </p:nvPr>
        </p:nvGraphicFramePr>
        <p:xfrm>
          <a:off x="4099222" y="2361414"/>
          <a:ext cx="3993555" cy="923330"/>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graphicFrame>
        <p:nvGraphicFramePr>
          <p:cNvPr id="6" name="Diagram 5">
            <a:extLst>
              <a:ext uri="{FF2B5EF4-FFF2-40B4-BE49-F238E27FC236}">
                <a16:creationId xmlns:a16="http://schemas.microsoft.com/office/drawing/2014/main" id="{8A4C928F-70AA-1F4E-7A5E-9B416756D7C9}"/>
              </a:ext>
            </a:extLst>
          </p:cNvPr>
          <p:cNvGraphicFramePr/>
          <p:nvPr>
            <p:extLst>
              <p:ext uri="{D42A27DB-BD31-4B8C-83A1-F6EECF244321}">
                <p14:modId xmlns:p14="http://schemas.microsoft.com/office/powerpoint/2010/main" val="2483756158"/>
              </p:ext>
            </p:extLst>
          </p:nvPr>
        </p:nvGraphicFramePr>
        <p:xfrm>
          <a:off x="3725187" y="3349345"/>
          <a:ext cx="4743449" cy="923330"/>
        </p:xfrm>
        <a:graphic>
          <a:graphicData uri="http://schemas.openxmlformats.org/drawingml/2006/diagram">
            <dgm:relIds xmlns:dgm="http://schemas.openxmlformats.org/drawingml/2006/diagram" xmlns:r="http://schemas.openxmlformats.org/officeDocument/2006/relationships" r:dm="rId19" r:lo="rId20" r:qs="rId21" r:cs="rId22"/>
          </a:graphicData>
        </a:graphic>
      </p:graphicFrame>
      <p:graphicFrame>
        <p:nvGraphicFramePr>
          <p:cNvPr id="7" name="Diagram 6">
            <a:extLst>
              <a:ext uri="{FF2B5EF4-FFF2-40B4-BE49-F238E27FC236}">
                <a16:creationId xmlns:a16="http://schemas.microsoft.com/office/drawing/2014/main" id="{ABD9471E-0328-2D79-D78F-F1B3D6D9B392}"/>
              </a:ext>
            </a:extLst>
          </p:cNvPr>
          <p:cNvGraphicFramePr/>
          <p:nvPr>
            <p:extLst>
              <p:ext uri="{D42A27DB-BD31-4B8C-83A1-F6EECF244321}">
                <p14:modId xmlns:p14="http://schemas.microsoft.com/office/powerpoint/2010/main" val="2264786325"/>
              </p:ext>
            </p:extLst>
          </p:nvPr>
        </p:nvGraphicFramePr>
        <p:xfrm>
          <a:off x="3828563" y="4337276"/>
          <a:ext cx="4534872" cy="923330"/>
        </p:xfrm>
        <a:graphic>
          <a:graphicData uri="http://schemas.openxmlformats.org/drawingml/2006/diagram">
            <dgm:relIds xmlns:dgm="http://schemas.openxmlformats.org/drawingml/2006/diagram" xmlns:r="http://schemas.openxmlformats.org/officeDocument/2006/relationships" r:dm="rId24" r:lo="rId25" r:qs="rId26" r:cs="rId27"/>
          </a:graphicData>
        </a:graphic>
      </p:graphicFrame>
      <p:pic>
        <p:nvPicPr>
          <p:cNvPr id="8" name="Picture 7">
            <a:extLst>
              <a:ext uri="{FF2B5EF4-FFF2-40B4-BE49-F238E27FC236}">
                <a16:creationId xmlns:a16="http://schemas.microsoft.com/office/drawing/2014/main" id="{FF188A7C-2BA6-A415-D522-C0D5142D1AB2}"/>
              </a:ext>
            </a:extLst>
          </p:cNvPr>
          <p:cNvPicPr>
            <a:picLocks noChangeAspect="1"/>
          </p:cNvPicPr>
          <p:nvPr/>
        </p:nvPicPr>
        <p:blipFill>
          <a:blip r:embed="rId29"/>
          <a:stretch>
            <a:fillRect/>
          </a:stretch>
        </p:blipFill>
        <p:spPr>
          <a:xfrm>
            <a:off x="419658" y="2410476"/>
            <a:ext cx="3735782" cy="3125287"/>
          </a:xfrm>
          <a:prstGeom prst="rect">
            <a:avLst/>
          </a:prstGeom>
        </p:spPr>
      </p:pic>
      <p:pic>
        <p:nvPicPr>
          <p:cNvPr id="9" name="Picture 8" descr="A group of people embling puzzle pieces  Description automatically generated with medium confidence">
            <a:extLst>
              <a:ext uri="{FF2B5EF4-FFF2-40B4-BE49-F238E27FC236}">
                <a16:creationId xmlns:a16="http://schemas.microsoft.com/office/drawing/2014/main" id="{B4C8FC66-2E2F-8CA4-B34E-AFFD234D2694}"/>
              </a:ext>
            </a:extLst>
          </p:cNvPr>
          <p:cNvPicPr>
            <a:picLocks noChangeAspect="1"/>
          </p:cNvPicPr>
          <p:nvPr/>
        </p:nvPicPr>
        <p:blipFill>
          <a:blip r:embed="rId30"/>
          <a:stretch>
            <a:fillRect/>
          </a:stretch>
        </p:blipFill>
        <p:spPr>
          <a:xfrm>
            <a:off x="8102680" y="2520724"/>
            <a:ext cx="3940319" cy="2626879"/>
          </a:xfrm>
          <a:prstGeom prst="rect">
            <a:avLst/>
          </a:prstGeom>
        </p:spPr>
      </p:pic>
    </p:spTree>
    <p:extLst>
      <p:ext uri="{BB962C8B-B14F-4D97-AF65-F5344CB8AC3E}">
        <p14:creationId xmlns:p14="http://schemas.microsoft.com/office/powerpoint/2010/main" val="20452112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zO6rJjzj0OCBINH9wg.W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zO6rJjzj0OCBINH9wg.W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xuSX3saD0KWlOMwWSEyF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zO6rJjzj0OCBINH9wg.W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0fb846bb-49da-442d-ac44-1711760f675e" xsi:nil="true"/>
    <lcf76f155ced4ddcb4097134ff3c332f xmlns="11876741-4e3d-41e4-924e-432c5fed92e0">
      <Terms xmlns="http://schemas.microsoft.com/office/infopath/2007/PartnerControls"/>
    </lcf76f155ced4ddcb4097134ff3c332f>
    <Test xmlns="11876741-4e3d-41e4-924e-432c5fed92e0"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07AE9AADD9055F48A76998BB8EEE9D03" ma:contentTypeVersion="16" ma:contentTypeDescription="Create a new document." ma:contentTypeScope="" ma:versionID="92cc8c224dee57cc6095b87c01b97cd4">
  <xsd:schema xmlns:xsd="http://www.w3.org/2001/XMLSchema" xmlns:xs="http://www.w3.org/2001/XMLSchema" xmlns:p="http://schemas.microsoft.com/office/2006/metadata/properties" xmlns:ns2="11876741-4e3d-41e4-924e-432c5fed92e0" xmlns:ns3="0fb846bb-49da-442d-ac44-1711760f675e" targetNamespace="http://schemas.microsoft.com/office/2006/metadata/properties" ma:root="true" ma:fieldsID="996d42f018d4a339266994aa9a0dbccf" ns2:_="" ns3:_="">
    <xsd:import namespace="11876741-4e3d-41e4-924e-432c5fed92e0"/>
    <xsd:import namespace="0fb846bb-49da-442d-ac44-1711760f675e"/>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DateTaken" minOccurs="0"/>
                <xsd:element ref="ns2:MediaServiceOCR" minOccurs="0"/>
                <xsd:element ref="ns2:MediaServiceGenerationTime" minOccurs="0"/>
                <xsd:element ref="ns2:MediaServiceEventHashCode" minOccurs="0"/>
                <xsd:element ref="ns2:MediaLengthInSeconds" minOccurs="0"/>
                <xsd:element ref="ns3:SharedWithUsers" minOccurs="0"/>
                <xsd:element ref="ns3:SharedWithDetails" minOccurs="0"/>
                <xsd:element ref="ns2:MediaServiceObjectDetectorVersions" minOccurs="0"/>
                <xsd:element ref="ns2:Tes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1876741-4e3d-41e4-924e-432c5fed92e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43e14187-b4d4-4fc9-8c4a-20dc3ccbfd5c" ma:termSetId="09814cd3-568e-fe90-9814-8d621ff8fb84" ma:anchorId="fba54fb3-c3e1-fe81-a776-ca4b69148c4d" ma:open="true" ma:isKeyword="false">
      <xsd:complexType>
        <xsd:sequence>
          <xsd:element ref="pc:Terms" minOccurs="0" maxOccurs="1"/>
        </xsd:sequence>
      </xsd:complex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Test" ma:index="21" nillable="true" ma:displayName="Test" ma:format="Dropdown" ma:internalName="Test">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fb846bb-49da-442d-ac44-1711760f675e"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95cadf01-7365-4aa7-ab17-dc142bd71c8a}" ma:internalName="TaxCatchAll" ma:showField="CatchAllData" ma:web="0fb846bb-49da-442d-ac44-1711760f675e">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6891D0F-00A8-4495-908D-2178DE314B23}">
  <ds:schemaRefs>
    <ds:schemaRef ds:uri="http://purl.org/dc/elements/1.1/"/>
    <ds:schemaRef ds:uri="http://purl.org/dc/terms/"/>
    <ds:schemaRef ds:uri="http://www.w3.org/XML/1998/namespace"/>
    <ds:schemaRef ds:uri="http://schemas.openxmlformats.org/package/2006/metadata/core-properties"/>
    <ds:schemaRef ds:uri="http://schemas.microsoft.com/office/2006/documentManagement/types"/>
    <ds:schemaRef ds:uri="74c4ed37-2e0f-400c-a2e2-3ecc094e9a0a"/>
    <ds:schemaRef ds:uri="http://schemas.microsoft.com/office/infopath/2007/PartnerControls"/>
    <ds:schemaRef ds:uri="dba627c7-9281-4d42-ae99-d12cdf943a39"/>
    <ds:schemaRef ds:uri="http://schemas.microsoft.com/office/2006/metadata/properties"/>
    <ds:schemaRef ds:uri="http://purl.org/dc/dcmitype/"/>
    <ds:schemaRef ds:uri="0fb846bb-49da-442d-ac44-1711760f675e"/>
    <ds:schemaRef ds:uri="11876741-4e3d-41e4-924e-432c5fed92e0"/>
  </ds:schemaRefs>
</ds:datastoreItem>
</file>

<file path=customXml/itemProps2.xml><?xml version="1.0" encoding="utf-8"?>
<ds:datastoreItem xmlns:ds="http://schemas.openxmlformats.org/officeDocument/2006/customXml" ds:itemID="{63DE1A72-E820-44D1-9009-CFB3BA3389BE}">
  <ds:schemaRefs>
    <ds:schemaRef ds:uri="http://schemas.microsoft.com/sharepoint/v3/contenttype/forms"/>
  </ds:schemaRefs>
</ds:datastoreItem>
</file>

<file path=customXml/itemProps3.xml><?xml version="1.0" encoding="utf-8"?>
<ds:datastoreItem xmlns:ds="http://schemas.openxmlformats.org/officeDocument/2006/customXml" ds:itemID="{E97CF6F7-C6A4-4287-8AC8-5C1E130A65C3}"/>
</file>

<file path=docProps/app.xml><?xml version="1.0" encoding="utf-8"?>
<Properties xmlns="http://schemas.openxmlformats.org/officeDocument/2006/extended-properties" xmlns:vt="http://schemas.openxmlformats.org/officeDocument/2006/docPropsVTypes">
  <Template/>
  <TotalTime>8892</TotalTime>
  <Words>8536</Words>
  <Application>Microsoft Office PowerPoint</Application>
  <PresentationFormat>Widescreen</PresentationFormat>
  <Paragraphs>591</Paragraphs>
  <Slides>84</Slides>
  <Notes>84</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84</vt:i4>
      </vt:variant>
    </vt:vector>
  </HeadingPairs>
  <TitlesOfParts>
    <vt:vector size="92" baseType="lpstr">
      <vt:lpstr>Arial</vt:lpstr>
      <vt:lpstr>Calibri</vt:lpstr>
      <vt:lpstr>Calibri Light</vt:lpstr>
      <vt:lpstr>Cambria Math</vt:lpstr>
      <vt:lpstr>Myriad Pro</vt:lpstr>
      <vt:lpstr>Söhne</vt:lpstr>
      <vt:lpstr>Wingdings 3</vt:lpstr>
      <vt:lpstr>Office Theme</vt:lpstr>
      <vt:lpstr>SMART Ankara Sürdürülebilir Kentsel Ulaşım Planı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MART Ankara Sürdürülebilir Kentsel Ulaşım Planı </vt:lpstr>
      <vt:lpstr>PowerPoint Presentation</vt:lpstr>
      <vt:lpstr>PowerPoint Presentation</vt:lpstr>
      <vt:lpstr>PowerPoint Presentation</vt:lpstr>
      <vt:lpstr>Seyahat Talebi ve Tahmin Tekniklerinin Analizi </vt:lpstr>
      <vt:lpstr>PowerPoint Presentation</vt:lpstr>
      <vt:lpstr>PowerPoint Presentation</vt:lpstr>
      <vt:lpstr>Modelleme ve Simülasyon Bileşenleri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Ulaşım Modları ve Seçimleri</vt:lpstr>
      <vt:lpstr>PowerPoint Presentation</vt:lpstr>
      <vt:lpstr>PowerPoint Presentation</vt:lpstr>
      <vt:lpstr>PowerPoint Presentation</vt:lpstr>
      <vt:lpstr>Otopark Yönetimi</vt:lpstr>
      <vt:lpstr>PowerPoint Presentation</vt:lpstr>
      <vt:lpstr>PowerPoint Presentation</vt:lpstr>
      <vt:lpstr>PowerPoint Presentation</vt:lpstr>
      <vt:lpstr>PowerPoint Presentation</vt:lpstr>
      <vt:lpstr>PowerPoint Presentation</vt:lpstr>
      <vt:lpstr>PowerPoint Presentation</vt:lpstr>
      <vt:lpstr>Ulaşım Planlamasında Kentsel Planlama ve Arazi Kullanımı</vt:lpstr>
      <vt:lpstr>PowerPoint Presentation</vt:lpstr>
      <vt:lpstr>PowerPoint Presentation</vt:lpstr>
      <vt:lpstr>PowerPoint Presentation</vt:lpstr>
      <vt:lpstr>Şehir Lojistiği </vt:lpstr>
      <vt:lpstr>PowerPoint Presentation</vt:lpstr>
      <vt:lpstr>PowerPoint Presentation</vt:lpstr>
      <vt:lpstr>PowerPoint Presentation</vt:lpstr>
      <vt:lpstr>Paylaşımlı Hareketlilik </vt:lpstr>
      <vt:lpstr>PowerPoint Presentation</vt:lpstr>
      <vt:lpstr>PowerPoint Presentation</vt:lpstr>
      <vt:lpstr>PowerPoint Presentation</vt:lpstr>
      <vt:lpstr>PowerPoint Presentation</vt:lpstr>
      <vt:lpstr>Akıllı Ulaşım Sistemleri (AUS) </vt:lpstr>
      <vt:lpstr>PowerPoint Presentation</vt:lpstr>
      <vt:lpstr>PowerPoint Presentation</vt:lpstr>
      <vt:lpstr>PowerPoint Presentation</vt:lpstr>
      <vt:lpstr>PowerPoint Presentation</vt:lpstr>
      <vt:lpstr>Ankara'da ulaşım planlama tedbirlerinin etkisi</vt:lpstr>
      <vt:lpstr>PowerPoint Presentation</vt:lpstr>
      <vt:lpstr>PowerPoint Presentation</vt:lpstr>
      <vt:lpstr>PowerPoint Presentation</vt:lpstr>
      <vt:lpstr>Ulaşım Planlama Örnekleri ve En İyi Uygulamalar </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uraya Başlık Yazılacak</dc:title>
  <dc:creator>Microsoft Office User</dc:creator>
  <cp:lastModifiedBy>Melihcan Fidanboy</cp:lastModifiedBy>
  <cp:revision>73</cp:revision>
  <dcterms:created xsi:type="dcterms:W3CDTF">2022-11-03T14:15:12Z</dcterms:created>
  <dcterms:modified xsi:type="dcterms:W3CDTF">2023-07-03T13:21: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5F3A7C5299B444B7FF9BD721E79124</vt:lpwstr>
  </property>
</Properties>
</file>